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rts/chart1.xml" ContentType="application/vnd.openxmlformats-officedocument.drawingml.chart+xml"/>
  <Override PartName="/ppt/notesSlides/notesSlide19.xml" ContentType="application/vnd.openxmlformats-officedocument.presentationml.notesSlide+xml"/>
  <Override PartName="/ppt/charts/chart2.xml" ContentType="application/vnd.openxmlformats-officedocument.drawingml.chart+xml"/>
  <Override PartName="/ppt/notesSlides/notesSlide20.xml" ContentType="application/vnd.openxmlformats-officedocument.presentationml.notesSlide+xml"/>
  <Override PartName="/ppt/charts/chart3.xml" ContentType="application/vnd.openxmlformats-officedocument.drawingml.chart+xml"/>
  <Override PartName="/ppt/notesSlides/notesSlide21.xml" ContentType="application/vnd.openxmlformats-officedocument.presentationml.notesSlide+xml"/>
  <Override PartName="/ppt/charts/chart4.xml" ContentType="application/vnd.openxmlformats-officedocument.drawingml.chart+xml"/>
  <Override PartName="/ppt/notesSlides/notesSlide22.xml" ContentType="application/vnd.openxmlformats-officedocument.presentationml.notesSlide+xml"/>
  <Override PartName="/ppt/charts/chart5.xml" ContentType="application/vnd.openxmlformats-officedocument.drawingml.chart+xml"/>
  <Override PartName="/ppt/notesSlides/notesSlide23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notesSlides/notesSlide24.xml" ContentType="application/vnd.openxmlformats-officedocument.presentationml.notesSlide+xml"/>
  <Override PartName="/ppt/charts/chart9.xml" ContentType="application/vnd.openxmlformats-officedocument.drawingml.chart+xml"/>
  <Override PartName="/ppt/notesSlides/notesSlide25.xml" ContentType="application/vnd.openxmlformats-officedocument.presentationml.notesSlide+xml"/>
  <Override PartName="/ppt/charts/chart10.xml" ContentType="application/vnd.openxmlformats-officedocument.drawingml.chart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charts/chart11.xml" ContentType="application/vnd.openxmlformats-officedocument.drawingml.chart+xml"/>
  <Override PartName="/ppt/notesSlides/notesSlide58.xml" ContentType="application/vnd.openxmlformats-officedocument.presentationml.notesSlide+xml"/>
  <Override PartName="/ppt/charts/chart12.xml" ContentType="application/vnd.openxmlformats-officedocument.drawingml.chart+xml"/>
  <Override PartName="/ppt/notesSlides/notesSlide59.xml" ContentType="application/vnd.openxmlformats-officedocument.presentationml.notesSlide+xml"/>
  <Override PartName="/ppt/charts/chart13.xml" ContentType="application/vnd.openxmlformats-officedocument.drawingml.chart+xml"/>
  <Override PartName="/ppt/notesSlides/notesSlide60.xml" ContentType="application/vnd.openxmlformats-officedocument.presentationml.notesSlide+xml"/>
  <Override PartName="/ppt/charts/chart14.xml" ContentType="application/vnd.openxmlformats-officedocument.drawingml.chart+xml"/>
  <Override PartName="/ppt/notesSlides/notesSlide61.xml" ContentType="application/vnd.openxmlformats-officedocument.presentationml.notesSlide+xml"/>
  <Override PartName="/ppt/charts/chart15.xml" ContentType="application/vnd.openxmlformats-officedocument.drawingml.char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notesSlides/notesSlide62.xml" ContentType="application/vnd.openxmlformats-officedocument.presentationml.notesSlide+xml"/>
  <Override PartName="/ppt/charts/chart16.xml" ContentType="application/vnd.openxmlformats-officedocument.drawingml.chart+xml"/>
  <Override PartName="/ppt/notesSlides/notesSlide63.xml" ContentType="application/vnd.openxmlformats-officedocument.presentationml.notesSlide+xml"/>
  <Override PartName="/ppt/charts/chart17.xml" ContentType="application/vnd.openxmlformats-officedocument.drawingml.chart+xml"/>
  <Override PartName="/ppt/notesSlides/notesSlide64.xml" ContentType="application/vnd.openxmlformats-officedocument.presentationml.notesSlide+xml"/>
  <Override PartName="/ppt/charts/chart18.xml" ContentType="application/vnd.openxmlformats-officedocument.drawingml.chart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7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7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73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82"/>
  </p:notesMasterIdLst>
  <p:sldIdLst>
    <p:sldId id="256" r:id="rId2"/>
    <p:sldId id="258" r:id="rId3"/>
    <p:sldId id="261" r:id="rId4"/>
    <p:sldId id="259" r:id="rId5"/>
    <p:sldId id="260" r:id="rId6"/>
    <p:sldId id="262" r:id="rId7"/>
    <p:sldId id="263" r:id="rId8"/>
    <p:sldId id="265" r:id="rId9"/>
    <p:sldId id="264" r:id="rId10"/>
    <p:sldId id="266" r:id="rId11"/>
    <p:sldId id="267" r:id="rId12"/>
    <p:sldId id="268" r:id="rId13"/>
    <p:sldId id="269" r:id="rId14"/>
    <p:sldId id="270" r:id="rId15"/>
    <p:sldId id="271" r:id="rId16"/>
    <p:sldId id="272" r:id="rId17"/>
    <p:sldId id="273" r:id="rId18"/>
    <p:sldId id="274" r:id="rId19"/>
    <p:sldId id="275" r:id="rId20"/>
    <p:sldId id="333" r:id="rId21"/>
    <p:sldId id="337" r:id="rId22"/>
    <p:sldId id="338" r:id="rId23"/>
    <p:sldId id="276" r:id="rId24"/>
    <p:sldId id="334" r:id="rId25"/>
    <p:sldId id="336" r:id="rId26"/>
    <p:sldId id="335" r:id="rId27"/>
    <p:sldId id="279" r:id="rId28"/>
    <p:sldId id="281" r:id="rId29"/>
    <p:sldId id="315" r:id="rId30"/>
    <p:sldId id="282" r:id="rId31"/>
    <p:sldId id="280" r:id="rId32"/>
    <p:sldId id="284" r:id="rId33"/>
    <p:sldId id="283" r:id="rId34"/>
    <p:sldId id="285" r:id="rId35"/>
    <p:sldId id="286" r:id="rId36"/>
    <p:sldId id="287" r:id="rId37"/>
    <p:sldId id="288" r:id="rId38"/>
    <p:sldId id="289" r:id="rId39"/>
    <p:sldId id="290" r:id="rId40"/>
    <p:sldId id="291" r:id="rId41"/>
    <p:sldId id="292" r:id="rId42"/>
    <p:sldId id="293" r:id="rId43"/>
    <p:sldId id="294" r:id="rId44"/>
    <p:sldId id="295" r:id="rId45"/>
    <p:sldId id="296" r:id="rId46"/>
    <p:sldId id="297" r:id="rId47"/>
    <p:sldId id="298" r:id="rId48"/>
    <p:sldId id="299" r:id="rId49"/>
    <p:sldId id="300" r:id="rId50"/>
    <p:sldId id="301" r:id="rId51"/>
    <p:sldId id="302" r:id="rId52"/>
    <p:sldId id="303" r:id="rId53"/>
    <p:sldId id="304" r:id="rId54"/>
    <p:sldId id="305" r:id="rId55"/>
    <p:sldId id="306" r:id="rId56"/>
    <p:sldId id="307" r:id="rId57"/>
    <p:sldId id="308" r:id="rId58"/>
    <p:sldId id="309" r:id="rId59"/>
    <p:sldId id="310" r:id="rId60"/>
    <p:sldId id="311" r:id="rId61"/>
    <p:sldId id="312" r:id="rId62"/>
    <p:sldId id="318" r:id="rId63"/>
    <p:sldId id="316" r:id="rId64"/>
    <p:sldId id="317" r:id="rId65"/>
    <p:sldId id="339" r:id="rId66"/>
    <p:sldId id="313" r:id="rId67"/>
    <p:sldId id="314" r:id="rId68"/>
    <p:sldId id="320" r:id="rId69"/>
    <p:sldId id="321" r:id="rId70"/>
    <p:sldId id="322" r:id="rId71"/>
    <p:sldId id="323" r:id="rId72"/>
    <p:sldId id="327" r:id="rId73"/>
    <p:sldId id="324" r:id="rId74"/>
    <p:sldId id="325" r:id="rId75"/>
    <p:sldId id="326" r:id="rId76"/>
    <p:sldId id="328" r:id="rId77"/>
    <p:sldId id="329" r:id="rId78"/>
    <p:sldId id="330" r:id="rId79"/>
    <p:sldId id="331" r:id="rId80"/>
    <p:sldId id="332" r:id="rId81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8F8"/>
    <a:srgbClr val="000000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473" autoAdjust="0"/>
    <p:restoredTop sz="94660"/>
  </p:normalViewPr>
  <p:slideViewPr>
    <p:cSldViewPr snapToGrid="0" snapToObjects="1" showGuides="1">
      <p:cViewPr>
        <p:scale>
          <a:sx n="100" d="100"/>
          <a:sy n="100" d="100"/>
        </p:scale>
        <p:origin x="-816" y="-294"/>
      </p:cViewPr>
      <p:guideLst>
        <p:guide orient="horz" pos="4319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viewProps" Target="view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notesMaster" Target="notesMasters/notesMaster1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4.xlsx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-Arbeitsblatt15.xlsx"/><Relationship Id="rId1" Type="http://schemas.openxmlformats.org/officeDocument/2006/relationships/themeOverride" Target="../theme/themeOverride1.xm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7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243488191285754"/>
          <c:y val="3.2897176894737291E-2"/>
          <c:w val="0.55196076358028578"/>
          <c:h val="0.93420564621053226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solidFill>
              <a:srgbClr val="2A79FF">
                <a:lumMod val="60000"/>
                <a:lumOff val="40000"/>
                <a:alpha val="70000"/>
              </a:srgbClr>
            </a:solidFill>
            <a:effectLst>
              <a:outerShdw blurRad="127000" dist="63500" dir="5400000" rotWithShape="0">
                <a:srgbClr val="000000">
                  <a:alpha val="38000"/>
                </a:srgbClr>
              </a:outerShdw>
            </a:effectLst>
          </c:spPr>
          <c:dPt>
            <c:idx val="0"/>
            <c:bubble3D val="0"/>
            <c:spPr>
              <a:solidFill>
                <a:schemeClr val="tx2">
                  <a:lumMod val="75000"/>
                  <a:alpha val="70000"/>
                </a:schemeClr>
              </a:solidFill>
              <a:effectLst>
                <a:outerShdw blurRad="127000" dist="63500" dir="5400000" rotWithShape="0">
                  <a:srgbClr val="000000">
                    <a:alpha val="38000"/>
                  </a:srgbClr>
                </a:outerShdw>
              </a:effectLst>
            </c:spPr>
          </c:dPt>
          <c:dPt>
            <c:idx val="1"/>
            <c:bubble3D val="0"/>
            <c:spPr>
              <a:solidFill>
                <a:schemeClr val="tx2">
                  <a:alpha val="70000"/>
                </a:schemeClr>
              </a:solidFill>
              <a:effectLst>
                <a:outerShdw blurRad="127000" dist="63500" dir="5400000" rotWithShape="0">
                  <a:srgbClr val="000000">
                    <a:alpha val="38000"/>
                  </a:srgbClr>
                </a:outerShdw>
              </a:effectLst>
            </c:spPr>
          </c:dPt>
          <c:dPt>
            <c:idx val="2"/>
            <c:bubble3D val="0"/>
            <c:spPr>
              <a:solidFill>
                <a:schemeClr val="accent1">
                  <a:alpha val="70000"/>
                </a:schemeClr>
              </a:solidFill>
              <a:effectLst>
                <a:outerShdw blurRad="127000" dist="63500" dir="5400000" rotWithShape="0">
                  <a:srgbClr val="000000">
                    <a:alpha val="38000"/>
                  </a:srgbClr>
                </a:outerShdw>
              </a:effectLst>
            </c:spPr>
          </c:dPt>
          <c:dPt>
            <c:idx val="4"/>
            <c:bubble3D val="0"/>
            <c:spPr>
              <a:solidFill>
                <a:schemeClr val="accent1">
                  <a:lumMod val="40000"/>
                  <a:lumOff val="60000"/>
                  <a:alpha val="70000"/>
                </a:schemeClr>
              </a:solidFill>
              <a:effectLst>
                <a:outerShdw blurRad="127000" dist="63500" dir="5400000" rotWithShape="0">
                  <a:srgbClr val="000000">
                    <a:alpha val="38000"/>
                  </a:srgbClr>
                </a:outerShdw>
              </a:effectLst>
            </c:spPr>
          </c:dPt>
          <c:dPt>
            <c:idx val="5"/>
            <c:bubble3D val="0"/>
            <c:spPr>
              <a:solidFill>
                <a:schemeClr val="accent1">
                  <a:lumMod val="20000"/>
                  <a:lumOff val="80000"/>
                  <a:alpha val="70000"/>
                </a:schemeClr>
              </a:solidFill>
              <a:effectLst>
                <a:outerShdw blurRad="127000" dist="63500" dir="5400000" rotWithShape="0">
                  <a:srgbClr val="000000">
                    <a:alpha val="38000"/>
                  </a:srgbClr>
                </a:outerShdw>
              </a:effectLst>
            </c:spPr>
          </c:dPt>
          <c:dPt>
            <c:idx val="6"/>
            <c:bubble3D val="0"/>
            <c:spPr>
              <a:solidFill>
                <a:srgbClr val="0070C0"/>
              </a:solidFill>
              <a:effectLst>
                <a:outerShdw blurRad="127000" dist="63500" dir="5400000" rotWithShape="0">
                  <a:srgbClr val="000000">
                    <a:alpha val="38000"/>
                  </a:srgbClr>
                </a:outerShdw>
              </a:effectLst>
            </c:spPr>
          </c:dPt>
          <c:dPt>
            <c:idx val="7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effectLst>
                <a:outerShdw blurRad="127000" dist="63500" dir="5400000" rotWithShape="0">
                  <a:srgbClr val="000000">
                    <a:alpha val="38000"/>
                  </a:srgbClr>
                </a:outerShdw>
              </a:effectLst>
            </c:spPr>
          </c:dPt>
          <c:dPt>
            <c:idx val="8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effectLst>
                <a:outerShdw blurRad="127000" dist="63500" dir="5400000" rotWithShape="0">
                  <a:srgbClr val="000000">
                    <a:alpha val="38000"/>
                  </a:srgbClr>
                </a:outerShdw>
              </a:effectLst>
            </c:spPr>
          </c:dPt>
          <c:dPt>
            <c:idx val="9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effectLst>
                <a:outerShdw blurRad="127000" dist="63500" dir="5400000" rotWithShape="0">
                  <a:srgbClr val="000000">
                    <a:alpha val="38000"/>
                  </a:srgbClr>
                </a:outerShdw>
              </a:effectLst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 sz="1800">
                      <a:solidFill>
                        <a:srgbClr val="FFFFFF"/>
                      </a:solidFill>
                    </a:defRPr>
                  </a:pPr>
                  <a:endParaRPr lang="de-DE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/>
              <c:txPr>
                <a:bodyPr/>
                <a:lstStyle/>
                <a:p>
                  <a:pPr>
                    <a:defRPr sz="1800">
                      <a:solidFill>
                        <a:srgbClr val="FFFFFF"/>
                      </a:solidFill>
                    </a:defRPr>
                  </a:pPr>
                  <a:endParaRPr lang="de-DE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spPr/>
              <c:txPr>
                <a:bodyPr/>
                <a:lstStyle/>
                <a:p>
                  <a:pPr>
                    <a:defRPr sz="1800">
                      <a:solidFill>
                        <a:srgbClr val="000000"/>
                      </a:solidFill>
                    </a:defRPr>
                  </a:pPr>
                  <a:endParaRPr lang="de-DE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spPr/>
              <c:txPr>
                <a:bodyPr/>
                <a:lstStyle/>
                <a:p>
                  <a:pPr>
                    <a:defRPr sz="1800">
                      <a:solidFill>
                        <a:srgbClr val="000000"/>
                      </a:solidFill>
                    </a:defRPr>
                  </a:pPr>
                  <a:endParaRPr lang="de-DE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spPr/>
              <c:txPr>
                <a:bodyPr/>
                <a:lstStyle/>
                <a:p>
                  <a:pPr>
                    <a:defRPr sz="1800">
                      <a:solidFill>
                        <a:srgbClr val="000000"/>
                      </a:solidFill>
                    </a:defRPr>
                  </a:pPr>
                  <a:endParaRPr lang="de-DE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spPr/>
              <c:txPr>
                <a:bodyPr/>
                <a:lstStyle/>
                <a:p>
                  <a:pPr>
                    <a:defRPr sz="1800">
                      <a:solidFill>
                        <a:srgbClr val="F8F8F8"/>
                      </a:solidFill>
                    </a:defRPr>
                  </a:pPr>
                  <a:endParaRPr lang="de-DE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spPr/>
              <c:txPr>
                <a:bodyPr/>
                <a:lstStyle/>
                <a:p>
                  <a:pPr>
                    <a:defRPr sz="1800">
                      <a:solidFill>
                        <a:srgbClr val="000000"/>
                      </a:solidFill>
                    </a:defRPr>
                  </a:pPr>
                  <a:endParaRPr lang="de-DE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spPr/>
              <c:txPr>
                <a:bodyPr/>
                <a:lstStyle/>
                <a:p>
                  <a:pPr>
                    <a:defRPr sz="1800">
                      <a:solidFill>
                        <a:srgbClr val="000000"/>
                      </a:solidFill>
                    </a:defRPr>
                  </a:pPr>
                  <a:endParaRPr lang="de-DE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spPr/>
              <c:txPr>
                <a:bodyPr/>
                <a:lstStyle/>
                <a:p>
                  <a:pPr>
                    <a:defRPr sz="1800">
                      <a:solidFill>
                        <a:srgbClr val="000000"/>
                      </a:solidFill>
                    </a:defRPr>
                  </a:pPr>
                  <a:endParaRPr lang="de-DE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800"/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Tabelle1!$A$2:$A$11</c:f>
              <c:strCache>
                <c:ptCount val="10"/>
                <c:pt idx="0">
                  <c:v>Description 1</c:v>
                </c:pt>
                <c:pt idx="1">
                  <c:v>Description 2</c:v>
                </c:pt>
                <c:pt idx="2">
                  <c:v>Description 3</c:v>
                </c:pt>
                <c:pt idx="3">
                  <c:v>Description 4</c:v>
                </c:pt>
                <c:pt idx="4">
                  <c:v>Description 5</c:v>
                </c:pt>
                <c:pt idx="5">
                  <c:v>Description 6</c:v>
                </c:pt>
                <c:pt idx="6">
                  <c:v>Description 7</c:v>
                </c:pt>
                <c:pt idx="7">
                  <c:v>Description 8</c:v>
                </c:pt>
                <c:pt idx="8">
                  <c:v>Description 9</c:v>
                </c:pt>
                <c:pt idx="9">
                  <c:v>Description 10</c:v>
                </c:pt>
              </c:strCache>
            </c:strRef>
          </c:cat>
          <c:val>
            <c:numRef>
              <c:f>Tabelle1!$B$2:$B$11</c:f>
              <c:numCache>
                <c:formatCode>General</c:formatCode>
                <c:ptCount val="10"/>
                <c:pt idx="0">
                  <c:v>60</c:v>
                </c:pt>
                <c:pt idx="1">
                  <c:v>55</c:v>
                </c:pt>
                <c:pt idx="2">
                  <c:v>40</c:v>
                </c:pt>
                <c:pt idx="3">
                  <c:v>33</c:v>
                </c:pt>
                <c:pt idx="4">
                  <c:v>25</c:v>
                </c:pt>
                <c:pt idx="5">
                  <c:v>22</c:v>
                </c:pt>
                <c:pt idx="6">
                  <c:v>19</c:v>
                </c:pt>
                <c:pt idx="7">
                  <c:v>18</c:v>
                </c:pt>
                <c:pt idx="8">
                  <c:v>15</c:v>
                </c:pt>
                <c:pt idx="9">
                  <c:v>1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75353536644814012"/>
          <c:y val="0.14762114189251546"/>
          <c:w val="0.19510824171602617"/>
          <c:h val="0.7103655749887734"/>
        </c:manualLayout>
      </c:layout>
      <c:overlay val="0"/>
      <c:txPr>
        <a:bodyPr/>
        <a:lstStyle/>
        <a:p>
          <a:pPr>
            <a:defRPr sz="1600">
              <a:solidFill>
                <a:schemeClr val="tx1">
                  <a:lumMod val="75000"/>
                  <a:lumOff val="25000"/>
                </a:schemeClr>
              </a:solidFill>
            </a:defRPr>
          </a:pPr>
          <a:endParaRPr lang="de-DE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27"/>
    </mc:Choice>
    <mc:Fallback>
      <c:style val="2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39288284712484"/>
          <c:y val="0.1058250480189612"/>
          <c:w val="0.4121423430575068"/>
          <c:h val="0.6928791915727119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effectLst/>
            <a:scene3d>
              <a:camera prst="orthographicFront"/>
              <a:lightRig rig="balanced" dir="t">
                <a:rot lat="0" lon="0" rev="1800000"/>
              </a:lightRig>
            </a:scene3d>
            <a:sp3d prstMaterial="metal">
              <a:bevelT w="50800" h="254000"/>
            </a:sp3d>
          </c:spPr>
          <c:dPt>
            <c:idx val="0"/>
            <c:bubble3D val="0"/>
            <c:spPr>
              <a:solidFill>
                <a:srgbClr val="0070C0"/>
              </a:solidFill>
              <a:effectLst/>
              <a:scene3d>
                <a:camera prst="orthographicFront"/>
                <a:lightRig rig="balanced" dir="t">
                  <a:rot lat="0" lon="0" rev="1800000"/>
                </a:lightRig>
              </a:scene3d>
              <a:sp3d prstMaterial="metal">
                <a:bevelT w="50800" h="254000"/>
              </a:sp3d>
            </c:spPr>
          </c:dPt>
          <c:dPt>
            <c:idx val="1"/>
            <c:bubble3D val="0"/>
            <c:spPr>
              <a:gradFill>
                <a:gsLst>
                  <a:gs pos="50000">
                    <a:srgbClr val="7D7D7D"/>
                  </a:gs>
                  <a:gs pos="100000">
                    <a:srgbClr val="969696"/>
                  </a:gs>
                </a:gsLst>
              </a:gradFill>
              <a:effectLst/>
              <a:scene3d>
                <a:camera prst="orthographicFront"/>
                <a:lightRig rig="balanced" dir="t">
                  <a:rot lat="0" lon="0" rev="1800000"/>
                </a:lightRig>
              </a:scene3d>
              <a:sp3d prstMaterial="metal">
                <a:bevelT w="50800" h="254000"/>
              </a:sp3d>
            </c:spPr>
          </c:dPt>
          <c:dPt>
            <c:idx val="2"/>
            <c:bubble3D val="0"/>
            <c:spPr>
              <a:gradFill>
                <a:gsLst>
                  <a:gs pos="50000">
                    <a:srgbClr val="7D7D7D"/>
                  </a:gs>
                  <a:gs pos="100000">
                    <a:srgbClr val="969696"/>
                  </a:gs>
                </a:gsLst>
              </a:gradFill>
              <a:effectLst/>
              <a:scene3d>
                <a:camera prst="orthographicFront"/>
                <a:lightRig rig="balanced" dir="t">
                  <a:rot lat="0" lon="0" rev="1800000"/>
                </a:lightRig>
              </a:scene3d>
              <a:sp3d prstMaterial="metal">
                <a:bevelT w="50800" h="254000"/>
              </a:sp3d>
            </c:spPr>
          </c:dPt>
          <c:dPt>
            <c:idx val="3"/>
            <c:bubble3D val="0"/>
            <c:spPr>
              <a:gradFill>
                <a:gsLst>
                  <a:gs pos="50000">
                    <a:srgbClr val="7D7D7D"/>
                  </a:gs>
                  <a:gs pos="100000">
                    <a:srgbClr val="969696"/>
                  </a:gs>
                </a:gsLst>
              </a:gradFill>
              <a:effectLst/>
              <a:scene3d>
                <a:camera prst="orthographicFront"/>
                <a:lightRig rig="balanced" dir="t">
                  <a:rot lat="0" lon="0" rev="1800000"/>
                </a:lightRig>
              </a:scene3d>
              <a:sp3d prstMaterial="metal">
                <a:bevelT w="50800" h="254000"/>
              </a:sp3d>
            </c:spPr>
          </c:dPt>
          <c:dPt>
            <c:idx val="4"/>
            <c:bubble3D val="0"/>
            <c:spPr>
              <a:gradFill>
                <a:gsLst>
                  <a:gs pos="50000">
                    <a:srgbClr val="7D7D7D"/>
                  </a:gs>
                  <a:gs pos="100000">
                    <a:srgbClr val="969696"/>
                  </a:gs>
                </a:gsLst>
              </a:gradFill>
              <a:effectLst/>
              <a:scene3d>
                <a:camera prst="orthographicFront"/>
                <a:lightRig rig="balanced" dir="t">
                  <a:rot lat="0" lon="0" rev="1800000"/>
                </a:lightRig>
              </a:scene3d>
              <a:sp3d prstMaterial="metal">
                <a:bevelT w="50800" h="254000"/>
              </a:sp3d>
            </c:spPr>
          </c:dPt>
          <c:dPt>
            <c:idx val="5"/>
            <c:bubble3D val="0"/>
            <c:spPr>
              <a:gradFill>
                <a:gsLst>
                  <a:gs pos="50000">
                    <a:srgbClr val="AFAFAF"/>
                  </a:gs>
                  <a:gs pos="100000">
                    <a:srgbClr val="C8C8C8"/>
                  </a:gs>
                </a:gsLst>
              </a:gradFill>
              <a:effectLst/>
              <a:scene3d>
                <a:camera prst="orthographicFront"/>
                <a:lightRig rig="balanced" dir="t">
                  <a:rot lat="0" lon="0" rev="1800000"/>
                </a:lightRig>
              </a:scene3d>
              <a:sp3d prstMaterial="metal">
                <a:bevelT w="50800" h="254000"/>
              </a:sp3d>
            </c:spPr>
          </c:dPt>
          <c:dPt>
            <c:idx val="6"/>
            <c:bubble3D val="0"/>
            <c:spPr>
              <a:gradFill>
                <a:gsLst>
                  <a:gs pos="50000">
                    <a:srgbClr val="AFAFAF"/>
                  </a:gs>
                  <a:gs pos="100000">
                    <a:srgbClr val="C8C8C8"/>
                  </a:gs>
                </a:gsLst>
              </a:gradFill>
              <a:effectLst/>
              <a:scene3d>
                <a:camera prst="orthographicFront"/>
                <a:lightRig rig="balanced" dir="t">
                  <a:rot lat="0" lon="0" rev="1800000"/>
                </a:lightRig>
              </a:scene3d>
              <a:sp3d prstMaterial="metal">
                <a:bevelT w="50800" h="254000"/>
              </a:sp3d>
            </c:spPr>
          </c:dPt>
          <c:dPt>
            <c:idx val="7"/>
            <c:bubble3D val="0"/>
            <c:spPr>
              <a:gradFill>
                <a:gsLst>
                  <a:gs pos="50000">
                    <a:srgbClr val="D7D7D7"/>
                  </a:gs>
                  <a:gs pos="100000">
                    <a:srgbClr val="E6E6E6"/>
                  </a:gs>
                </a:gsLst>
              </a:gradFill>
              <a:effectLst/>
              <a:scene3d>
                <a:camera prst="orthographicFront"/>
                <a:lightRig rig="balanced" dir="t">
                  <a:rot lat="0" lon="0" rev="1800000"/>
                </a:lightRig>
              </a:scene3d>
              <a:sp3d prstMaterial="metal">
                <a:bevelT w="50800" h="254000"/>
              </a:sp3d>
            </c:spPr>
          </c:dPt>
          <c:dPt>
            <c:idx val="8"/>
            <c:bubble3D val="0"/>
            <c:spPr>
              <a:gradFill>
                <a:gsLst>
                  <a:gs pos="50000">
                    <a:srgbClr val="D7D7D7"/>
                  </a:gs>
                  <a:gs pos="100000">
                    <a:srgbClr val="E6E6E6"/>
                  </a:gs>
                </a:gsLst>
              </a:gradFill>
              <a:effectLst/>
              <a:scene3d>
                <a:camera prst="orthographicFront"/>
                <a:lightRig rig="balanced" dir="t">
                  <a:rot lat="0" lon="0" rev="1800000"/>
                </a:lightRig>
              </a:scene3d>
              <a:sp3d prstMaterial="metal">
                <a:bevelT w="50800" h="254000"/>
              </a:sp3d>
            </c:spPr>
          </c:dPt>
          <c:dLbls>
            <c:dLbl>
              <c:idx val="0"/>
              <c:layout>
                <c:manualLayout>
                  <c:x val="0.19422309233749424"/>
                  <c:y val="-7.5351005154720804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1"/>
              <c:layout>
                <c:manualLayout>
                  <c:x val="0.18376492582701354"/>
                  <c:y val="3.7675502577360714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2"/>
              <c:layout>
                <c:manualLayout>
                  <c:x val="0.11952190297691982"/>
                  <c:y val="0.1331199113350062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3"/>
              <c:layout>
                <c:manualLayout>
                  <c:x val="-0.16434261659326344"/>
                  <c:y val="0.16074861322507047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4"/>
              <c:layout>
                <c:manualLayout>
                  <c:x val="-0.19870528133879661"/>
                  <c:y val="6.2792504295601098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5"/>
              <c:layout>
                <c:manualLayout>
                  <c:x val="-0.20318735270043112"/>
                  <c:y val="0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6"/>
              <c:layout>
                <c:manualLayout>
                  <c:x val="-0.15537847386999543"/>
                  <c:y val="-7.0327604811073058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7"/>
              <c:layout>
                <c:manualLayout>
                  <c:x val="-0.11205178404086143"/>
                  <c:y val="-0.1130265077320815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8"/>
              <c:layout>
                <c:manualLayout>
                  <c:x val="5.0796808765190514E-2"/>
                  <c:y val="-0.14146093139379978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numFmt formatCode="#,##0" sourceLinked="0"/>
            <c:txPr>
              <a:bodyPr/>
              <a:lstStyle/>
              <a:p>
                <a:pPr>
                  <a:defRPr sz="1400"/>
                </a:pPr>
                <a:endParaRPr lang="de-DE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</c:dLbls>
          <c:cat>
            <c:strRef>
              <c:f>Tabelle1!$A$2:$A$10</c:f>
              <c:strCache>
                <c:ptCount val="9"/>
                <c:pt idx="0">
                  <c:v>Description 1</c:v>
                </c:pt>
                <c:pt idx="1">
                  <c:v>Description 2</c:v>
                </c:pt>
                <c:pt idx="2">
                  <c:v>Description 3</c:v>
                </c:pt>
                <c:pt idx="3">
                  <c:v>Description 4</c:v>
                </c:pt>
                <c:pt idx="4">
                  <c:v>Description 5</c:v>
                </c:pt>
                <c:pt idx="5">
                  <c:v>Description 6</c:v>
                </c:pt>
                <c:pt idx="6">
                  <c:v>Description 7</c:v>
                </c:pt>
                <c:pt idx="7">
                  <c:v>Description 8</c:v>
                </c:pt>
                <c:pt idx="8">
                  <c:v>Description 9</c:v>
                </c:pt>
              </c:strCache>
            </c:strRef>
          </c:cat>
          <c:val>
            <c:numRef>
              <c:f>Tabelle1!$B$2:$B$10</c:f>
              <c:numCache>
                <c:formatCode>General</c:formatCode>
                <c:ptCount val="9"/>
                <c:pt idx="0">
                  <c:v>6500</c:v>
                </c:pt>
                <c:pt idx="1">
                  <c:v>5300</c:v>
                </c:pt>
                <c:pt idx="2">
                  <c:v>4800</c:v>
                </c:pt>
                <c:pt idx="3">
                  <c:v>3900</c:v>
                </c:pt>
                <c:pt idx="4">
                  <c:v>3600</c:v>
                </c:pt>
                <c:pt idx="5">
                  <c:v>2500</c:v>
                </c:pt>
                <c:pt idx="6">
                  <c:v>2200</c:v>
                </c:pt>
                <c:pt idx="7">
                  <c:v>1600</c:v>
                </c:pt>
                <c:pt idx="8">
                  <c:v>12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1091310809299388"/>
          <c:w val="1"/>
          <c:h val="0.750416966223606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gradFill>
              <a:gsLst>
                <a:gs pos="100000">
                  <a:schemeClr val="tx1">
                    <a:lumMod val="65000"/>
                    <a:lumOff val="35000"/>
                  </a:schemeClr>
                </a:gs>
                <a:gs pos="0">
                  <a:schemeClr val="bg1">
                    <a:lumMod val="65000"/>
                  </a:schemeClr>
                </a:gs>
              </a:gsLst>
              <a:lin ang="5400000" scaled="0"/>
            </a:gradFill>
            <a:ln>
              <a:solidFill>
                <a:srgbClr val="FFFFFF"/>
              </a:solidFill>
            </a:ln>
            <a:effectLst>
              <a:outerShdw blurRad="1270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numFmt formatCode="#,##0" sourceLinked="0"/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34</c:v>
                </c:pt>
                <c:pt idx="1">
                  <c:v>45</c:v>
                </c:pt>
                <c:pt idx="2">
                  <c:v>55</c:v>
                </c:pt>
                <c:pt idx="3">
                  <c:v>63</c:v>
                </c:pt>
              </c:numCache>
            </c:numRef>
          </c:val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gradFill>
              <a:gsLst>
                <a:gs pos="417">
                  <a:schemeClr val="tx1">
                    <a:lumMod val="50000"/>
                    <a:lumOff val="50000"/>
                  </a:schemeClr>
                </a:gs>
                <a:gs pos="100000">
                  <a:schemeClr val="tx1">
                    <a:lumMod val="75000"/>
                    <a:lumOff val="25000"/>
                  </a:schemeClr>
                </a:gs>
              </a:gsLst>
              <a:lin ang="5400000" scaled="0"/>
            </a:gradFill>
            <a:ln>
              <a:solidFill>
                <a:srgbClr val="FFFFFF"/>
              </a:solidFill>
            </a:ln>
            <a:effectLst>
              <a:outerShdw blurRad="1270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numFmt formatCode="#,##0" sourceLinked="0"/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30</c:v>
                </c:pt>
                <c:pt idx="1">
                  <c:v>38</c:v>
                </c:pt>
                <c:pt idx="2">
                  <c:v>45</c:v>
                </c:pt>
                <c:pt idx="3">
                  <c:v>56</c:v>
                </c:pt>
              </c:numCache>
            </c:numRef>
          </c:val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gradFill>
              <a:gsLst>
                <a:gs pos="100000">
                  <a:schemeClr val="accent1">
                    <a:lumMod val="75000"/>
                  </a:schemeClr>
                </a:gs>
                <a:gs pos="0">
                  <a:schemeClr val="accent1">
                    <a:lumMod val="60000"/>
                    <a:lumOff val="40000"/>
                  </a:schemeClr>
                </a:gs>
              </a:gsLst>
              <a:lin ang="5400000" scaled="0"/>
            </a:gradFill>
            <a:ln>
              <a:solidFill>
                <a:srgbClr val="FFFFFF"/>
              </a:solidFill>
            </a:ln>
            <a:effectLst>
              <a:outerShdw blurRad="1270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numFmt formatCode="#,##0" sourceLinked="0"/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34</c:v>
                </c:pt>
                <c:pt idx="1">
                  <c:v>46</c:v>
                </c:pt>
                <c:pt idx="2">
                  <c:v>67</c:v>
                </c:pt>
                <c:pt idx="3">
                  <c:v>73</c:v>
                </c:pt>
              </c:numCache>
            </c:numRef>
          </c:val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Datenreihe 4</c:v>
                </c:pt>
              </c:strCache>
            </c:strRef>
          </c:tx>
          <c:spPr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chemeClr val="tx2">
                    <a:lumMod val="75000"/>
                  </a:schemeClr>
                </a:gs>
              </a:gsLst>
              <a:lin ang="5400000" scaled="0"/>
            </a:gradFill>
            <a:ln w="9525">
              <a:solidFill>
                <a:schemeClr val="bg1"/>
              </a:solidFill>
            </a:ln>
            <a:effectLst>
              <a:outerShdw blurRad="1270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E$2:$E$5</c:f>
              <c:numCache>
                <c:formatCode>General</c:formatCode>
                <c:ptCount val="4"/>
                <c:pt idx="0">
                  <c:v>41</c:v>
                </c:pt>
                <c:pt idx="1">
                  <c:v>58</c:v>
                </c:pt>
                <c:pt idx="2">
                  <c:v>85</c:v>
                </c:pt>
                <c:pt idx="3">
                  <c:v>9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270578432"/>
        <c:axId val="270579968"/>
      </c:barChart>
      <c:catAx>
        <c:axId val="270578432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ln w="19050"/>
        </c:spPr>
        <c:txPr>
          <a:bodyPr/>
          <a:lstStyle/>
          <a:p>
            <a:pPr>
              <a:defRPr sz="1600"/>
            </a:pPr>
            <a:endParaRPr lang="de-DE"/>
          </a:p>
        </c:txPr>
        <c:crossAx val="270579968"/>
        <c:crosses val="autoZero"/>
        <c:auto val="1"/>
        <c:lblAlgn val="ctr"/>
        <c:lblOffset val="50"/>
        <c:noMultiLvlLbl val="0"/>
      </c:catAx>
      <c:valAx>
        <c:axId val="27057996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270578432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1925133192657722"/>
          <c:y val="2.2575590567278512E-2"/>
          <c:w val="0.80748668073422758"/>
          <c:h val="7.5064780962829966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Category 1</c:v>
                </c:pt>
              </c:strCache>
            </c:strRef>
          </c:tx>
          <c:spPr>
            <a:gradFill flip="none" rotWithShape="1">
              <a:gsLst>
                <a:gs pos="0">
                  <a:srgbClr val="0070C0">
                    <a:shade val="30000"/>
                    <a:satMod val="115000"/>
                  </a:srgbClr>
                </a:gs>
                <a:gs pos="50000">
                  <a:srgbClr val="0070C0">
                    <a:shade val="67500"/>
                    <a:satMod val="115000"/>
                  </a:srgbClr>
                </a:gs>
                <a:gs pos="100000">
                  <a:srgbClr val="0070C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txPr>
              <a:bodyPr/>
              <a:lstStyle/>
              <a:p>
                <a:pPr>
                  <a:defRPr sz="1200">
                    <a:solidFill>
                      <a:srgbClr val="FFFFFF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8</c:f>
              <c:strCache>
                <c:ptCount val="7"/>
                <c:pt idx="0">
                  <c:v>Description 1</c:v>
                </c:pt>
                <c:pt idx="1">
                  <c:v>Description 2</c:v>
                </c:pt>
                <c:pt idx="2">
                  <c:v>Description 3</c:v>
                </c:pt>
                <c:pt idx="3">
                  <c:v>Description 4</c:v>
                </c:pt>
                <c:pt idx="4">
                  <c:v>Description 5</c:v>
                </c:pt>
                <c:pt idx="5">
                  <c:v>Description 6</c:v>
                </c:pt>
                <c:pt idx="6">
                  <c:v>Description 7</c:v>
                </c:pt>
              </c:strCache>
            </c:str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65</c:v>
                </c:pt>
                <c:pt idx="1">
                  <c:v>70</c:v>
                </c:pt>
                <c:pt idx="2">
                  <c:v>73</c:v>
                </c:pt>
                <c:pt idx="3">
                  <c:v>77</c:v>
                </c:pt>
                <c:pt idx="4">
                  <c:v>85</c:v>
                </c:pt>
                <c:pt idx="5">
                  <c:v>87</c:v>
                </c:pt>
                <c:pt idx="6">
                  <c:v>94</c:v>
                </c:pt>
              </c:numCache>
            </c:numRef>
          </c:val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Category 2</c:v>
                </c:pt>
              </c:strCache>
            </c:strRef>
          </c:tx>
          <c:spPr>
            <a:solidFill>
              <a:srgbClr val="C8C8C8">
                <a:alpha val="70000"/>
              </a:srgbClr>
            </a:solidFill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txPr>
              <a:bodyPr/>
              <a:lstStyle/>
              <a:p>
                <a:pPr>
                  <a:defRPr sz="1200">
                    <a:solidFill>
                      <a:srgbClr val="000000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8</c:f>
              <c:strCache>
                <c:ptCount val="7"/>
                <c:pt idx="0">
                  <c:v>Description 1</c:v>
                </c:pt>
                <c:pt idx="1">
                  <c:v>Description 2</c:v>
                </c:pt>
                <c:pt idx="2">
                  <c:v>Description 3</c:v>
                </c:pt>
                <c:pt idx="3">
                  <c:v>Description 4</c:v>
                </c:pt>
                <c:pt idx="4">
                  <c:v>Description 5</c:v>
                </c:pt>
                <c:pt idx="5">
                  <c:v>Description 6</c:v>
                </c:pt>
                <c:pt idx="6">
                  <c:v>Description 7</c:v>
                </c:pt>
              </c:strCache>
            </c:strRef>
          </c:cat>
          <c:val>
            <c:numRef>
              <c:f>Tabelle1!$C$2:$C$8</c:f>
              <c:numCache>
                <c:formatCode>General</c:formatCode>
                <c:ptCount val="7"/>
                <c:pt idx="0">
                  <c:v>30</c:v>
                </c:pt>
                <c:pt idx="1">
                  <c:v>38</c:v>
                </c:pt>
                <c:pt idx="2">
                  <c:v>45</c:v>
                </c:pt>
                <c:pt idx="3">
                  <c:v>56</c:v>
                </c:pt>
                <c:pt idx="4">
                  <c:v>59</c:v>
                </c:pt>
                <c:pt idx="5">
                  <c:v>65</c:v>
                </c:pt>
                <c:pt idx="6">
                  <c:v>7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25"/>
        <c:axId val="238741376"/>
        <c:axId val="238742912"/>
      </c:barChart>
      <c:catAx>
        <c:axId val="23874137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de-DE"/>
          </a:p>
        </c:txPr>
        <c:crossAx val="238742912"/>
        <c:crosses val="autoZero"/>
        <c:auto val="1"/>
        <c:lblAlgn val="ctr"/>
        <c:lblOffset val="100"/>
        <c:noMultiLvlLbl val="0"/>
      </c:catAx>
      <c:valAx>
        <c:axId val="23874291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238741376"/>
        <c:crosses val="autoZero"/>
        <c:crossBetween val="between"/>
      </c:valAx>
    </c:plotArea>
    <c:legend>
      <c:legendPos val="b"/>
      <c:layout/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Category 1</c:v>
                </c:pt>
              </c:strCache>
            </c:strRef>
          </c:tx>
          <c:spPr>
            <a:solidFill>
              <a:srgbClr val="0070C0"/>
            </a:solidFill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numFmt formatCode="0%" sourceLinked="0"/>
            <c:txPr>
              <a:bodyPr/>
              <a:lstStyle/>
              <a:p>
                <a:pPr>
                  <a:defRPr sz="1200">
                    <a:solidFill>
                      <a:srgbClr val="FFFFFF"/>
                    </a:solidFill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6</c:f>
              <c:strCache>
                <c:ptCount val="5"/>
                <c:pt idx="0">
                  <c:v>Description 1</c:v>
                </c:pt>
                <c:pt idx="1">
                  <c:v>Description 2</c:v>
                </c:pt>
                <c:pt idx="2">
                  <c:v>Description 3</c:v>
                </c:pt>
                <c:pt idx="3">
                  <c:v>Description 4</c:v>
                </c:pt>
                <c:pt idx="4">
                  <c:v>Description 5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0.23</c:v>
                </c:pt>
                <c:pt idx="1">
                  <c:v>0.35000000000000031</c:v>
                </c:pt>
                <c:pt idx="2">
                  <c:v>0.25</c:v>
                </c:pt>
                <c:pt idx="3">
                  <c:v>0.28000000000000008</c:v>
                </c:pt>
                <c:pt idx="4">
                  <c:v>0.22</c:v>
                </c:pt>
              </c:numCache>
            </c:numRef>
          </c:val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Category 2</c:v>
                </c:pt>
              </c:strCache>
            </c:strRef>
          </c:tx>
          <c:spPr>
            <a:solidFill>
              <a:schemeClr val="tx2">
                <a:lumMod val="60000"/>
                <a:lumOff val="40000"/>
                <a:alpha val="70000"/>
              </a:schemeClr>
            </a:solidFill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numFmt formatCode="0%" sourceLinked="0"/>
            <c:txPr>
              <a:bodyPr/>
              <a:lstStyle/>
              <a:p>
                <a:pPr>
                  <a:defRPr sz="1200">
                    <a:solidFill>
                      <a:srgbClr val="FFFFFF"/>
                    </a:solidFill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6</c:f>
              <c:strCache>
                <c:ptCount val="5"/>
                <c:pt idx="0">
                  <c:v>Description 1</c:v>
                </c:pt>
                <c:pt idx="1">
                  <c:v>Description 2</c:v>
                </c:pt>
                <c:pt idx="2">
                  <c:v>Description 3</c:v>
                </c:pt>
                <c:pt idx="3">
                  <c:v>Description 4</c:v>
                </c:pt>
                <c:pt idx="4">
                  <c:v>Description 5</c:v>
                </c:pt>
              </c:strCache>
            </c:str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0.38000000000000056</c:v>
                </c:pt>
                <c:pt idx="1">
                  <c:v>0.51</c:v>
                </c:pt>
                <c:pt idx="2">
                  <c:v>0.55000000000000004</c:v>
                </c:pt>
                <c:pt idx="3">
                  <c:v>0.46</c:v>
                </c:pt>
                <c:pt idx="4">
                  <c:v>0.48000000000000032</c:v>
                </c:pt>
              </c:numCache>
            </c:numRef>
          </c:val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Category 3</c:v>
                </c:pt>
              </c:strCache>
            </c:strRef>
          </c:tx>
          <c:spPr>
            <a:solidFill>
              <a:schemeClr val="tx2">
                <a:lumMod val="40000"/>
                <a:lumOff val="60000"/>
                <a:alpha val="70000"/>
              </a:schemeClr>
            </a:solidFill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numFmt formatCode="0%" sourceLinked="0"/>
            <c:txPr>
              <a:bodyPr/>
              <a:lstStyle/>
              <a:p>
                <a:pPr>
                  <a:defRPr sz="1200">
                    <a:solidFill>
                      <a:srgbClr val="000000"/>
                    </a:solidFill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6</c:f>
              <c:strCache>
                <c:ptCount val="5"/>
                <c:pt idx="0">
                  <c:v>Description 1</c:v>
                </c:pt>
                <c:pt idx="1">
                  <c:v>Description 2</c:v>
                </c:pt>
                <c:pt idx="2">
                  <c:v>Description 3</c:v>
                </c:pt>
                <c:pt idx="3">
                  <c:v>Description 4</c:v>
                </c:pt>
                <c:pt idx="4">
                  <c:v>Description 5</c:v>
                </c:pt>
              </c:strCache>
            </c:strRef>
          </c:cat>
          <c:val>
            <c:numRef>
              <c:f>Tabelle1!$D$2:$D$6</c:f>
              <c:numCache>
                <c:formatCode>General</c:formatCode>
                <c:ptCount val="5"/>
                <c:pt idx="0">
                  <c:v>0.11</c:v>
                </c:pt>
                <c:pt idx="1">
                  <c:v>0.05</c:v>
                </c:pt>
                <c:pt idx="2">
                  <c:v>2.0000000000000011E-2</c:v>
                </c:pt>
                <c:pt idx="3">
                  <c:v>8.0000000000000043E-2</c:v>
                </c:pt>
                <c:pt idx="4">
                  <c:v>6.0000000000000032E-2</c:v>
                </c:pt>
              </c:numCache>
            </c:numRef>
          </c:val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Category 4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  <a:alpha val="70000"/>
              </a:schemeClr>
            </a:solidFill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numFmt formatCode="0%" sourceLinked="0"/>
            <c:txPr>
              <a:bodyPr/>
              <a:lstStyle/>
              <a:p>
                <a:pPr>
                  <a:defRPr sz="1200">
                    <a:solidFill>
                      <a:srgbClr val="000000"/>
                    </a:solidFill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6</c:f>
              <c:strCache>
                <c:ptCount val="5"/>
                <c:pt idx="0">
                  <c:v>Description 1</c:v>
                </c:pt>
                <c:pt idx="1">
                  <c:v>Description 2</c:v>
                </c:pt>
                <c:pt idx="2">
                  <c:v>Description 3</c:v>
                </c:pt>
                <c:pt idx="3">
                  <c:v>Description 4</c:v>
                </c:pt>
                <c:pt idx="4">
                  <c:v>Description 5</c:v>
                </c:pt>
              </c:strCache>
            </c:strRef>
          </c:cat>
          <c:val>
            <c:numRef>
              <c:f>Tabelle1!$E$2:$E$6</c:f>
              <c:numCache>
                <c:formatCode>General</c:formatCode>
                <c:ptCount val="5"/>
                <c:pt idx="0">
                  <c:v>0.28000000000000008</c:v>
                </c:pt>
                <c:pt idx="1">
                  <c:v>9.0000000000000024E-2</c:v>
                </c:pt>
                <c:pt idx="2">
                  <c:v>0.17</c:v>
                </c:pt>
                <c:pt idx="3">
                  <c:v>0.18000000000000024</c:v>
                </c:pt>
                <c:pt idx="4">
                  <c:v>0.2400000000000002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238603648"/>
        <c:axId val="238761088"/>
      </c:barChart>
      <c:catAx>
        <c:axId val="23860364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de-DE"/>
          </a:p>
        </c:txPr>
        <c:crossAx val="238761088"/>
        <c:crosses val="autoZero"/>
        <c:auto val="1"/>
        <c:lblAlgn val="ctr"/>
        <c:lblOffset val="100"/>
        <c:noMultiLvlLbl val="0"/>
      </c:catAx>
      <c:valAx>
        <c:axId val="238761088"/>
        <c:scaling>
          <c:orientation val="minMax"/>
          <c:max val="1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238603648"/>
        <c:crosses val="autoZero"/>
        <c:crossBetween val="between"/>
      </c:valAx>
    </c:plotArea>
    <c:legend>
      <c:legendPos val="b"/>
      <c:layout/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83578085550871"/>
          <c:y val="0"/>
          <c:w val="0.8621642191444937"/>
          <c:h val="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Category 1</c:v>
                </c:pt>
              </c:strCache>
            </c:strRef>
          </c:tx>
          <c:spPr>
            <a:solidFill>
              <a:srgbClr val="7D7D7D">
                <a:alpha val="70000"/>
              </a:srgbClr>
            </a:solidFill>
            <a:ln w="12700">
              <a:solidFill>
                <a:srgbClr val="FFFFFF"/>
              </a:solidFill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2"/>
            <c:invertIfNegative val="0"/>
            <c:bubble3D val="0"/>
            <c:spPr>
              <a:solidFill>
                <a:srgbClr val="0070C0"/>
              </a:solidFill>
              <a:ln w="12700">
                <a:solidFill>
                  <a:srgbClr val="FFFFFF"/>
                </a:solidFill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c:spPr>
          </c:dPt>
          <c:dLbls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7</c:f>
              <c:strCache>
                <c:ptCount val="6"/>
                <c:pt idx="0">
                  <c:v>Description  1</c:v>
                </c:pt>
                <c:pt idx="1">
                  <c:v>Description  2</c:v>
                </c:pt>
                <c:pt idx="2">
                  <c:v>Description  3</c:v>
                </c:pt>
                <c:pt idx="3">
                  <c:v>Description  4</c:v>
                </c:pt>
                <c:pt idx="4">
                  <c:v>Description  5</c:v>
                </c:pt>
                <c:pt idx="5">
                  <c:v>Description  6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91</c:v>
                </c:pt>
                <c:pt idx="1">
                  <c:v>86</c:v>
                </c:pt>
                <c:pt idx="2">
                  <c:v>81</c:v>
                </c:pt>
                <c:pt idx="3">
                  <c:v>73</c:v>
                </c:pt>
                <c:pt idx="4">
                  <c:v>65</c:v>
                </c:pt>
                <c:pt idx="5">
                  <c:v>43</c:v>
                </c:pt>
              </c:numCache>
            </c:numRef>
          </c:val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Category 12</c:v>
                </c:pt>
              </c:strCache>
            </c:strRef>
          </c:tx>
          <c:spPr>
            <a:solidFill>
              <a:srgbClr val="C0C0C0">
                <a:alpha val="70000"/>
              </a:srgbClr>
            </a:solidFill>
            <a:ln>
              <a:solidFill>
                <a:srgbClr val="FFFFFF"/>
              </a:solidFill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2"/>
            <c:invertIfNegative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solidFill>
                  <a:srgbClr val="FFFFFF"/>
                </a:solidFill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c:spPr>
          </c:dPt>
          <c:dLbls>
            <c:txPr>
              <a:bodyPr/>
              <a:lstStyle/>
              <a:p>
                <a:pPr>
                  <a:defRPr sz="1200" b="1"/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7</c:f>
              <c:strCache>
                <c:ptCount val="6"/>
                <c:pt idx="0">
                  <c:v>Description  1</c:v>
                </c:pt>
                <c:pt idx="1">
                  <c:v>Description  2</c:v>
                </c:pt>
                <c:pt idx="2">
                  <c:v>Description  3</c:v>
                </c:pt>
                <c:pt idx="3">
                  <c:v>Description  4</c:v>
                </c:pt>
                <c:pt idx="4">
                  <c:v>Description  5</c:v>
                </c:pt>
                <c:pt idx="5">
                  <c:v>Description  6</c:v>
                </c:pt>
              </c:strCache>
            </c:strRef>
          </c:cat>
          <c:val>
            <c:numRef>
              <c:f>Tabelle1!$C$2:$C$7</c:f>
              <c:numCache>
                <c:formatCode>General</c:formatCode>
                <c:ptCount val="6"/>
                <c:pt idx="0">
                  <c:v>33</c:v>
                </c:pt>
                <c:pt idx="1">
                  <c:v>28</c:v>
                </c:pt>
                <c:pt idx="2">
                  <c:v>25</c:v>
                </c:pt>
                <c:pt idx="3">
                  <c:v>24</c:v>
                </c:pt>
                <c:pt idx="4">
                  <c:v>23</c:v>
                </c:pt>
                <c:pt idx="5">
                  <c:v>31</c:v>
                </c:pt>
              </c:numCache>
            </c:numRef>
          </c:val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Category 3</c:v>
                </c:pt>
              </c:strCache>
            </c:strRef>
          </c:tx>
          <c:spPr>
            <a:solidFill>
              <a:srgbClr val="D7D7D7">
                <a:alpha val="70000"/>
              </a:srgbClr>
            </a:solidFill>
            <a:ln>
              <a:solidFill>
                <a:srgbClr val="FFFFFF"/>
              </a:solidFill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2"/>
            <c:invertIfNegative val="0"/>
            <c:bubble3D val="0"/>
            <c:spPr>
              <a:solidFill>
                <a:schemeClr val="accent1">
                  <a:lumMod val="40000"/>
                  <a:lumOff val="60000"/>
                  <a:alpha val="70000"/>
                </a:schemeClr>
              </a:solidFill>
              <a:ln>
                <a:solidFill>
                  <a:srgbClr val="FFFFFF"/>
                </a:solidFill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c:spPr>
          </c:dPt>
          <c:dLbls>
            <c:txPr>
              <a:bodyPr/>
              <a:lstStyle/>
              <a:p>
                <a:pPr>
                  <a:defRPr sz="1200" b="1"/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7</c:f>
              <c:strCache>
                <c:ptCount val="6"/>
                <c:pt idx="0">
                  <c:v>Description  1</c:v>
                </c:pt>
                <c:pt idx="1">
                  <c:v>Description  2</c:v>
                </c:pt>
                <c:pt idx="2">
                  <c:v>Description  3</c:v>
                </c:pt>
                <c:pt idx="3">
                  <c:v>Description  4</c:v>
                </c:pt>
                <c:pt idx="4">
                  <c:v>Description  5</c:v>
                </c:pt>
                <c:pt idx="5">
                  <c:v>Description  6</c:v>
                </c:pt>
              </c:strCache>
            </c:strRef>
          </c:cat>
          <c:val>
            <c:numRef>
              <c:f>Tabelle1!$D$2:$D$7</c:f>
              <c:numCache>
                <c:formatCode>General</c:formatCode>
                <c:ptCount val="6"/>
                <c:pt idx="0">
                  <c:v>15</c:v>
                </c:pt>
                <c:pt idx="1">
                  <c:v>13</c:v>
                </c:pt>
                <c:pt idx="2">
                  <c:v>9</c:v>
                </c:pt>
                <c:pt idx="3">
                  <c:v>14</c:v>
                </c:pt>
                <c:pt idx="4">
                  <c:v>23</c:v>
                </c:pt>
                <c:pt idx="5">
                  <c:v>1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0"/>
        <c:overlap val="100"/>
        <c:axId val="238617728"/>
        <c:axId val="238619264"/>
      </c:barChart>
      <c:catAx>
        <c:axId val="238617728"/>
        <c:scaling>
          <c:orientation val="maxMin"/>
        </c:scaling>
        <c:delete val="0"/>
        <c:axPos val="l"/>
        <c:majorGridlines>
          <c:spPr>
            <a:ln>
              <a:solidFill>
                <a:schemeClr val="bg1">
                  <a:lumMod val="50000"/>
                </a:schemeClr>
              </a:solidFill>
            </a:ln>
          </c:spPr>
        </c:majorGridlines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238619264"/>
        <c:crosses val="autoZero"/>
        <c:auto val="1"/>
        <c:lblAlgn val="ctr"/>
        <c:lblOffset val="100"/>
        <c:noMultiLvlLbl val="0"/>
      </c:catAx>
      <c:valAx>
        <c:axId val="238619264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one"/>
        <c:crossAx val="2386177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view3D>
      <c:rotX val="0"/>
      <c:rotY val="0"/>
      <c:rAngAx val="0"/>
      <c:perspective val="30"/>
    </c:view3D>
    <c:floor>
      <c:thickness val="0"/>
      <c:spPr>
        <a:noFill/>
        <a:ln w="9525">
          <a:noFill/>
        </a:ln>
      </c:spPr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1.7018089607977283E-2"/>
          <c:y val="2.7324819933935353E-2"/>
          <c:w val="0.96596382078404541"/>
          <c:h val="0.97267518006606468"/>
        </c:manualLayout>
      </c:layout>
      <c:bar3D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ysClr val="window" lastClr="FFFFFF">
                <a:lumMod val="75000"/>
              </a:sysClr>
            </a:solidFill>
            <a:effectLst/>
            <a:scene3d>
              <a:camera prst="orthographicFront"/>
              <a:lightRig rig="threePt" dir="t"/>
            </a:scene3d>
            <a:sp3d>
              <a:bevelT w="50800" h="50800"/>
              <a:bevelB w="50800" h="50800"/>
            </a:sp3d>
          </c:spPr>
          <c:invertIfNegative val="0"/>
          <c:dLbls>
            <c:dLbl>
              <c:idx val="0"/>
              <c:layout>
                <c:manualLayout>
                  <c:x val="-5.3480669076539419E-4"/>
                  <c:y val="-2.48407453944866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8.747716184750137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7.7354952763533094E-3"/>
                  <c:y val="-7.452223618346034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>
                    <a:solidFill>
                      <a:schemeClr val="bg1">
                        <a:lumMod val="65000"/>
                      </a:schemeClr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6</c:f>
              <c:strCache>
                <c:ptCount val="5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.6</c:v>
                </c:pt>
                <c:pt idx="1">
                  <c:v>2.5</c:v>
                </c:pt>
                <c:pt idx="2">
                  <c:v>3.5</c:v>
                </c:pt>
                <c:pt idx="3">
                  <c:v>3.4</c:v>
                </c:pt>
                <c:pt idx="4">
                  <c:v>2</c:v>
                </c:pt>
              </c:numCache>
            </c:numRef>
          </c:val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rgbClr val="2A79FF"/>
            </a:solidFill>
            <a:effectLst/>
            <a:scene3d>
              <a:camera prst="orthographicFront"/>
              <a:lightRig rig="threePt" dir="t"/>
            </a:scene3d>
            <a:sp3d>
              <a:bevelT w="50800" h="50800"/>
              <a:bevelB w="50800" h="50800"/>
            </a:sp3d>
          </c:spPr>
          <c:invertIfNegative val="0"/>
          <c:dLbls>
            <c:dLbl>
              <c:idx val="0"/>
              <c:layout>
                <c:manualLayout>
                  <c:x val="2.2027439152049882E-3"/>
                  <c:y val="-2.484074539448580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2.3493616010856252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2.6485235225401612E-3"/>
                  <c:y val="-2.484074539448623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>
                    <a:solidFill>
                      <a:schemeClr val="accent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6</c:f>
              <c:strCache>
                <c:ptCount val="5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</c:strCache>
            </c:str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2.4</c:v>
                </c:pt>
                <c:pt idx="1">
                  <c:v>2.8</c:v>
                </c:pt>
                <c:pt idx="2">
                  <c:v>1.8</c:v>
                </c:pt>
                <c:pt idx="3">
                  <c:v>2.8</c:v>
                </c:pt>
                <c:pt idx="4">
                  <c:v>3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gapDepth val="141"/>
        <c:shape val="box"/>
        <c:axId val="239436544"/>
        <c:axId val="239438080"/>
        <c:axId val="0"/>
      </c:bar3DChart>
      <c:catAx>
        <c:axId val="239436544"/>
        <c:scaling>
          <c:orientation val="minMax"/>
        </c:scaling>
        <c:delete val="1"/>
        <c:axPos val="l"/>
        <c:majorTickMark val="out"/>
        <c:minorTickMark val="out"/>
        <c:tickLblPos val="none"/>
        <c:crossAx val="239438080"/>
        <c:crosses val="autoZero"/>
        <c:auto val="1"/>
        <c:lblAlgn val="ctr"/>
        <c:lblOffset val="100"/>
        <c:noMultiLvlLbl val="0"/>
      </c:catAx>
      <c:valAx>
        <c:axId val="2394380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239436544"/>
        <c:crosses val="autoZero"/>
        <c:crossBetween val="between"/>
        <c:majorUnit val="1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227184344226402E-2"/>
          <c:y val="8.7948981739005186E-2"/>
          <c:w val="0.94320617477025925"/>
          <c:h val="0.79010197640127466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ln>
              <a:solidFill>
                <a:srgbClr val="0070C0"/>
              </a:solidFill>
            </a:ln>
            <a:effectLst>
              <a:outerShdw blurRad="1270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pPr>
              <a:solidFill>
                <a:srgbClr val="0070C0"/>
              </a:solidFill>
              <a:ln>
                <a:solidFill>
                  <a:srgbClr val="FFFFFF"/>
                </a:solidFill>
              </a:ln>
              <a:effectLst>
                <a:outerShdw blurRad="127000" dist="38100" dir="2700000" algn="tl" rotWithShape="0">
                  <a:prstClr val="black">
                    <a:alpha val="40000"/>
                  </a:prstClr>
                </a:outerShdw>
              </a:effectLst>
            </c:spPr>
          </c:marker>
          <c:dLbls>
            <c:numFmt formatCode="0" sourceLinked="0"/>
            <c:txPr>
              <a:bodyPr/>
              <a:lstStyle/>
              <a:p>
                <a:pPr>
                  <a:defRPr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H$1</c:f>
              <c:numCache>
                <c:formatCode>General</c:formatCode>
                <c:ptCount val="7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</c:numCache>
            </c:numRef>
          </c:cat>
          <c:val>
            <c:numRef>
              <c:f>Sheet1!$B$2:$H$2</c:f>
              <c:numCache>
                <c:formatCode>General</c:formatCode>
                <c:ptCount val="7"/>
                <c:pt idx="0">
                  <c:v>34</c:v>
                </c:pt>
                <c:pt idx="1">
                  <c:v>39</c:v>
                </c:pt>
                <c:pt idx="2">
                  <c:v>49</c:v>
                </c:pt>
                <c:pt idx="3">
                  <c:v>48</c:v>
                </c:pt>
                <c:pt idx="4">
                  <c:v>65</c:v>
                </c:pt>
                <c:pt idx="5">
                  <c:v>61</c:v>
                </c:pt>
                <c:pt idx="6">
                  <c:v>7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Description B</c:v>
                </c:pt>
              </c:strCache>
            </c:strRef>
          </c:tx>
          <c:spPr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1270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pPr>
              <a:solidFill>
                <a:schemeClr val="bg1">
                  <a:lumMod val="50000"/>
                </a:schemeClr>
              </a:solidFill>
              <a:ln>
                <a:solidFill>
                  <a:srgbClr val="FFFFFF"/>
                </a:solidFill>
              </a:ln>
              <a:effectLst>
                <a:outerShdw blurRad="127000" dist="38100" dir="2700000" algn="tl" rotWithShape="0">
                  <a:prstClr val="black">
                    <a:alpha val="40000"/>
                  </a:prstClr>
                </a:outerShdw>
              </a:effectLst>
            </c:spPr>
          </c:marker>
          <c:dLbls>
            <c:numFmt formatCode="0" sourceLinked="0"/>
            <c:txPr>
              <a:bodyPr/>
              <a:lstStyle/>
              <a:p>
                <a:pPr>
                  <a:defRPr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H$1</c:f>
              <c:numCache>
                <c:formatCode>General</c:formatCode>
                <c:ptCount val="7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</c:numCache>
            </c:numRef>
          </c:cat>
          <c:val>
            <c:numRef>
              <c:f>Sheet1!$B$3:$H$3</c:f>
              <c:numCache>
                <c:formatCode>General</c:formatCode>
                <c:ptCount val="7"/>
                <c:pt idx="0">
                  <c:v>15</c:v>
                </c:pt>
                <c:pt idx="1">
                  <c:v>19</c:v>
                </c:pt>
                <c:pt idx="2">
                  <c:v>27</c:v>
                </c:pt>
                <c:pt idx="3">
                  <c:v>29</c:v>
                </c:pt>
                <c:pt idx="4">
                  <c:v>36</c:v>
                </c:pt>
                <c:pt idx="5">
                  <c:v>41</c:v>
                </c:pt>
                <c:pt idx="6">
                  <c:v>5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39161344"/>
        <c:axId val="239162880"/>
      </c:lineChart>
      <c:catAx>
        <c:axId val="2391613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accent1">
                <a:lumMod val="60000"/>
                <a:lumOff val="40000"/>
              </a:schemeClr>
            </a:solidFill>
          </a:ln>
        </c:spPr>
        <c:txPr>
          <a:bodyPr rot="0" vert="horz"/>
          <a:lstStyle/>
          <a:p>
            <a:pPr>
              <a:defRPr sz="1200" b="1"/>
            </a:pPr>
            <a:endParaRPr lang="de-DE"/>
          </a:p>
        </c:txPr>
        <c:crossAx val="239162880"/>
        <c:crosses val="autoZero"/>
        <c:auto val="1"/>
        <c:lblAlgn val="ctr"/>
        <c:lblOffset val="20"/>
        <c:tickLblSkip val="1"/>
        <c:tickMarkSkip val="1"/>
        <c:noMultiLvlLbl val="0"/>
      </c:catAx>
      <c:valAx>
        <c:axId val="239162880"/>
        <c:scaling>
          <c:orientation val="minMax"/>
        </c:scaling>
        <c:delete val="0"/>
        <c:axPos val="l"/>
        <c:majorGridlines>
          <c:spPr>
            <a:ln>
              <a:solidFill>
                <a:schemeClr val="accent1">
                  <a:lumMod val="60000"/>
                  <a:lumOff val="40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solidFill>
              <a:schemeClr val="accent1">
                <a:lumMod val="60000"/>
                <a:lumOff val="40000"/>
              </a:schemeClr>
            </a:solidFill>
          </a:ln>
        </c:spPr>
        <c:txPr>
          <a:bodyPr rot="0" vert="horz"/>
          <a:lstStyle/>
          <a:p>
            <a:pPr>
              <a:defRPr sz="1200"/>
            </a:pPr>
            <a:endParaRPr lang="de-DE"/>
          </a:p>
        </c:txPr>
        <c:crossAx val="23916134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54684095860566462"/>
          <c:y val="0"/>
          <c:w val="0.43681917211329141"/>
          <c:h val="0.11546391752577315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039626733475398E-2"/>
          <c:y val="0"/>
          <c:w val="0.97097324590577583"/>
          <c:h val="0.897534603768817"/>
        </c:manualLayout>
      </c:layout>
      <c:areaChart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escription 1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rgbClr val="FFFFFF"/>
              </a:solidFill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c:spPr>
          <c:cat>
            <c:strRef>
              <c:f>Tabelle1!$A$2:$A$8</c:f>
              <c:strCache>
                <c:ptCount val="7"/>
                <c:pt idx="0">
                  <c:v>Step 1</c:v>
                </c:pt>
                <c:pt idx="1">
                  <c:v>Step 2</c:v>
                </c:pt>
                <c:pt idx="2">
                  <c:v>Step 3</c:v>
                </c:pt>
                <c:pt idx="3">
                  <c:v>Step 4</c:v>
                </c:pt>
                <c:pt idx="4">
                  <c:v>Step 5</c:v>
                </c:pt>
                <c:pt idx="5">
                  <c:v>Step 6</c:v>
                </c:pt>
                <c:pt idx="6">
                  <c:v>Step 7</c:v>
                </c:pt>
              </c:strCache>
            </c:str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33</c:v>
                </c:pt>
                <c:pt idx="1">
                  <c:v>44</c:v>
                </c:pt>
                <c:pt idx="2">
                  <c:v>44</c:v>
                </c:pt>
                <c:pt idx="3">
                  <c:v>60</c:v>
                </c:pt>
                <c:pt idx="4">
                  <c:v>45</c:v>
                </c:pt>
                <c:pt idx="5">
                  <c:v>70</c:v>
                </c:pt>
                <c:pt idx="6">
                  <c:v>90</c:v>
                </c:pt>
              </c:numCache>
            </c:numRef>
          </c:val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escription 2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 w="12700">
              <a:solidFill>
                <a:srgbClr val="FFFFFF"/>
              </a:solidFill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c:spPr>
          <c:cat>
            <c:strRef>
              <c:f>Tabelle1!$A$2:$A$8</c:f>
              <c:strCache>
                <c:ptCount val="7"/>
                <c:pt idx="0">
                  <c:v>Step 1</c:v>
                </c:pt>
                <c:pt idx="1">
                  <c:v>Step 2</c:v>
                </c:pt>
                <c:pt idx="2">
                  <c:v>Step 3</c:v>
                </c:pt>
                <c:pt idx="3">
                  <c:v>Step 4</c:v>
                </c:pt>
                <c:pt idx="4">
                  <c:v>Step 5</c:v>
                </c:pt>
                <c:pt idx="5">
                  <c:v>Step 6</c:v>
                </c:pt>
                <c:pt idx="6">
                  <c:v>Step 7</c:v>
                </c:pt>
              </c:strCache>
            </c:strRef>
          </c:cat>
          <c:val>
            <c:numRef>
              <c:f>Tabelle1!$C$2:$C$8</c:f>
              <c:numCache>
                <c:formatCode>General</c:formatCode>
                <c:ptCount val="7"/>
                <c:pt idx="0">
                  <c:v>22</c:v>
                </c:pt>
                <c:pt idx="1">
                  <c:v>39</c:v>
                </c:pt>
                <c:pt idx="2">
                  <c:v>33</c:v>
                </c:pt>
                <c:pt idx="3">
                  <c:v>48</c:v>
                </c:pt>
                <c:pt idx="4">
                  <c:v>30</c:v>
                </c:pt>
                <c:pt idx="5">
                  <c:v>55</c:v>
                </c:pt>
                <c:pt idx="6">
                  <c:v>66</c:v>
                </c:pt>
              </c:numCache>
            </c:numRef>
          </c:val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escription 3</c:v>
                </c:pt>
              </c:strCache>
            </c:strRef>
          </c:tx>
          <c:spPr>
            <a:solidFill>
              <a:srgbClr val="0070C0"/>
            </a:solidFill>
            <a:ln w="12700">
              <a:solidFill>
                <a:srgbClr val="FFFFFF"/>
              </a:solidFill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c:spPr>
          <c:cat>
            <c:strRef>
              <c:f>Tabelle1!$A$2:$A$8</c:f>
              <c:strCache>
                <c:ptCount val="7"/>
                <c:pt idx="0">
                  <c:v>Step 1</c:v>
                </c:pt>
                <c:pt idx="1">
                  <c:v>Step 2</c:v>
                </c:pt>
                <c:pt idx="2">
                  <c:v>Step 3</c:v>
                </c:pt>
                <c:pt idx="3">
                  <c:v>Step 4</c:v>
                </c:pt>
                <c:pt idx="4">
                  <c:v>Step 5</c:v>
                </c:pt>
                <c:pt idx="5">
                  <c:v>Step 6</c:v>
                </c:pt>
                <c:pt idx="6">
                  <c:v>Step 7</c:v>
                </c:pt>
              </c:strCache>
            </c:strRef>
          </c:cat>
          <c:val>
            <c:numRef>
              <c:f>Tabelle1!$D$2:$D$8</c:f>
              <c:numCache>
                <c:formatCode>General</c:formatCode>
                <c:ptCount val="7"/>
                <c:pt idx="0">
                  <c:v>15</c:v>
                </c:pt>
                <c:pt idx="1">
                  <c:v>22</c:v>
                </c:pt>
                <c:pt idx="2">
                  <c:v>19</c:v>
                </c:pt>
                <c:pt idx="3">
                  <c:v>29</c:v>
                </c:pt>
                <c:pt idx="4">
                  <c:v>19</c:v>
                </c:pt>
                <c:pt idx="5">
                  <c:v>35</c:v>
                </c:pt>
                <c:pt idx="6">
                  <c:v>8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39239552"/>
        <c:axId val="239241088"/>
      </c:areaChart>
      <c:catAx>
        <c:axId val="239239552"/>
        <c:scaling>
          <c:orientation val="minMax"/>
        </c:scaling>
        <c:delete val="0"/>
        <c:axPos val="b"/>
        <c:majorGridlines>
          <c:spPr>
            <a:ln>
              <a:solidFill>
                <a:srgbClr val="969696"/>
              </a:solidFill>
            </a:ln>
          </c:spPr>
        </c:majorGridlines>
        <c:numFmt formatCode="dd/mm/yyyy" sourceLinked="1"/>
        <c:majorTickMark val="out"/>
        <c:minorTickMark val="none"/>
        <c:tickLblPos val="nextTo"/>
        <c:spPr>
          <a:ln>
            <a:solidFill>
              <a:srgbClr val="969696"/>
            </a:solidFill>
          </a:ln>
        </c:spPr>
        <c:txPr>
          <a:bodyPr/>
          <a:lstStyle/>
          <a:p>
            <a:pPr>
              <a:defRPr sz="1200" b="1"/>
            </a:pPr>
            <a:endParaRPr lang="de-DE"/>
          </a:p>
        </c:txPr>
        <c:crossAx val="239241088"/>
        <c:crosses val="autoZero"/>
        <c:auto val="1"/>
        <c:lblAlgn val="ctr"/>
        <c:lblOffset val="100"/>
        <c:noMultiLvlLbl val="0"/>
      </c:catAx>
      <c:valAx>
        <c:axId val="239241088"/>
        <c:scaling>
          <c:orientation val="minMax"/>
        </c:scaling>
        <c:delete val="0"/>
        <c:axPos val="l"/>
        <c:majorGridlines>
          <c:spPr>
            <a:ln w="12700">
              <a:solidFill>
                <a:srgbClr val="969696"/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solidFill>
              <a:srgbClr val="969696"/>
            </a:solidFill>
          </a:ln>
        </c:spPr>
        <c:txPr>
          <a:bodyPr/>
          <a:lstStyle/>
          <a:p>
            <a:pPr>
              <a:defRPr sz="1200"/>
            </a:pPr>
            <a:endParaRPr lang="de-DE"/>
          </a:p>
        </c:txPr>
        <c:crossAx val="239239552"/>
        <c:crosses val="autoZero"/>
        <c:crossBetween val="midCat"/>
      </c:valAx>
      <c:spPr>
        <a:noFill/>
        <a:ln w="12700">
          <a:solidFill>
            <a:srgbClr val="969696"/>
          </a:solidFill>
        </a:ln>
      </c:spPr>
    </c:plotArea>
    <c:legend>
      <c:legendPos val="l"/>
      <c:layout>
        <c:manualLayout>
          <c:xMode val="edge"/>
          <c:yMode val="edge"/>
          <c:x val="4.5214137415575055E-2"/>
          <c:y val="2.6178533853902695E-2"/>
          <c:w val="0.12510797811769014"/>
          <c:h val="0.18395695908503931"/>
        </c:manualLayout>
      </c:layout>
      <c:overlay val="1"/>
      <c:txPr>
        <a:bodyPr/>
        <a:lstStyle/>
        <a:p>
          <a:pPr>
            <a:defRPr sz="1200">
              <a:solidFill>
                <a:schemeClr val="tx1"/>
              </a:solidFill>
            </a:defRPr>
          </a:pPr>
          <a:endParaRPr lang="de-DE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0"/>
      <c:perspective val="30"/>
    </c:view3D>
    <c:floor>
      <c:thickness val="0"/>
      <c:spPr>
        <a:solidFill>
          <a:srgbClr val="C0C0C0">
            <a:alpha val="50000"/>
          </a:srgbClr>
        </a:solidFill>
      </c:spPr>
    </c:floor>
    <c:sideWall>
      <c:thickness val="0"/>
      <c:spPr>
        <a:noFill/>
        <a:ln w="12700">
          <a:solidFill>
            <a:srgbClr val="C0C0C0"/>
          </a:solidFill>
        </a:ln>
      </c:spPr>
    </c:sideWall>
    <c:backWall>
      <c:thickness val="0"/>
      <c:spPr>
        <a:noFill/>
        <a:ln w="12700">
          <a:solidFill>
            <a:srgbClr val="C0C0C0"/>
          </a:solidFill>
        </a:ln>
      </c:spPr>
    </c:backWall>
    <c:plotArea>
      <c:layout>
        <c:manualLayout>
          <c:layoutTarget val="inner"/>
          <c:xMode val="edge"/>
          <c:yMode val="edge"/>
          <c:x val="1.4039626733475398E-2"/>
          <c:y val="0"/>
          <c:w val="0.97097324590577583"/>
          <c:h val="0.897534603768817"/>
        </c:manualLayout>
      </c:layout>
      <c:area3DChart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escription 1</c:v>
                </c:pt>
              </c:strCache>
            </c:strRef>
          </c:tx>
          <c:spPr>
            <a:solidFill>
              <a:schemeClr val="bg1">
                <a:lumMod val="50000"/>
                <a:alpha val="85000"/>
              </a:schemeClr>
            </a:solidFill>
            <a:effectLst/>
          </c:spPr>
          <c:cat>
            <c:strRef>
              <c:f>Tabelle1!$A$2:$A$11</c:f>
              <c:strCache>
                <c:ptCount val="10"/>
                <c:pt idx="0">
                  <c:v>Step 1</c:v>
                </c:pt>
                <c:pt idx="1">
                  <c:v>Step 2</c:v>
                </c:pt>
                <c:pt idx="2">
                  <c:v>Step 3</c:v>
                </c:pt>
                <c:pt idx="3">
                  <c:v>Step 4</c:v>
                </c:pt>
                <c:pt idx="4">
                  <c:v>Step 5</c:v>
                </c:pt>
                <c:pt idx="5">
                  <c:v>Step 6</c:v>
                </c:pt>
                <c:pt idx="6">
                  <c:v>Step 7</c:v>
                </c:pt>
                <c:pt idx="7">
                  <c:v>Step 8</c:v>
                </c:pt>
                <c:pt idx="8">
                  <c:v>Step 9</c:v>
                </c:pt>
                <c:pt idx="9">
                  <c:v>Step 10</c:v>
                </c:pt>
              </c:strCache>
            </c:strRef>
          </c:cat>
          <c:val>
            <c:numRef>
              <c:f>Tabelle1!$B$2:$B$11</c:f>
              <c:numCache>
                <c:formatCode>General</c:formatCode>
                <c:ptCount val="10"/>
                <c:pt idx="0">
                  <c:v>0</c:v>
                </c:pt>
                <c:pt idx="1">
                  <c:v>1</c:v>
                </c:pt>
                <c:pt idx="2">
                  <c:v>0.5</c:v>
                </c:pt>
                <c:pt idx="3">
                  <c:v>1</c:v>
                </c:pt>
                <c:pt idx="4">
                  <c:v>2</c:v>
                </c:pt>
                <c:pt idx="5">
                  <c:v>1</c:v>
                </c:pt>
                <c:pt idx="6">
                  <c:v>0.5</c:v>
                </c:pt>
                <c:pt idx="7">
                  <c:v>2</c:v>
                </c:pt>
                <c:pt idx="8">
                  <c:v>1</c:v>
                </c:pt>
                <c:pt idx="9">
                  <c:v>3</c:v>
                </c:pt>
              </c:numCache>
            </c:numRef>
          </c:val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escription 2</c:v>
                </c:pt>
              </c:strCache>
            </c:strRef>
          </c:tx>
          <c:spPr>
            <a:solidFill>
              <a:srgbClr val="0070C0">
                <a:alpha val="85000"/>
              </a:srgbClr>
            </a:solidFill>
          </c:spPr>
          <c:cat>
            <c:strRef>
              <c:f>Tabelle1!$A$2:$A$11</c:f>
              <c:strCache>
                <c:ptCount val="10"/>
                <c:pt idx="0">
                  <c:v>Step 1</c:v>
                </c:pt>
                <c:pt idx="1">
                  <c:v>Step 2</c:v>
                </c:pt>
                <c:pt idx="2">
                  <c:v>Step 3</c:v>
                </c:pt>
                <c:pt idx="3">
                  <c:v>Step 4</c:v>
                </c:pt>
                <c:pt idx="4">
                  <c:v>Step 5</c:v>
                </c:pt>
                <c:pt idx="5">
                  <c:v>Step 6</c:v>
                </c:pt>
                <c:pt idx="6">
                  <c:v>Step 7</c:v>
                </c:pt>
                <c:pt idx="7">
                  <c:v>Step 8</c:v>
                </c:pt>
                <c:pt idx="8">
                  <c:v>Step 9</c:v>
                </c:pt>
                <c:pt idx="9">
                  <c:v>Step 10</c:v>
                </c:pt>
              </c:strCache>
            </c:strRef>
          </c:cat>
          <c:val>
            <c:numRef>
              <c:f>Tabelle1!$C$2:$C$11</c:f>
              <c:numCache>
                <c:formatCode>General</c:formatCode>
                <c:ptCount val="10"/>
                <c:pt idx="0">
                  <c:v>2</c:v>
                </c:pt>
                <c:pt idx="1">
                  <c:v>3</c:v>
                </c:pt>
                <c:pt idx="2">
                  <c:v>2</c:v>
                </c:pt>
                <c:pt idx="3">
                  <c:v>4</c:v>
                </c:pt>
                <c:pt idx="4">
                  <c:v>2</c:v>
                </c:pt>
                <c:pt idx="5">
                  <c:v>3</c:v>
                </c:pt>
                <c:pt idx="6">
                  <c:v>2.5</c:v>
                </c:pt>
                <c:pt idx="7">
                  <c:v>4</c:v>
                </c:pt>
                <c:pt idx="8">
                  <c:v>2</c:v>
                </c:pt>
                <c:pt idx="9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39299200"/>
        <c:axId val="239313280"/>
        <c:axId val="0"/>
      </c:area3DChart>
      <c:catAx>
        <c:axId val="239299200"/>
        <c:scaling>
          <c:orientation val="minMax"/>
        </c:scaling>
        <c:delete val="0"/>
        <c:axPos val="b"/>
        <c:majorGridlines>
          <c:spPr>
            <a:ln>
              <a:solidFill>
                <a:srgbClr val="969696"/>
              </a:solidFill>
            </a:ln>
          </c:spPr>
        </c:majorGridlines>
        <c:numFmt formatCode="dd/mm/yyyy" sourceLinked="1"/>
        <c:majorTickMark val="out"/>
        <c:minorTickMark val="none"/>
        <c:tickLblPos val="nextTo"/>
        <c:spPr>
          <a:ln>
            <a:solidFill>
              <a:srgbClr val="969696"/>
            </a:solidFill>
          </a:ln>
        </c:spPr>
        <c:txPr>
          <a:bodyPr/>
          <a:lstStyle/>
          <a:p>
            <a:pPr>
              <a:defRPr sz="1200" b="1"/>
            </a:pPr>
            <a:endParaRPr lang="de-DE"/>
          </a:p>
        </c:txPr>
        <c:crossAx val="239313280"/>
        <c:crosses val="autoZero"/>
        <c:auto val="1"/>
        <c:lblAlgn val="ctr"/>
        <c:lblOffset val="100"/>
        <c:noMultiLvlLbl val="0"/>
      </c:catAx>
      <c:valAx>
        <c:axId val="239313280"/>
        <c:scaling>
          <c:orientation val="minMax"/>
        </c:scaling>
        <c:delete val="0"/>
        <c:axPos val="l"/>
        <c:majorGridlines>
          <c:spPr>
            <a:ln w="12700">
              <a:solidFill>
                <a:srgbClr val="969696"/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solidFill>
              <a:srgbClr val="969696"/>
            </a:solidFill>
          </a:ln>
        </c:spPr>
        <c:txPr>
          <a:bodyPr/>
          <a:lstStyle/>
          <a:p>
            <a:pPr>
              <a:defRPr sz="1200"/>
            </a:pPr>
            <a:endParaRPr lang="de-DE"/>
          </a:p>
        </c:txPr>
        <c:crossAx val="239299200"/>
        <c:crosses val="autoZero"/>
        <c:crossBetween val="midCat"/>
      </c:valAx>
    </c:plotArea>
    <c:plotVisOnly val="1"/>
    <c:dispBlanksAs val="zero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Category 1</c:v>
                </c:pt>
              </c:strCache>
            </c:strRef>
          </c:tx>
          <c:spPr>
            <a:solidFill>
              <a:srgbClr val="2A79FF">
                <a:lumMod val="20000"/>
                <a:lumOff val="80000"/>
                <a:alpha val="70000"/>
              </a:srgbClr>
            </a:solidFill>
            <a:effectLst>
              <a:outerShdw blurRad="127000" dist="63500" dir="5400000" rotWithShape="0">
                <a:srgbClr val="000000">
                  <a:alpha val="38000"/>
                </a:srgbClr>
              </a:outerShdw>
            </a:effectLst>
          </c:spPr>
          <c:dPt>
            <c:idx val="0"/>
            <c:bubble3D val="0"/>
            <c:spPr>
              <a:solidFill>
                <a:schemeClr val="accent1">
                  <a:lumMod val="50000"/>
                  <a:alpha val="70000"/>
                </a:schemeClr>
              </a:solidFill>
              <a:effectLst>
                <a:outerShdw blurRad="127000" dist="63500" dir="5400000" rotWithShape="0">
                  <a:srgbClr val="000000">
                    <a:alpha val="38000"/>
                  </a:srgbClr>
                </a:outerShdw>
              </a:effectLst>
            </c:spPr>
          </c:dPt>
          <c:dPt>
            <c:idx val="1"/>
            <c:bubble3D val="0"/>
            <c:explosion val="18"/>
            <c:spPr>
              <a:solidFill>
                <a:srgbClr val="0070C0">
                  <a:alpha val="70000"/>
                </a:srgbClr>
              </a:solidFill>
              <a:effectLst>
                <a:outerShdw blurRad="127000" dist="63500" dir="5400000" rotWithShape="0">
                  <a:srgbClr val="000000">
                    <a:alpha val="38000"/>
                  </a:srgbClr>
                </a:outerShdw>
              </a:effectLst>
            </c:spPr>
          </c:dPt>
          <c:dPt>
            <c:idx val="2"/>
            <c:bubble3D val="0"/>
            <c:spPr>
              <a:solidFill>
                <a:schemeClr val="accent1">
                  <a:alpha val="70000"/>
                </a:schemeClr>
              </a:solidFill>
              <a:effectLst>
                <a:outerShdw blurRad="127000" dist="63500" dir="5400000" rotWithShape="0">
                  <a:srgbClr val="000000">
                    <a:alpha val="38000"/>
                  </a:srgbClr>
                </a:outerShdw>
              </a:effectLst>
            </c:spPr>
          </c:dPt>
          <c:dPt>
            <c:idx val="3"/>
            <c:bubble3D val="0"/>
            <c:spPr>
              <a:solidFill>
                <a:schemeClr val="accent1">
                  <a:lumMod val="60000"/>
                  <a:lumOff val="40000"/>
                  <a:alpha val="70000"/>
                </a:schemeClr>
              </a:solidFill>
              <a:effectLst>
                <a:outerShdw blurRad="127000" dist="63500" dir="5400000" rotWithShape="0">
                  <a:srgbClr val="000000">
                    <a:alpha val="38000"/>
                  </a:srgbClr>
                </a:outerShdw>
              </a:effectLst>
            </c:spPr>
          </c:dPt>
          <c:dPt>
            <c:idx val="4"/>
            <c:bubble3D val="0"/>
            <c:spPr>
              <a:solidFill>
                <a:schemeClr val="accent1">
                  <a:lumMod val="40000"/>
                  <a:lumOff val="60000"/>
                  <a:alpha val="70000"/>
                </a:schemeClr>
              </a:solidFill>
              <a:effectLst>
                <a:outerShdw blurRad="127000" dist="63500" dir="5400000" rotWithShape="0">
                  <a:srgbClr val="000000">
                    <a:alpha val="38000"/>
                  </a:srgbClr>
                </a:outerShdw>
              </a:effectLst>
            </c:spPr>
          </c:dPt>
          <c:dLbls>
            <c:dLbl>
              <c:idx val="0"/>
              <c:layout>
                <c:manualLayout>
                  <c:x val="-0.2044520174752088"/>
                  <c:y val="0.19062196003139628"/>
                </c:manualLayout>
              </c:layout>
              <c:spPr/>
              <c:txPr>
                <a:bodyPr/>
                <a:lstStyle/>
                <a:p>
                  <a:pPr>
                    <a:defRPr sz="1400">
                      <a:solidFill>
                        <a:srgbClr val="FFFFFF"/>
                      </a:solidFill>
                    </a:defRPr>
                  </a:pPr>
                  <a:endParaRPr lang="de-DE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7.8618993263891879E-2"/>
                  <c:y val="-7.9280281319979384E-2"/>
                </c:manualLayout>
              </c:layout>
              <c:spPr/>
              <c:txPr>
                <a:bodyPr/>
                <a:lstStyle/>
                <a:p>
                  <a:pPr>
                    <a:defRPr sz="1400">
                      <a:solidFill>
                        <a:srgbClr val="FFFFFF"/>
                      </a:solidFill>
                    </a:defRPr>
                  </a:pPr>
                  <a:endParaRPr lang="de-DE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6.8644533897201251E-2"/>
                  <c:y val="-0.16959855670773036"/>
                </c:manualLayout>
              </c:layout>
              <c:spPr/>
              <c:txPr>
                <a:bodyPr/>
                <a:lstStyle/>
                <a:p>
                  <a:pPr>
                    <a:defRPr sz="1400">
                      <a:solidFill>
                        <a:srgbClr val="F8F8F8"/>
                      </a:solidFill>
                    </a:defRPr>
                  </a:pPr>
                  <a:endParaRPr lang="de-DE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3"/>
              <c:layout>
                <c:manualLayout>
                  <c:x val="0.17437380318412191"/>
                  <c:y val="6.2086147059935246E-2"/>
                </c:manualLayout>
              </c:layout>
              <c:spPr/>
              <c:txPr>
                <a:bodyPr/>
                <a:lstStyle/>
                <a:p>
                  <a:pPr>
                    <a:defRPr sz="1400">
                      <a:solidFill>
                        <a:srgbClr val="000000"/>
                      </a:solidFill>
                    </a:defRPr>
                  </a:pPr>
                  <a:endParaRPr lang="de-DE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.14087671773692598"/>
                  <c:y val="0.12847149080005069"/>
                </c:manualLayout>
              </c:layout>
              <c:spPr/>
              <c:txPr>
                <a:bodyPr/>
                <a:lstStyle/>
                <a:p>
                  <a:pPr>
                    <a:defRPr sz="1400">
                      <a:solidFill>
                        <a:srgbClr val="000000"/>
                      </a:solidFill>
                    </a:defRPr>
                  </a:pPr>
                  <a:endParaRPr lang="de-DE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txPr>
              <a:bodyPr/>
              <a:lstStyle/>
              <a:p>
                <a:pPr>
                  <a:defRPr sz="1400"/>
                </a:pPr>
                <a:endParaRPr lang="de-DE"/>
              </a:p>
            </c:txPr>
            <c:dLblPos val="ctr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</c:dLbls>
          <c:cat>
            <c:strRef>
              <c:f>Tabelle1!$A$2:$A$6</c:f>
              <c:strCache>
                <c:ptCount val="5"/>
                <c:pt idx="0">
                  <c:v>Description 1</c:v>
                </c:pt>
                <c:pt idx="1">
                  <c:v>Description 2</c:v>
                </c:pt>
                <c:pt idx="2">
                  <c:v>Description 3</c:v>
                </c:pt>
                <c:pt idx="3">
                  <c:v>Description 4</c:v>
                </c:pt>
                <c:pt idx="4">
                  <c:v>Description 5</c:v>
                </c:pt>
              </c:strCache>
            </c:strRef>
          </c:cat>
          <c:val>
            <c:numRef>
              <c:f>Tabelle1!$B$2:$B$6</c:f>
              <c:numCache>
                <c:formatCode>0.0%</c:formatCode>
                <c:ptCount val="5"/>
                <c:pt idx="0">
                  <c:v>0.23200000000000001</c:v>
                </c:pt>
                <c:pt idx="1">
                  <c:v>0.125</c:v>
                </c:pt>
                <c:pt idx="2">
                  <c:v>0.31900000000000173</c:v>
                </c:pt>
                <c:pt idx="3">
                  <c:v>0.20700000000000021</c:v>
                </c:pt>
                <c:pt idx="4">
                  <c:v>0.1170000000000000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txPr>
        <a:bodyPr/>
        <a:lstStyle/>
        <a:p>
          <a:pPr>
            <a:defRPr sz="1800">
              <a:solidFill>
                <a:schemeClr val="tx1">
                  <a:lumMod val="75000"/>
                  <a:lumOff val="25000"/>
                </a:schemeClr>
              </a:solidFill>
            </a:defRPr>
          </a:pPr>
          <a:endParaRPr lang="de-DE"/>
        </a:p>
      </c:txPr>
    </c:title>
    <c:autoTitleDeleted val="0"/>
    <c:view3D>
      <c:rotX val="30"/>
      <c:rotY val="45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8.3663678994914129E-2"/>
          <c:w val="1"/>
          <c:h val="0.83882161616856366"/>
        </c:manualLayout>
      </c:layout>
      <c:pie3D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Placeholder</c:v>
                </c:pt>
              </c:strCache>
            </c:strRef>
          </c:tx>
          <c:spPr>
            <a:solidFill>
              <a:schemeClr val="accent1"/>
            </a:solidFill>
            <a:effectLst>
              <a:outerShdw blurRad="127000" dist="63500" dir="2700000" algn="tl" rotWithShape="0">
                <a:prstClr val="black">
                  <a:alpha val="2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254000" h="127000"/>
              <a:bevelB w="254000" h="127000"/>
            </a:sp3d>
          </c:spPr>
          <c:dPt>
            <c:idx val="0"/>
            <c:bubble3D val="0"/>
            <c:explosion val="15"/>
            <c:spPr>
              <a:solidFill>
                <a:schemeClr val="bg1">
                  <a:lumMod val="65000"/>
                </a:schemeClr>
              </a:solidFill>
              <a:effectLst>
                <a:outerShdw blurRad="127000" dist="63500" dir="2700000" algn="tl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254000" h="127000"/>
                <a:bevelB w="254000" h="127000"/>
              </a:sp3d>
            </c:spPr>
          </c:dPt>
          <c:dLbls>
            <c:dLbl>
              <c:idx val="0"/>
              <c:layout>
                <c:manualLayout>
                  <c:x val="-6.1845826540404915E-2"/>
                  <c:y val="3.0877448627854721E-2"/>
                </c:manualLayout>
              </c:layout>
              <c:spPr/>
              <c:txPr>
                <a:bodyPr/>
                <a:lstStyle/>
                <a:p>
                  <a:pPr>
                    <a:defRPr>
                      <a:solidFill>
                        <a:srgbClr val="F8F8F8"/>
                      </a:solidFill>
                      <a:effectLst>
                        <a:reflection blurRad="6350" stA="55000" endA="300" endPos="45500" dir="5400000" sy="-100000" algn="bl" rotWithShape="0"/>
                      </a:effectLst>
                    </a:defRPr>
                  </a:pPr>
                  <a:endParaRPr lang="de-DE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.19622209118133366"/>
                  <c:y val="-0.28434060305724973"/>
                </c:manualLayout>
              </c:layout>
              <c:spPr/>
              <c:txPr>
                <a:bodyPr/>
                <a:lstStyle/>
                <a:p>
                  <a:pPr>
                    <a:defRPr sz="4000">
                      <a:solidFill>
                        <a:srgbClr val="FFFFFF"/>
                      </a:solidFill>
                      <a:effectLst>
                        <a:reflection blurRad="6350" stA="55000" endA="300" endPos="45500" dir="5400000" sy="-100000" algn="bl" rotWithShape="0"/>
                      </a:effectLst>
                    </a:defRPr>
                  </a:pPr>
                  <a:endParaRPr lang="de-DE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>
                    <a:solidFill>
                      <a:srgbClr val="000000"/>
                    </a:solidFill>
                    <a:effectLst>
                      <a:reflection blurRad="6350" stA="55000" endA="300" endPos="45500" dir="5400000" sy="-100000" algn="bl" rotWithShape="0"/>
                    </a:effectLst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Tabelle1!$A$2:$A$3</c:f>
              <c:strCache>
                <c:ptCount val="2"/>
                <c:pt idx="0">
                  <c:v>Description 1</c:v>
                </c:pt>
                <c:pt idx="1">
                  <c:v>Description 2</c:v>
                </c:pt>
              </c:strCache>
            </c:strRef>
          </c:cat>
          <c:val>
            <c:numRef>
              <c:f>Tabelle1!$B$2:$B$3</c:f>
              <c:numCache>
                <c:formatCode>0%</c:formatCode>
                <c:ptCount val="2"/>
                <c:pt idx="0">
                  <c:v>5.00000000000001E-2</c:v>
                </c:pt>
                <c:pt idx="1">
                  <c:v>0.9500000000000006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  <c:spPr>
        <a:noFill/>
        <a:ln w="25400">
          <a:noFill/>
        </a:ln>
      </c:spPr>
    </c:plotArea>
    <c:legend>
      <c:legendPos val="b"/>
      <c:layout/>
      <c:overlay val="0"/>
      <c:txPr>
        <a:bodyPr/>
        <a:lstStyle/>
        <a:p>
          <a:pPr>
            <a:defRPr sz="1400"/>
          </a:pPr>
          <a:endParaRPr lang="de-DE"/>
        </a:p>
      </c:txPr>
    </c:legend>
    <c:plotVisOnly val="1"/>
    <c:dispBlanksAs val="zero"/>
    <c:showDLblsOverMax val="0"/>
  </c:chart>
  <c:spPr>
    <a:effectLst/>
    <a:scene3d>
      <a:camera prst="orthographicFront"/>
      <a:lightRig rig="threePt" dir="t"/>
    </a:scene3d>
    <a:sp3d>
      <a:bevelT w="254000"/>
    </a:sp3d>
  </c:spPr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45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Placeholder</c:v>
                </c:pt>
              </c:strCache>
            </c:strRef>
          </c:tx>
          <c:spPr>
            <a:solidFill>
              <a:srgbClr val="D7D7D7"/>
            </a:solidFill>
            <a:effectLst>
              <a:outerShdw blurRad="127000" dist="63500" dir="2700000" algn="tl" rotWithShape="0">
                <a:prstClr val="black">
                  <a:alpha val="2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254000" h="127000"/>
              <a:bevelB w="254000" h="127000"/>
            </a:sp3d>
          </c:spPr>
          <c:explosion val="15"/>
          <c:dPt>
            <c:idx val="0"/>
            <c:bubble3D val="0"/>
            <c:spPr>
              <a:solidFill>
                <a:schemeClr val="accent1"/>
              </a:solidFill>
              <a:effectLst>
                <a:outerShdw blurRad="127000" dist="63500" dir="2700000" algn="tl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254000" h="127000"/>
                <a:bevelB w="254000" h="127000"/>
              </a:sp3d>
            </c:spPr>
          </c:dPt>
          <c:dPt>
            <c:idx val="1"/>
            <c:bubble3D val="0"/>
            <c:spPr>
              <a:solidFill>
                <a:srgbClr val="AFAFAF"/>
              </a:solidFill>
              <a:effectLst>
                <a:outerShdw blurRad="127000" dist="63500" dir="2700000" algn="tl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254000" h="127000"/>
                <a:bevelB w="254000" h="127000"/>
              </a:sp3d>
            </c:spPr>
          </c:dPt>
          <c:dPt>
            <c:idx val="2"/>
            <c:bubble3D val="0"/>
            <c:spPr>
              <a:solidFill>
                <a:schemeClr val="bg1">
                  <a:lumMod val="85000"/>
                </a:schemeClr>
              </a:solidFill>
              <a:effectLst>
                <a:outerShdw blurRad="127000" dist="63500" dir="2700000" algn="tl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254000" h="127000"/>
                <a:bevelB w="254000" h="127000"/>
              </a:sp3d>
            </c:spPr>
          </c:dPt>
          <c:dLbls>
            <c:dLbl>
              <c:idx val="0"/>
              <c:layout>
                <c:manualLayout>
                  <c:x val="-0.16751613375493643"/>
                  <c:y val="-0.27704038947796961"/>
                </c:manualLayout>
              </c:layout>
              <c:spPr/>
              <c:txPr>
                <a:bodyPr/>
                <a:lstStyle/>
                <a:p>
                  <a:pPr>
                    <a:defRPr sz="3600">
                      <a:solidFill>
                        <a:srgbClr val="FFFFFF"/>
                      </a:solidFill>
                      <a:effectLst>
                        <a:reflection blurRad="6350" stA="55000" endA="300" endPos="45500" dir="5400000" sy="-100000" algn="bl" rotWithShape="0"/>
                      </a:effectLst>
                    </a:defRPr>
                  </a:pPr>
                  <a:endParaRPr lang="de-DE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.16413097563260468"/>
                  <c:y val="-0.18495138061499278"/>
                </c:manualLayout>
              </c:layout>
              <c:spPr/>
              <c:txPr>
                <a:bodyPr/>
                <a:lstStyle/>
                <a:p>
                  <a:pPr>
                    <a:defRPr sz="3200">
                      <a:solidFill>
                        <a:srgbClr val="000000"/>
                      </a:solidFill>
                      <a:effectLst>
                        <a:reflection blurRad="6350" stA="55000" endA="300" endPos="45500" dir="5400000" sy="-100000" algn="bl" rotWithShape="0"/>
                      </a:effectLst>
                    </a:defRPr>
                  </a:pPr>
                  <a:endParaRPr lang="de-DE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2.7418909904706225E-2"/>
                  <c:y val="7.2050669858782501E-2"/>
                </c:manualLayout>
              </c:layout>
              <c:spPr/>
              <c:txPr>
                <a:bodyPr/>
                <a:lstStyle/>
                <a:p>
                  <a:pPr>
                    <a:defRPr sz="2000">
                      <a:solidFill>
                        <a:srgbClr val="000000"/>
                      </a:solidFill>
                      <a:effectLst>
                        <a:reflection blurRad="6350" stA="55000" endA="300" endPos="45500" dir="5400000" sy="-100000" algn="bl" rotWithShape="0"/>
                      </a:effectLst>
                    </a:defRPr>
                  </a:pPr>
                  <a:endParaRPr lang="de-DE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>
                    <a:solidFill>
                      <a:srgbClr val="000000"/>
                    </a:solidFill>
                    <a:effectLst>
                      <a:reflection blurRad="6350" stA="55000" endA="300" endPos="45500" dir="5400000" sy="-100000" algn="bl" rotWithShape="0"/>
                    </a:effectLst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Tabelle1!$A$2:$A$4</c:f>
              <c:strCache>
                <c:ptCount val="3"/>
                <c:pt idx="0">
                  <c:v>Description 1</c:v>
                </c:pt>
                <c:pt idx="1">
                  <c:v>Description 2</c:v>
                </c:pt>
                <c:pt idx="2">
                  <c:v>Description 3</c:v>
                </c:pt>
              </c:strCache>
            </c:str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9.2000000000000011</c:v>
                </c:pt>
                <c:pt idx="1">
                  <c:v>6.8</c:v>
                </c:pt>
                <c:pt idx="2">
                  <c:v>5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b"/>
      <c:layout/>
      <c:overlay val="0"/>
      <c:txPr>
        <a:bodyPr/>
        <a:lstStyle/>
        <a:p>
          <a:pPr>
            <a:defRPr sz="1400"/>
          </a:pPr>
          <a:endParaRPr lang="de-DE"/>
        </a:p>
      </c:txPr>
    </c:legend>
    <c:plotVisOnly val="1"/>
    <c:dispBlanksAs val="zero"/>
    <c:showDLblsOverMax val="0"/>
  </c:chart>
  <c:spPr>
    <a:scene3d>
      <a:camera prst="orthographicFront"/>
      <a:lightRig rig="threePt" dir="t"/>
    </a:scene3d>
    <a:sp3d>
      <a:bevelT w="254000"/>
    </a:sp3d>
  </c:spPr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243480468403532"/>
          <c:y val="0.10582504801896113"/>
          <c:w val="0.41513039063192969"/>
          <c:h val="0.69790259191635717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dPt>
            <c:idx val="1"/>
            <c:bubble3D val="0"/>
            <c:spPr>
              <a:solidFill>
                <a:srgbClr val="0070C0"/>
              </a:solidFill>
            </c:spPr>
          </c:dPt>
          <c:dPt>
            <c:idx val="2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3"/>
            <c:bubble3D val="0"/>
            <c:spPr>
              <a:solidFill>
                <a:schemeClr val="bg1">
                  <a:lumMod val="65000"/>
                </a:schemeClr>
              </a:solidFill>
            </c:spPr>
          </c:dPt>
          <c:dPt>
            <c:idx val="4"/>
            <c:bubble3D val="0"/>
            <c:spPr>
              <a:solidFill>
                <a:schemeClr val="bg1">
                  <a:lumMod val="75000"/>
                </a:schemeClr>
              </a:solidFill>
            </c:spPr>
          </c:dPt>
          <c:dPt>
            <c:idx val="5"/>
            <c:bubble3D val="0"/>
            <c:spPr>
              <a:solidFill>
                <a:schemeClr val="bg1">
                  <a:lumMod val="85000"/>
                </a:schemeClr>
              </a:solidFill>
            </c:spPr>
          </c:dPt>
          <c:dPt>
            <c:idx val="6"/>
            <c:bubble3D val="0"/>
            <c:spPr>
              <a:solidFill>
                <a:schemeClr val="bg1">
                  <a:lumMod val="95000"/>
                </a:schemeClr>
              </a:solidFill>
            </c:spPr>
          </c:dPt>
          <c:dLbls>
            <c:dLbl>
              <c:idx val="0"/>
              <c:layout>
                <c:manualLayout>
                  <c:x val="-0.1568726152968743"/>
                  <c:y val="-0.29135721993158681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</c:dLbl>
            <c:dLbl>
              <c:idx val="1"/>
              <c:layout>
                <c:manualLayout>
                  <c:x val="0.26743014027118772"/>
                  <c:y val="-8.790990155717501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</c:dLbl>
            <c:dLbl>
              <c:idx val="2"/>
              <c:layout>
                <c:manualLayout>
                  <c:x val="0.20169321127355067"/>
                  <c:y val="-6.2792702067267697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</c:dLbl>
            <c:dLbl>
              <c:idx val="3"/>
              <c:layout>
                <c:manualLayout>
                  <c:x val="0.21663344914566557"/>
                  <c:y val="1.5070003259277077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</c:dLbl>
            <c:dLbl>
              <c:idx val="4"/>
              <c:layout>
                <c:manualLayout>
                  <c:x val="0.25846599754791871"/>
                  <c:y val="6.530400669575756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</c:dLbl>
            <c:dLbl>
              <c:idx val="5"/>
              <c:layout>
                <c:manualLayout>
                  <c:x val="0.30478073495147495"/>
                  <c:y val="0.12307330841937718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</c:dLbl>
            <c:dLbl>
              <c:idx val="6"/>
              <c:layout>
                <c:manualLayout>
                  <c:x val="-0.34960168384715601"/>
                  <c:y val="0.10297950927311794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</c:dLbl>
            <c:dLbl>
              <c:idx val="7"/>
              <c:layout>
                <c:manualLayout>
                  <c:x val="-0.11205178404086143"/>
                  <c:y val="-0.11302650773208155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</c:dLbl>
            <c:dLbl>
              <c:idx val="8"/>
              <c:layout>
                <c:manualLayout>
                  <c:x val="4.4820713616344592E-2"/>
                  <c:y val="-0.12890243053468051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</c:dLbl>
            <c:numFmt formatCode="General" sourceLinked="0"/>
            <c:txPr>
              <a:bodyPr/>
              <a:lstStyle/>
              <a:p>
                <a:pPr>
                  <a:defRPr sz="1400"/>
                </a:pPr>
                <a:endParaRPr lang="de-DE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eparator>
</c:separator>
            <c:showLeaderLines val="1"/>
          </c:dLbls>
          <c:cat>
            <c:strRef>
              <c:f>Tabelle1!$A$2:$A$8</c:f>
              <c:strCache>
                <c:ptCount val="7"/>
                <c:pt idx="0">
                  <c:v>Description 1</c:v>
                </c:pt>
                <c:pt idx="1">
                  <c:v>Description 2</c:v>
                </c:pt>
                <c:pt idx="2">
                  <c:v>Description 3</c:v>
                </c:pt>
                <c:pt idx="3">
                  <c:v>Description 4</c:v>
                </c:pt>
                <c:pt idx="4">
                  <c:v>Description 5</c:v>
                </c:pt>
                <c:pt idx="5">
                  <c:v>Description 6</c:v>
                </c:pt>
                <c:pt idx="6">
                  <c:v>Description 7</c:v>
                </c:pt>
              </c:strCache>
            </c:str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6500</c:v>
                </c:pt>
                <c:pt idx="1">
                  <c:v>2000</c:v>
                </c:pt>
                <c:pt idx="2">
                  <c:v>1200</c:v>
                </c:pt>
                <c:pt idx="3">
                  <c:v>900</c:v>
                </c:pt>
                <c:pt idx="4">
                  <c:v>700</c:v>
                </c:pt>
                <c:pt idx="5">
                  <c:v>600</c:v>
                </c:pt>
                <c:pt idx="6">
                  <c:v>5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80"/>
        <c:holeSize val="65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524483795748779"/>
          <c:y val="0.31057997145253907"/>
          <c:w val="0.7220492717380308"/>
          <c:h val="0.37907046170339648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12700"/>
          </c:spPr>
          <c:dPt>
            <c:idx val="0"/>
            <c:bubble3D val="0"/>
            <c:spPr>
              <a:gradFill flip="none" rotWithShape="1">
                <a:gsLst>
                  <a:gs pos="50000">
                    <a:srgbClr val="D7D7D7"/>
                  </a:gs>
                  <a:gs pos="100000">
                    <a:srgbClr val="E6E6E6"/>
                  </a:gs>
                </a:gsLst>
                <a:lin ang="8100000" scaled="1"/>
                <a:tileRect/>
              </a:gradFill>
              <a:ln w="12700">
                <a:solidFill>
                  <a:srgbClr val="FFFFFF"/>
                </a:solidFill>
              </a:ln>
            </c:spPr>
          </c:dPt>
          <c:dPt>
            <c:idx val="1"/>
            <c:bubble3D val="0"/>
            <c:spPr>
              <a:gradFill flip="none" rotWithShape="1">
                <a:gsLst>
                  <a:gs pos="50000">
                    <a:srgbClr val="AFAFAF"/>
                  </a:gs>
                  <a:gs pos="100000">
                    <a:srgbClr val="C8C8C8"/>
                  </a:gs>
                </a:gsLst>
                <a:lin ang="18900000" scaled="1"/>
                <a:tileRect/>
              </a:gradFill>
              <a:ln w="12700"/>
            </c:spPr>
          </c:dPt>
          <c:dPt>
            <c:idx val="2"/>
            <c:bubble3D val="0"/>
            <c:spPr>
              <a:gradFill flip="none" rotWithShape="1">
                <a:gsLst>
                  <a:gs pos="50000">
                    <a:srgbClr val="7D7D7D"/>
                  </a:gs>
                  <a:gs pos="100000">
                    <a:srgbClr val="969696"/>
                  </a:gs>
                </a:gsLst>
                <a:lin ang="2700000" scaled="1"/>
                <a:tileRect/>
              </a:gradFill>
              <a:ln w="12700"/>
            </c:spPr>
          </c:dPt>
          <c:dPt>
            <c:idx val="3"/>
            <c:bubble3D val="0"/>
            <c:spPr>
              <a:solidFill>
                <a:srgbClr val="0070C0"/>
              </a:solidFill>
              <a:ln w="12700"/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 sz="1400" b="1">
                      <a:solidFill>
                        <a:srgbClr val="000000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/>
              <c:txPr>
                <a:bodyPr/>
                <a:lstStyle/>
                <a:p>
                  <a:pPr>
                    <a:defRPr sz="1400" b="1">
                      <a:solidFill>
                        <a:srgbClr val="000000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spPr/>
              <c:txPr>
                <a:bodyPr/>
                <a:lstStyle/>
                <a:p>
                  <a:pPr>
                    <a:defRPr sz="1400" b="1">
                      <a:solidFill>
                        <a:srgbClr val="F8F8F8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spPr/>
              <c:txPr>
                <a:bodyPr/>
                <a:lstStyle/>
                <a:p>
                  <a:pPr>
                    <a:defRPr sz="1400" b="1">
                      <a:solidFill>
                        <a:srgbClr val="FFFFFF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/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Tabelle1!$A$2:$A$5</c:f>
              <c:strCache>
                <c:ptCount val="4"/>
                <c:pt idx="0">
                  <c:v>Description 1</c:v>
                </c:pt>
                <c:pt idx="1">
                  <c:v>Description 2</c:v>
                </c:pt>
                <c:pt idx="2">
                  <c:v>Description 3</c:v>
                </c:pt>
                <c:pt idx="3">
                  <c:v>Description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5.6</c:v>
                </c:pt>
                <c:pt idx="1">
                  <c:v>3.9</c:v>
                </c:pt>
                <c:pt idx="2">
                  <c:v>2.2000000000000002</c:v>
                </c:pt>
                <c:pt idx="3">
                  <c:v>1.100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ln w="12700"/>
      </c:spPr>
    </c:plotArea>
    <c:plotVisOnly val="1"/>
    <c:dispBlanksAs val="zero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3.5144123305061643E-3"/>
          <c:y val="0.16898848825067422"/>
          <c:w val="0.88029097253051325"/>
          <c:h val="0.66664716349119235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12700"/>
          </c:spPr>
          <c:dPt>
            <c:idx val="0"/>
            <c:bubble3D val="0"/>
            <c:spPr>
              <a:gradFill flip="none" rotWithShape="1">
                <a:gsLst>
                  <a:gs pos="50000">
                    <a:srgbClr val="D7D7D7"/>
                  </a:gs>
                  <a:gs pos="100000">
                    <a:srgbClr val="E6E6E6"/>
                  </a:gs>
                </a:gsLst>
                <a:lin ang="10800000" scaled="1"/>
                <a:tileRect/>
              </a:gradFill>
              <a:ln w="12700">
                <a:solidFill>
                  <a:srgbClr val="FFFFFF"/>
                </a:solidFill>
              </a:ln>
            </c:spPr>
          </c:dPt>
          <c:dPt>
            <c:idx val="1"/>
            <c:bubble3D val="0"/>
            <c:spPr>
              <a:gradFill flip="none" rotWithShape="1">
                <a:gsLst>
                  <a:gs pos="50000">
                    <a:srgbClr val="AFAFAF"/>
                  </a:gs>
                  <a:gs pos="100000">
                    <a:srgbClr val="C8C8C8"/>
                  </a:gs>
                </a:gsLst>
                <a:lin ang="18900000" scaled="1"/>
                <a:tileRect/>
              </a:gradFill>
              <a:ln w="12700"/>
            </c:spPr>
          </c:dPt>
          <c:dPt>
            <c:idx val="2"/>
            <c:bubble3D val="0"/>
            <c:spPr>
              <a:gradFill flip="none" rotWithShape="1">
                <a:gsLst>
                  <a:gs pos="50000">
                    <a:srgbClr val="7D7D7D"/>
                  </a:gs>
                  <a:gs pos="100000">
                    <a:srgbClr val="969696"/>
                  </a:gs>
                </a:gsLst>
                <a:lin ang="2700000" scaled="1"/>
                <a:tileRect/>
              </a:gradFill>
              <a:ln w="12700"/>
            </c:spPr>
          </c:dPt>
          <c:dPt>
            <c:idx val="3"/>
            <c:bubble3D val="0"/>
            <c:spPr>
              <a:solidFill>
                <a:srgbClr val="0070C0"/>
              </a:solidFill>
              <a:ln w="12700"/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 sz="1800" b="1">
                      <a:solidFill>
                        <a:srgbClr val="000000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/>
              <c:txPr>
                <a:bodyPr/>
                <a:lstStyle/>
                <a:p>
                  <a:pPr>
                    <a:defRPr sz="1800" b="1">
                      <a:solidFill>
                        <a:srgbClr val="000000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spPr/>
              <c:txPr>
                <a:bodyPr/>
                <a:lstStyle/>
                <a:p>
                  <a:pPr>
                    <a:defRPr sz="1800" b="1">
                      <a:solidFill>
                        <a:srgbClr val="F8F8F8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spPr/>
              <c:txPr>
                <a:bodyPr/>
                <a:lstStyle/>
                <a:p>
                  <a:pPr>
                    <a:defRPr sz="1800" b="1">
                      <a:solidFill>
                        <a:srgbClr val="FFFFFF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800" b="1"/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Tabelle1!$A$2:$A$5</c:f>
              <c:strCache>
                <c:ptCount val="4"/>
                <c:pt idx="0">
                  <c:v>Description 1</c:v>
                </c:pt>
                <c:pt idx="1">
                  <c:v>Description 2</c:v>
                </c:pt>
                <c:pt idx="2">
                  <c:v>Description 3</c:v>
                </c:pt>
                <c:pt idx="3">
                  <c:v>Description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4.2</c:v>
                </c:pt>
                <c:pt idx="2">
                  <c:v>1.8</c:v>
                </c:pt>
                <c:pt idx="3">
                  <c:v>1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ln w="12700"/>
      </c:spPr>
    </c:plotArea>
    <c:plotVisOnly val="1"/>
    <c:dispBlanksAs val="zero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509186351706041E-3"/>
          <c:y val="0.22532655391170267"/>
          <c:w val="0.81977703634503618"/>
          <c:h val="0.5422292056542259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12700"/>
          </c:spPr>
          <c:dPt>
            <c:idx val="0"/>
            <c:bubble3D val="0"/>
            <c:spPr>
              <a:gradFill flip="none" rotWithShape="1">
                <a:gsLst>
                  <a:gs pos="50000">
                    <a:srgbClr val="D7D7D7"/>
                  </a:gs>
                  <a:gs pos="100000">
                    <a:srgbClr val="E6E6E6"/>
                  </a:gs>
                </a:gsLst>
                <a:lin ang="10800000" scaled="1"/>
                <a:tileRect/>
              </a:gradFill>
              <a:ln w="12700">
                <a:solidFill>
                  <a:srgbClr val="FFFFFF"/>
                </a:solidFill>
              </a:ln>
            </c:spPr>
          </c:dPt>
          <c:dPt>
            <c:idx val="1"/>
            <c:bubble3D val="0"/>
            <c:spPr>
              <a:gradFill flip="none" rotWithShape="1">
                <a:gsLst>
                  <a:gs pos="50000">
                    <a:srgbClr val="AFAFAF"/>
                  </a:gs>
                  <a:gs pos="100000">
                    <a:srgbClr val="C8C8C8"/>
                  </a:gs>
                </a:gsLst>
                <a:lin ang="18900000" scaled="1"/>
                <a:tileRect/>
              </a:gradFill>
              <a:ln w="12700"/>
            </c:spPr>
          </c:dPt>
          <c:dPt>
            <c:idx val="2"/>
            <c:bubble3D val="0"/>
            <c:spPr>
              <a:gradFill flip="none" rotWithShape="1">
                <a:gsLst>
                  <a:gs pos="50000">
                    <a:srgbClr val="7D7D7D"/>
                  </a:gs>
                  <a:gs pos="100000">
                    <a:srgbClr val="969696"/>
                  </a:gs>
                </a:gsLst>
                <a:lin ang="2700000" scaled="1"/>
                <a:tileRect/>
              </a:gradFill>
              <a:ln w="12700"/>
            </c:spPr>
          </c:dPt>
          <c:dPt>
            <c:idx val="3"/>
            <c:bubble3D val="0"/>
            <c:spPr>
              <a:solidFill>
                <a:srgbClr val="0070C0"/>
              </a:solidFill>
              <a:ln w="12700"/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 sz="1600" b="1">
                      <a:solidFill>
                        <a:srgbClr val="000000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/>
              <c:txPr>
                <a:bodyPr/>
                <a:lstStyle/>
                <a:p>
                  <a:pPr>
                    <a:defRPr sz="1600" b="1">
                      <a:solidFill>
                        <a:srgbClr val="000000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spPr/>
              <c:txPr>
                <a:bodyPr/>
                <a:lstStyle/>
                <a:p>
                  <a:pPr>
                    <a:defRPr sz="1600" b="1">
                      <a:solidFill>
                        <a:srgbClr val="F8F8F8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spPr/>
              <c:txPr>
                <a:bodyPr/>
                <a:lstStyle/>
                <a:p>
                  <a:pPr>
                    <a:defRPr sz="1600" b="1">
                      <a:solidFill>
                        <a:srgbClr val="FFFFFF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 b="1"/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Tabelle1!$A$2:$A$5</c:f>
              <c:strCache>
                <c:ptCount val="4"/>
                <c:pt idx="0">
                  <c:v>Description 1</c:v>
                </c:pt>
                <c:pt idx="1">
                  <c:v>Description 2</c:v>
                </c:pt>
                <c:pt idx="2">
                  <c:v>Description 3</c:v>
                </c:pt>
                <c:pt idx="3">
                  <c:v>Description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7.4</c:v>
                </c:pt>
                <c:pt idx="1">
                  <c:v>4.8</c:v>
                </c:pt>
                <c:pt idx="2">
                  <c:v>1.6</c:v>
                </c:pt>
                <c:pt idx="3">
                  <c:v>1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ln w="12700"/>
      </c:spPr>
    </c:plotArea>
    <c:legend>
      <c:legendPos val="b"/>
      <c:layout>
        <c:manualLayout>
          <c:xMode val="edge"/>
          <c:yMode val="edge"/>
          <c:x val="4.4166115595795384E-2"/>
          <c:y val="0.87459294045643388"/>
          <c:w val="0.73202111481031362"/>
          <c:h val="0.10887245167203646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961778215223235"/>
          <c:y val="2.2812675759280091E-2"/>
          <c:w val="0.62666033782008834"/>
          <c:h val="0.93999050673012763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>
              <a:solidFill>
                <a:srgbClr val="FFFFFF"/>
              </a:solidFill>
            </a:ln>
          </c:spPr>
          <c:dPt>
            <c:idx val="0"/>
            <c:bubble3D val="0"/>
            <c:spPr>
              <a:noFill/>
              <a:ln>
                <a:noFill/>
              </a:ln>
            </c:spPr>
          </c:dPt>
          <c:dPt>
            <c:idx val="1"/>
            <c:bubble3D val="0"/>
            <c:spPr>
              <a:gradFill flip="none" rotWithShape="1">
                <a:gsLst>
                  <a:gs pos="0">
                    <a:srgbClr val="0070C0">
                      <a:shade val="30000"/>
                      <a:satMod val="115000"/>
                    </a:srgbClr>
                  </a:gs>
                  <a:gs pos="50000">
                    <a:srgbClr val="0070C0">
                      <a:shade val="67500"/>
                      <a:satMod val="115000"/>
                    </a:srgbClr>
                  </a:gs>
                  <a:gs pos="100000">
                    <a:srgbClr val="0070C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solidFill>
                  <a:srgbClr val="FFFFFF"/>
                </a:solidFill>
              </a:ln>
            </c:spPr>
          </c:dPt>
          <c:dPt>
            <c:idx val="2"/>
            <c:bubble3D val="0"/>
            <c:spPr>
              <a:gradFill flip="none" rotWithShape="1">
                <a:gsLst>
                  <a:gs pos="50000">
                    <a:srgbClr val="7D7D7D"/>
                  </a:gs>
                  <a:gs pos="100000">
                    <a:srgbClr val="969696"/>
                  </a:gs>
                </a:gsLst>
                <a:lin ang="8100000" scaled="1"/>
                <a:tileRect/>
              </a:gradFill>
              <a:ln>
                <a:solidFill>
                  <a:srgbClr val="FFFFFF"/>
                </a:solidFill>
              </a:ln>
            </c:spPr>
          </c:dPt>
          <c:dPt>
            <c:idx val="3"/>
            <c:bubble3D val="0"/>
            <c:spPr>
              <a:gradFill flip="none" rotWithShape="1">
                <a:gsLst>
                  <a:gs pos="50000">
                    <a:srgbClr val="AFAFAF"/>
                  </a:gs>
                  <a:gs pos="100000">
                    <a:srgbClr val="C8C8C8"/>
                  </a:gs>
                </a:gsLst>
                <a:lin ang="10800000" scaled="1"/>
                <a:tileRect/>
              </a:gradFill>
              <a:ln>
                <a:solidFill>
                  <a:srgbClr val="FFFFFF"/>
                </a:solidFill>
              </a:ln>
            </c:spPr>
          </c:dPt>
          <c:dLbls>
            <c:dLbl>
              <c:idx val="0"/>
              <c:delete val="1"/>
            </c:dLbl>
            <c:dLbl>
              <c:idx val="1"/>
              <c:spPr/>
              <c:txPr>
                <a:bodyPr/>
                <a:lstStyle/>
                <a:p>
                  <a:pPr>
                    <a:defRPr>
                      <a:solidFill>
                        <a:srgbClr val="FFFFFF"/>
                      </a:solidFill>
                      <a:effectLst>
                        <a:outerShdw blurRad="50800" dist="38100" dir="2700000" algn="tl" rotWithShape="0">
                          <a:prstClr val="black">
                            <a:alpha val="40000"/>
                          </a:prstClr>
                        </a:outerShdw>
                      </a:effectLst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spPr/>
              <c:txPr>
                <a:bodyPr/>
                <a:lstStyle/>
                <a:p>
                  <a:pPr>
                    <a:defRPr>
                      <a:solidFill>
                        <a:srgbClr val="F8F8F8"/>
                      </a:solidFill>
                      <a:effectLst>
                        <a:outerShdw blurRad="50800" dist="38100" dir="2700000" algn="tl" rotWithShape="0">
                          <a:prstClr val="black">
                            <a:alpha val="40000"/>
                          </a:prstClr>
                        </a:outerShdw>
                      </a:effectLst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spPr/>
              <c:txPr>
                <a:bodyPr/>
                <a:lstStyle/>
                <a:p>
                  <a:pPr>
                    <a:defRPr>
                      <a:solidFill>
                        <a:srgbClr val="000000"/>
                      </a:solidFill>
                      <a:effectLst>
                        <a:outerShdw blurRad="50800" dist="38100" dir="2700000" algn="tl" rotWithShape="0">
                          <a:prstClr val="black">
                            <a:alpha val="40000"/>
                          </a:prstClr>
                        </a:outerShdw>
                      </a:effectLst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Tabelle1!$A$2:$A$5</c:f>
              <c:strCache>
                <c:ptCount val="4"/>
                <c:pt idx="1">
                  <c:v>Text 1</c:v>
                </c:pt>
                <c:pt idx="2">
                  <c:v>Text 2</c:v>
                </c:pt>
                <c:pt idx="3">
                  <c:v>Text  3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00</c:v>
                </c:pt>
                <c:pt idx="1">
                  <c:v>60</c:v>
                </c:pt>
                <c:pt idx="2">
                  <c:v>30</c:v>
                </c:pt>
                <c:pt idx="3">
                  <c:v>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90"/>
        <c:holeSize val="50"/>
      </c:doughnutChart>
    </c:plotArea>
    <c:legend>
      <c:legendPos val="r"/>
      <c:legendEntry>
        <c:idx val="0"/>
        <c:delete val="1"/>
      </c:legendEntry>
      <c:layout>
        <c:manualLayout>
          <c:xMode val="edge"/>
          <c:yMode val="edge"/>
          <c:x val="3.7626077990251215E-2"/>
          <c:y val="0.57935953318335265"/>
          <c:w val="0.85178044150731169"/>
          <c:h val="0.10164950933540665"/>
        </c:manualLayout>
      </c:layout>
      <c:overlay val="0"/>
    </c:legend>
    <c:plotVisOnly val="1"/>
    <c:dispBlanksAs val="zero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24D320-6787-4729-89FE-C94329983927}" type="datetimeFigureOut">
              <a:rPr lang="de-DE" smtClean="0"/>
              <a:pPr/>
              <a:t>23.03.201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83004C-3E2F-452B-950D-0BE3C0E2325A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79211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3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4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4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4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4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4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4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4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4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4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5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5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5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5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5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5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5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5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5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5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6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6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6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6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6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6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6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6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6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6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7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7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7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7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7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7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7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7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7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7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8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004C-3E2F-452B-950D-0BE3C0E2325A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8057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 bwMode="auto">
          <a:xfrm>
            <a:off x="0" y="2368446"/>
            <a:ext cx="9144000" cy="4487967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100000">
                <a:schemeClr val="tx1">
                  <a:alpha val="15000"/>
                </a:schemeClr>
              </a:gs>
            </a:gsLst>
            <a:lin ang="5400000" scaled="0"/>
          </a:gra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07035" y="2351194"/>
            <a:ext cx="6077940" cy="141605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600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254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2607751" y="324720"/>
            <a:ext cx="5920355" cy="6533280"/>
            <a:chOff x="2321944" y="0"/>
            <a:chExt cx="6214611" cy="6858000"/>
          </a:xfrm>
        </p:grpSpPr>
        <p:pic>
          <p:nvPicPr>
            <p:cNvPr id="3" name="Grafik 2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21944" y="0"/>
              <a:ext cx="6214611" cy="6858000"/>
            </a:xfrm>
            <a:prstGeom prst="rect">
              <a:avLst/>
            </a:prstGeom>
          </p:spPr>
        </p:pic>
        <p:pic>
          <p:nvPicPr>
            <p:cNvPr id="7" name="Grafik 6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33056" y="0"/>
              <a:ext cx="6103499" cy="6858000"/>
            </a:xfrm>
            <a:prstGeom prst="rect">
              <a:avLst/>
            </a:prstGeom>
          </p:spPr>
        </p:pic>
      </p:grpSp>
      <p:pic>
        <p:nvPicPr>
          <p:cNvPr id="11" name="Grafi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49" t="20150" r="5426"/>
          <a:stretch/>
        </p:blipFill>
        <p:spPr>
          <a:xfrm>
            <a:off x="6953250" y="6310312"/>
            <a:ext cx="1859756" cy="381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23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n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238539"/>
            <a:ext cx="8497092" cy="616455"/>
          </a:xfrm>
          <a:prstGeom prst="rect">
            <a:avLst/>
          </a:prstGeom>
        </p:spPr>
        <p:txBody>
          <a:bodyPr lIns="0" anchor="ctr" anchorCtr="0">
            <a:noAutofit/>
          </a:bodyPr>
          <a:lstStyle>
            <a:lvl1pPr algn="l">
              <a:lnSpc>
                <a:spcPct val="100000"/>
              </a:lnSpc>
              <a:defRPr sz="3000" b="1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23850" y="854994"/>
            <a:ext cx="8496300" cy="33624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buNone/>
              <a:defRPr sz="2000"/>
            </a:lvl1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  <p:sp>
        <p:nvSpPr>
          <p:cNvPr id="6" name="Foliennummernplatzhalter 1"/>
          <p:cNvSpPr txBox="1">
            <a:spLocks/>
          </p:cNvSpPr>
          <p:nvPr userDrawn="1"/>
        </p:nvSpPr>
        <p:spPr>
          <a:xfrm>
            <a:off x="235434" y="6418832"/>
            <a:ext cx="5864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68004D2-D520-4FA7-90AC-2FA42E418E7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3579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1"/>
          <p:cNvSpPr txBox="1">
            <a:spLocks/>
          </p:cNvSpPr>
          <p:nvPr userDrawn="1"/>
        </p:nvSpPr>
        <p:spPr>
          <a:xfrm>
            <a:off x="235434" y="6418832"/>
            <a:ext cx="5864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68004D2-D520-4FA7-90AC-2FA42E418E7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0170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2368446"/>
            <a:ext cx="9144000" cy="4487967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100000">
                <a:schemeClr val="tx1">
                  <a:alpha val="15000"/>
                </a:schemeClr>
              </a:gs>
            </a:gsLst>
            <a:lin ang="5400000" scaled="0"/>
          </a:gra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5343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9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0.png"/><Relationship Id="rId9" Type="http://schemas.openxmlformats.org/officeDocument/2006/relationships/image" Target="../media/image16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17.png"/><Relationship Id="rId4" Type="http://schemas.openxmlformats.org/officeDocument/2006/relationships/chart" Target="../charts/chart16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4.xml"/><Relationship Id="rId7" Type="http://schemas.openxmlformats.org/officeDocument/2006/relationships/image" Target="../media/image18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notesSlide" Target="../notesSlides/notesSlide7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9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8.png"/><Relationship Id="rId5" Type="http://schemas.openxmlformats.org/officeDocument/2006/relationships/notesSlide" Target="../notesSlides/notesSlide72.xml"/><Relationship Id="rId4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18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notesSlide" Target="../notesSlides/notesSlide7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.xml"/></Relationships>
</file>

<file path=ppt/slides/_rels/slide7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image" Target="../media/image19.png"/><Relationship Id="rId5" Type="http://schemas.openxmlformats.org/officeDocument/2006/relationships/tags" Target="../tags/tag17.xml"/><Relationship Id="rId10" Type="http://schemas.openxmlformats.org/officeDocument/2006/relationships/image" Target="../media/image18.png"/><Relationship Id="rId4" Type="http://schemas.openxmlformats.org/officeDocument/2006/relationships/tags" Target="../tags/tag16.xml"/><Relationship Id="rId9" Type="http://schemas.openxmlformats.org/officeDocument/2006/relationships/notesSlide" Target="../notesSlides/notesSlide74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707035" y="2142188"/>
            <a:ext cx="6077940" cy="1416050"/>
          </a:xfrm>
        </p:spPr>
        <p:txBody>
          <a:bodyPr/>
          <a:lstStyle/>
          <a:p>
            <a:r>
              <a:rPr lang="de-DE" sz="8000" b="1" dirty="0" smtClean="0">
                <a:solidFill>
                  <a:schemeClr val="tx1">
                    <a:lumMod val="50000"/>
                    <a:lumOff val="50000"/>
                  </a:schemeClr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Business</a:t>
            </a:r>
            <a:r>
              <a:rPr lang="de-DE" sz="6600" dirty="0">
                <a:solidFill>
                  <a:schemeClr val="tx1">
                    <a:lumMod val="50000"/>
                    <a:lumOff val="50000"/>
                  </a:schemeClr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/>
            </a:r>
            <a:br>
              <a:rPr lang="de-DE" sz="6600" dirty="0">
                <a:solidFill>
                  <a:schemeClr val="tx1">
                    <a:lumMod val="50000"/>
                    <a:lumOff val="50000"/>
                  </a:schemeClr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</a:br>
            <a:r>
              <a:rPr lang="de-DE" sz="6600" dirty="0" smtClean="0">
                <a:solidFill>
                  <a:schemeClr val="tx1">
                    <a:lumMod val="50000"/>
                    <a:lumOff val="50000"/>
                  </a:schemeClr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Starter Package</a:t>
            </a:r>
            <a:endParaRPr lang="de-DE" sz="6600" dirty="0">
              <a:solidFill>
                <a:schemeClr val="tx1">
                  <a:lumMod val="50000"/>
                  <a:lumOff val="50000"/>
                </a:schemeClr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927012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ntt Charts - 6 Months (10 rows + period)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de-DE" noProof="1"/>
              <a:t>Project plan</a:t>
            </a:r>
          </a:p>
        </p:txBody>
      </p:sp>
      <p:graphicFrame>
        <p:nvGraphicFramePr>
          <p:cNvPr id="39" name="Group 16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6689301"/>
              </p:ext>
            </p:extLst>
          </p:nvPr>
        </p:nvGraphicFramePr>
        <p:xfrm>
          <a:off x="323851" y="1555751"/>
          <a:ext cx="8496300" cy="3886202"/>
        </p:xfrm>
        <a:graphic>
          <a:graphicData uri="http://schemas.openxmlformats.org/drawingml/2006/table">
            <a:tbl>
              <a:tblPr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805364"/>
                <a:gridCol w="742734"/>
                <a:gridCol w="991367"/>
                <a:gridCol w="991367"/>
                <a:gridCol w="991367"/>
                <a:gridCol w="991367"/>
                <a:gridCol w="991367"/>
                <a:gridCol w="991367"/>
              </a:tblGrid>
              <a:tr h="36151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charset="0"/>
                        </a:rPr>
                        <a:t>Tasks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bg1">
                            <a:lumMod val="85000"/>
                          </a:schemeClr>
                        </a:gs>
                        <a:gs pos="100000">
                          <a:schemeClr val="bg1">
                            <a:lumMod val="50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Period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charset="0"/>
                        </a:rPr>
                        <a:t>Jan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bg1">
                            <a:lumMod val="85000"/>
                          </a:schemeClr>
                        </a:gs>
                        <a:gs pos="100000">
                          <a:schemeClr val="bg1">
                            <a:lumMod val="50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Feb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charset="0"/>
                        </a:rPr>
                        <a:t>Mar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bg1">
                            <a:lumMod val="85000"/>
                          </a:schemeClr>
                        </a:gs>
                        <a:gs pos="100000">
                          <a:schemeClr val="bg1">
                            <a:lumMod val="50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Apr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charset="0"/>
                        </a:rPr>
                        <a:t>May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bg1">
                            <a:lumMod val="85000"/>
                          </a:schemeClr>
                        </a:gs>
                        <a:gs pos="100000">
                          <a:schemeClr val="bg1">
                            <a:lumMod val="50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Jun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tcPr>
                </a:tc>
              </a:tr>
              <a:tr h="392163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Kick-off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x day</a:t>
                      </a:r>
                    </a:p>
                  </a:txBody>
                  <a:tcPr marL="36000" marR="72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</a:tr>
              <a:tr h="379410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Phase 1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xx days</a:t>
                      </a:r>
                    </a:p>
                  </a:txBody>
                  <a:tcPr marL="36000" marR="72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</a:tr>
              <a:tr h="357092">
                <a:tc>
                  <a:txBody>
                    <a:bodyPr/>
                    <a:lstStyle/>
                    <a:p>
                      <a:pPr marL="177800" marR="0" lvl="0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	Activity 1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xx days</a:t>
                      </a:r>
                    </a:p>
                  </a:txBody>
                  <a:tcPr marL="36000" marR="72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</a:tr>
              <a:tr h="360280">
                <a:tc>
                  <a:txBody>
                    <a:bodyPr/>
                    <a:lstStyle/>
                    <a:p>
                      <a:pPr marL="179388" marR="0" lvl="0" indent="-1793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	Activity 2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xx days</a:t>
                      </a:r>
                    </a:p>
                  </a:txBody>
                  <a:tcPr marL="36000" marR="72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</a:tr>
              <a:tr h="337962">
                <a:tc>
                  <a:txBody>
                    <a:bodyPr/>
                    <a:lstStyle/>
                    <a:p>
                      <a:pPr marL="179388" marR="0" lvl="0" indent="-1793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	Milestone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xx days</a:t>
                      </a:r>
                    </a:p>
                  </a:txBody>
                  <a:tcPr marL="36000" marR="72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</a:tr>
              <a:tr h="339557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Phase 2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xx days</a:t>
                      </a:r>
                    </a:p>
                  </a:txBody>
                  <a:tcPr marL="36000" marR="72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</a:tr>
              <a:tr h="339557">
                <a:tc>
                  <a:txBody>
                    <a:bodyPr/>
                    <a:lstStyle/>
                    <a:p>
                      <a:pPr marL="179388" marR="0" lvl="0" indent="-1793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	Activity 3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xx days</a:t>
                      </a:r>
                    </a:p>
                  </a:txBody>
                  <a:tcPr marL="36000" marR="72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</a:tr>
              <a:tr h="339557">
                <a:tc>
                  <a:txBody>
                    <a:bodyPr/>
                    <a:lstStyle/>
                    <a:p>
                      <a:pPr marL="179388" marR="0" lvl="0" indent="-1793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	Activity 4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xx days</a:t>
                      </a:r>
                    </a:p>
                  </a:txBody>
                  <a:tcPr marL="36000" marR="72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</a:tr>
              <a:tr h="339557">
                <a:tc>
                  <a:txBody>
                    <a:bodyPr/>
                    <a:lstStyle/>
                    <a:p>
                      <a:pPr marL="179388" marR="0" lvl="0" indent="-1793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	Activity 5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xx days</a:t>
                      </a:r>
                    </a:p>
                  </a:txBody>
                  <a:tcPr marL="36000" marR="72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</a:tr>
              <a:tr h="339557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Project conclusion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x day</a:t>
                      </a:r>
                    </a:p>
                  </a:txBody>
                  <a:tcPr marL="36000" marR="72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</a:tr>
            </a:tbl>
          </a:graphicData>
        </a:graphic>
      </p:graphicFrame>
      <p:sp>
        <p:nvSpPr>
          <p:cNvPr id="40" name="Text Box 120" descr="© INSCALE GmbH, 26.05.2010&#10;http://www.presentationload.com/"/>
          <p:cNvSpPr txBox="1">
            <a:spLocks noChangeArrowheads="1"/>
          </p:cNvSpPr>
          <p:nvPr/>
        </p:nvSpPr>
        <p:spPr bwMode="gray">
          <a:xfrm>
            <a:off x="4128300" y="2398485"/>
            <a:ext cx="57387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177800" indent="-177800" algn="ctr" defTabSz="801688">
              <a:spcBef>
                <a:spcPct val="20000"/>
              </a:spcBef>
            </a:pPr>
            <a:r>
              <a:rPr lang="en-GB" sz="1400" b="1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Phase 1</a:t>
            </a:r>
          </a:p>
        </p:txBody>
      </p:sp>
      <p:grpSp>
        <p:nvGrpSpPr>
          <p:cNvPr id="41" name="Gruppieren 40"/>
          <p:cNvGrpSpPr/>
          <p:nvPr/>
        </p:nvGrpSpPr>
        <p:grpSpPr>
          <a:xfrm>
            <a:off x="4900858" y="1916108"/>
            <a:ext cx="993285" cy="3919499"/>
            <a:chOff x="4900858" y="1916108"/>
            <a:chExt cx="993285" cy="3919499"/>
          </a:xfrm>
        </p:grpSpPr>
        <p:sp>
          <p:nvSpPr>
            <p:cNvPr id="42" name="Line 117" descr="© INSCALE GmbH, 26.05.2010&#10;http://www.presentationload.com/"/>
            <p:cNvSpPr>
              <a:spLocks noChangeShapeType="1"/>
            </p:cNvSpPr>
            <p:nvPr/>
          </p:nvSpPr>
          <p:spPr bwMode="gray">
            <a:xfrm flipH="1" flipV="1">
              <a:off x="5397500" y="1916108"/>
              <a:ext cx="0" cy="3688260"/>
            </a:xfrm>
            <a:prstGeom prst="line">
              <a:avLst/>
            </a:prstGeom>
            <a:noFill/>
            <a:ln w="19050">
              <a:solidFill>
                <a:srgbClr val="4D4D4D"/>
              </a:solidFill>
              <a:prstDash val="sysDot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43" name="Text Box 121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4900858" y="5650941"/>
              <a:ext cx="993285" cy="18466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marL="177800" indent="-177800" algn="ctr" defTabSz="801688">
                <a:spcBef>
                  <a:spcPct val="20000"/>
                </a:spcBef>
              </a:pPr>
              <a:r>
                <a:rPr lang="en-GB" sz="1200" b="1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15. March </a:t>
              </a:r>
              <a:r>
                <a:rPr lang="en-GB" sz="12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15</a:t>
              </a:r>
              <a:endParaRPr lang="en-GB" sz="1200" b="1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44" name="Text Box 122" descr="© INSCALE GmbH, 26.05.2010&#10;http://www.presentationload.com/"/>
          <p:cNvSpPr txBox="1">
            <a:spLocks noChangeArrowheads="1"/>
          </p:cNvSpPr>
          <p:nvPr/>
        </p:nvSpPr>
        <p:spPr bwMode="gray">
          <a:xfrm>
            <a:off x="6087275" y="3814535"/>
            <a:ext cx="57387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177800" indent="-177800" algn="ctr" defTabSz="801688">
              <a:spcBef>
                <a:spcPct val="20000"/>
              </a:spcBef>
            </a:pPr>
            <a:r>
              <a:rPr lang="en-GB" sz="1400" b="1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Phase 2</a:t>
            </a:r>
          </a:p>
        </p:txBody>
      </p:sp>
      <p:sp>
        <p:nvSpPr>
          <p:cNvPr id="45" name="_color1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3840163" y="3027363"/>
            <a:ext cx="1485900" cy="269875"/>
          </a:xfrm>
          <a:prstGeom prst="rect">
            <a:avLst/>
          </a:prstGeom>
          <a:solidFill>
            <a:srgbClr val="0070C0">
              <a:alpha val="75000"/>
            </a:srgb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tIns="0" rIns="0" bIns="0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chemeClr val="bg1"/>
              </a:solidFill>
            </a:endParaRPr>
          </a:p>
        </p:txBody>
      </p:sp>
      <p:sp>
        <p:nvSpPr>
          <p:cNvPr id="46" name="_color1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5453063" y="4035425"/>
            <a:ext cx="485775" cy="269875"/>
          </a:xfrm>
          <a:prstGeom prst="rect">
            <a:avLst/>
          </a:prstGeom>
          <a:solidFill>
            <a:schemeClr val="tx2">
              <a:lumMod val="60000"/>
              <a:lumOff val="40000"/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chemeClr val="bg1"/>
              </a:solidFill>
            </a:endParaRPr>
          </a:p>
        </p:txBody>
      </p:sp>
      <p:sp>
        <p:nvSpPr>
          <p:cNvPr id="47" name="_color1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5956300" y="4376738"/>
            <a:ext cx="1109663" cy="269875"/>
          </a:xfrm>
          <a:prstGeom prst="rect">
            <a:avLst/>
          </a:prstGeom>
          <a:solidFill>
            <a:schemeClr val="tx2">
              <a:lumMod val="60000"/>
              <a:lumOff val="40000"/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 algn="ctr">
              <a:spcBef>
                <a:spcPct val="50000"/>
              </a:spcBef>
            </a:pP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48" name="_color1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5956300" y="4737100"/>
            <a:ext cx="2152650" cy="269875"/>
          </a:xfrm>
          <a:prstGeom prst="rect">
            <a:avLst/>
          </a:prstGeom>
          <a:solidFill>
            <a:schemeClr val="tx2">
              <a:lumMod val="60000"/>
              <a:lumOff val="40000"/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chemeClr val="bg1"/>
              </a:solidFill>
            </a:endParaRPr>
          </a:p>
        </p:txBody>
      </p:sp>
      <p:sp>
        <p:nvSpPr>
          <p:cNvPr id="49" name="_color1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3516313" y="2667000"/>
            <a:ext cx="4592637" cy="269875"/>
          </a:xfrm>
          <a:prstGeom prst="rect">
            <a:avLst/>
          </a:prstGeom>
          <a:solidFill>
            <a:srgbClr val="0070C0">
              <a:alpha val="75000"/>
            </a:srgb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tIns="0" rIns="0" bIns="0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chemeClr val="bg1"/>
              </a:solidFill>
            </a:endParaRPr>
          </a:p>
        </p:txBody>
      </p:sp>
      <p:grpSp>
        <p:nvGrpSpPr>
          <p:cNvPr id="50" name="Gruppieren 49"/>
          <p:cNvGrpSpPr/>
          <p:nvPr/>
        </p:nvGrpSpPr>
        <p:grpSpPr>
          <a:xfrm>
            <a:off x="2873930" y="1916109"/>
            <a:ext cx="1248298" cy="4248789"/>
            <a:chOff x="2873930" y="1916109"/>
            <a:chExt cx="1248298" cy="4248789"/>
          </a:xfrm>
        </p:grpSpPr>
        <p:sp>
          <p:nvSpPr>
            <p:cNvPr id="51" name="_color1" descr="© INSCALE GmbH, 26.05.2010&#10;http://www.presentationload.com/"/>
            <p:cNvSpPr>
              <a:spLocks noChangeShapeType="1"/>
            </p:cNvSpPr>
            <p:nvPr/>
          </p:nvSpPr>
          <p:spPr bwMode="gray">
            <a:xfrm flipH="1" flipV="1">
              <a:off x="3506785" y="1916109"/>
              <a:ext cx="0" cy="3957591"/>
            </a:xfrm>
            <a:prstGeom prst="line">
              <a:avLst/>
            </a:prstGeom>
            <a:noFill/>
            <a:ln w="19050">
              <a:solidFill>
                <a:srgbClr val="92D050"/>
              </a:solidFill>
              <a:prstDash val="sysDot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grpSp>
          <p:nvGrpSpPr>
            <p:cNvPr id="52" name="Gruppieren 51"/>
            <p:cNvGrpSpPr/>
            <p:nvPr/>
          </p:nvGrpSpPr>
          <p:grpSpPr bwMode="gray">
            <a:xfrm>
              <a:off x="2873930" y="5766081"/>
              <a:ext cx="1248298" cy="398817"/>
              <a:chOff x="2873930" y="5576533"/>
              <a:chExt cx="1248298" cy="398817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3" name="Text Box 115" descr="© INSCALE GmbH, 26.05.2010&#10;http://www.presentationload.com/"/>
              <p:cNvSpPr txBox="1">
                <a:spLocks noChangeArrowheads="1"/>
              </p:cNvSpPr>
              <p:nvPr/>
            </p:nvSpPr>
            <p:spPr bwMode="gray">
              <a:xfrm>
                <a:off x="2873930" y="5697538"/>
                <a:ext cx="1248298" cy="277812"/>
              </a:xfrm>
              <a:prstGeom prst="rect">
                <a:avLst/>
              </a:prstGeom>
              <a:gradFill rotWithShape="1">
                <a:gsLst>
                  <a:gs pos="0">
                    <a:srgbClr val="F8F8F8"/>
                  </a:gs>
                  <a:gs pos="100000">
                    <a:srgbClr val="EAEAEA"/>
                  </a:gs>
                </a:gsLst>
                <a:lin ang="5400000" scaled="1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174625" indent="-174625" algn="ctr">
                  <a:spcBef>
                    <a:spcPct val="50000"/>
                  </a:spcBef>
                </a:pPr>
                <a:r>
                  <a:rPr lang="en-GB" sz="1200" b="1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20. January </a:t>
                </a:r>
                <a:r>
                  <a:rPr lang="en-GB" sz="1200" b="1" noProof="1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2015</a:t>
                </a:r>
                <a:endParaRPr lang="en-GB" sz="1200" b="1" noProof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54" name="_color1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353616" y="5576533"/>
                <a:ext cx="298450" cy="133350"/>
              </a:xfrm>
              <a:prstGeom prst="triangle">
                <a:avLst>
                  <a:gd name="adj" fmla="val 50000"/>
                </a:avLst>
              </a:prstGeom>
              <a:solidFill>
                <a:srgbClr val="92D050">
                  <a:alpha val="75000"/>
                </a:srgbClr>
              </a:solidFill>
              <a:ln w="12700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/>
              </a:p>
            </p:txBody>
          </p:sp>
        </p:grpSp>
      </p:grpSp>
      <p:grpSp>
        <p:nvGrpSpPr>
          <p:cNvPr id="55" name="Gruppieren 54"/>
          <p:cNvGrpSpPr/>
          <p:nvPr/>
        </p:nvGrpSpPr>
        <p:grpSpPr>
          <a:xfrm>
            <a:off x="7495551" y="1916110"/>
            <a:ext cx="1249200" cy="4258001"/>
            <a:chOff x="7495551" y="1916110"/>
            <a:chExt cx="1249200" cy="4258001"/>
          </a:xfrm>
        </p:grpSpPr>
        <p:sp>
          <p:nvSpPr>
            <p:cNvPr id="56" name="_color1" descr="© INSCALE GmbH, 26.05.2010&#10;http://www.presentationload.com/"/>
            <p:cNvSpPr>
              <a:spLocks noChangeShapeType="1"/>
            </p:cNvSpPr>
            <p:nvPr/>
          </p:nvSpPr>
          <p:spPr bwMode="gray">
            <a:xfrm flipH="1" flipV="1">
              <a:off x="8120062" y="1916110"/>
              <a:ext cx="1417" cy="3981775"/>
            </a:xfrm>
            <a:prstGeom prst="line">
              <a:avLst/>
            </a:prstGeom>
            <a:noFill/>
            <a:ln w="19050">
              <a:solidFill>
                <a:schemeClr val="accent1">
                  <a:lumMod val="50000"/>
                </a:schemeClr>
              </a:solidFill>
              <a:prstDash val="sysDot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grpSp>
          <p:nvGrpSpPr>
            <p:cNvPr id="57" name="Gruppieren 56"/>
            <p:cNvGrpSpPr/>
            <p:nvPr/>
          </p:nvGrpSpPr>
          <p:grpSpPr bwMode="gray">
            <a:xfrm>
              <a:off x="7495551" y="5775294"/>
              <a:ext cx="1249200" cy="398817"/>
              <a:chOff x="7504097" y="5576533"/>
              <a:chExt cx="1249200" cy="398817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8" name="Text Box 118" descr="© INSCALE GmbH, 26.05.2010&#10;http://www.presentationload.com/"/>
              <p:cNvSpPr txBox="1">
                <a:spLocks noChangeArrowheads="1"/>
              </p:cNvSpPr>
              <p:nvPr/>
            </p:nvSpPr>
            <p:spPr bwMode="gray">
              <a:xfrm>
                <a:off x="7504097" y="5697538"/>
                <a:ext cx="1249200" cy="277812"/>
              </a:xfrm>
              <a:prstGeom prst="rect">
                <a:avLst/>
              </a:prstGeom>
              <a:gradFill rotWithShape="1">
                <a:gsLst>
                  <a:gs pos="0">
                    <a:srgbClr val="F8F8F8"/>
                  </a:gs>
                  <a:gs pos="100000">
                    <a:srgbClr val="EAEAEA"/>
                  </a:gs>
                </a:gsLst>
                <a:lin ang="5400000" scaled="1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174625" indent="-174625" algn="ctr">
                  <a:spcBef>
                    <a:spcPct val="50000"/>
                  </a:spcBef>
                </a:pPr>
                <a:r>
                  <a:rPr lang="en-GB" sz="1200" b="1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10. June </a:t>
                </a:r>
                <a:r>
                  <a:rPr lang="en-GB" sz="1200" b="1" noProof="1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2015</a:t>
                </a:r>
                <a:endParaRPr lang="en-GB" sz="1200" b="1" noProof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60" name="_color1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7970838" y="5576533"/>
                <a:ext cx="298450" cy="133350"/>
              </a:xfrm>
              <a:prstGeom prst="triangle">
                <a:avLst>
                  <a:gd name="adj" fmla="val 50000"/>
                </a:avLst>
              </a:prstGeom>
              <a:solidFill>
                <a:schemeClr val="accent1">
                  <a:lumMod val="50000"/>
                  <a:alpha val="75000"/>
                </a:schemeClr>
              </a:solidFill>
              <a:ln w="12700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/>
              </a:p>
            </p:txBody>
          </p:sp>
        </p:grpSp>
      </p:grpSp>
      <p:sp>
        <p:nvSpPr>
          <p:cNvPr id="61" name="_color1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5278438" y="3379788"/>
            <a:ext cx="230187" cy="230188"/>
          </a:xfrm>
          <a:prstGeom prst="diamond">
            <a:avLst/>
          </a:prstGeom>
          <a:solidFill>
            <a:srgbClr val="FFC000">
              <a:alpha val="75000"/>
            </a:srgb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chemeClr val="bg1"/>
              </a:solidFill>
            </a:endParaRPr>
          </a:p>
        </p:txBody>
      </p:sp>
      <p:sp>
        <p:nvSpPr>
          <p:cNvPr id="62" name="_color1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8006387" y="5076825"/>
            <a:ext cx="230187" cy="230187"/>
          </a:xfrm>
          <a:prstGeom prst="diamond">
            <a:avLst/>
          </a:prstGeom>
          <a:solidFill>
            <a:srgbClr val="FFC000">
              <a:alpha val="75000"/>
            </a:srgb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chemeClr val="bg1"/>
              </a:solidFill>
            </a:endParaRPr>
          </a:p>
        </p:txBody>
      </p:sp>
      <p:grpSp>
        <p:nvGrpSpPr>
          <p:cNvPr id="64" name="Gruppieren 63"/>
          <p:cNvGrpSpPr/>
          <p:nvPr/>
        </p:nvGrpSpPr>
        <p:grpSpPr>
          <a:xfrm>
            <a:off x="429337" y="5699125"/>
            <a:ext cx="1197855" cy="466560"/>
            <a:chOff x="504643" y="5699125"/>
            <a:chExt cx="1197855" cy="466560"/>
          </a:xfrm>
        </p:grpSpPr>
        <p:sp>
          <p:nvSpPr>
            <p:cNvPr id="65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504643" y="5985685"/>
              <a:ext cx="180000" cy="180000"/>
            </a:xfrm>
            <a:prstGeom prst="roundRect">
              <a:avLst/>
            </a:prstGeom>
            <a:solidFill>
              <a:schemeClr val="tx2">
                <a:lumMod val="60000"/>
                <a:lumOff val="40000"/>
                <a:alpha val="75000"/>
              </a:schemeClr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wrap="none" anchor="ctr"/>
            <a:lstStyle/>
            <a:p>
              <a:pPr marL="174625" indent="-174625" algn="ctr">
                <a:spcBef>
                  <a:spcPct val="50000"/>
                </a:spcBef>
              </a:pPr>
              <a:endParaRPr lang="de-DE" sz="1400">
                <a:solidFill>
                  <a:schemeClr val="bg1"/>
                </a:solidFill>
              </a:endParaRPr>
            </a:p>
          </p:txBody>
        </p:sp>
        <p:sp>
          <p:nvSpPr>
            <p:cNvPr id="66" name="Text Box 184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800007" y="5719813"/>
              <a:ext cx="902491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GB" sz="1000" noProof="1"/>
                <a:t> Activity bundle 1</a:t>
              </a:r>
            </a:p>
          </p:txBody>
        </p:sp>
        <p:sp>
          <p:nvSpPr>
            <p:cNvPr id="68" name="Text Box 185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800007" y="6008267"/>
              <a:ext cx="902491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GB" sz="1000" noProof="1"/>
                <a:t> Activity bundle 2</a:t>
              </a:r>
            </a:p>
          </p:txBody>
        </p:sp>
        <p:sp>
          <p:nvSpPr>
            <p:cNvPr id="69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504643" y="5699125"/>
              <a:ext cx="180000" cy="180000"/>
            </a:xfrm>
            <a:prstGeom prst="roundRect">
              <a:avLst/>
            </a:prstGeom>
            <a:solidFill>
              <a:srgbClr val="0070C0">
                <a:alpha val="75000"/>
              </a:srgbClr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wrap="none" tIns="0" rIns="0" bIns="0" anchor="ctr"/>
            <a:lstStyle/>
            <a:p>
              <a:pPr marL="174625" indent="-174625" algn="ctr">
                <a:spcBef>
                  <a:spcPct val="50000"/>
                </a:spcBef>
              </a:pPr>
              <a:endParaRPr lang="de-DE" sz="14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9325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1"/>
              <a:t>Gantt Charts - 6 Months (15 rows)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de-DE" noProof="1"/>
              <a:t>Media plan</a:t>
            </a:r>
          </a:p>
        </p:txBody>
      </p:sp>
      <p:graphicFrame>
        <p:nvGraphicFramePr>
          <p:cNvPr id="15" name="Group 20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7520422"/>
              </p:ext>
            </p:extLst>
          </p:nvPr>
        </p:nvGraphicFramePr>
        <p:xfrm>
          <a:off x="323851" y="1555748"/>
          <a:ext cx="8496300" cy="3886202"/>
        </p:xfrm>
        <a:graphic>
          <a:graphicData uri="http://schemas.openxmlformats.org/drawingml/2006/table">
            <a:tbl>
              <a:tblPr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2548098"/>
                <a:gridCol w="991367"/>
                <a:gridCol w="991367"/>
                <a:gridCol w="991367"/>
                <a:gridCol w="991367"/>
                <a:gridCol w="991367"/>
                <a:gridCol w="991367"/>
              </a:tblGrid>
              <a:tr h="36210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charset="0"/>
                        </a:rPr>
                        <a:t>Tasks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bg1">
                            <a:lumMod val="85000"/>
                          </a:schemeClr>
                        </a:gs>
                        <a:gs pos="100000">
                          <a:schemeClr val="bg1">
                            <a:lumMod val="50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Jan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charset="0"/>
                        </a:rPr>
                        <a:t>Feb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bg1">
                            <a:lumMod val="85000"/>
                          </a:schemeClr>
                        </a:gs>
                        <a:gs pos="100000">
                          <a:schemeClr val="bg1">
                            <a:lumMod val="50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Mar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charset="0"/>
                        </a:rPr>
                        <a:t>Apr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bg1">
                            <a:lumMod val="85000"/>
                          </a:schemeClr>
                        </a:gs>
                        <a:gs pos="100000">
                          <a:schemeClr val="bg1">
                            <a:lumMod val="50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May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charset="0"/>
                        </a:rPr>
                        <a:t>Jun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bg1">
                            <a:lumMod val="85000"/>
                          </a:schemeClr>
                        </a:gs>
                        <a:gs pos="100000">
                          <a:schemeClr val="bg1">
                            <a:lumMod val="50000"/>
                          </a:schemeClr>
                        </a:gs>
                      </a:gsLst>
                      <a:lin ang="5400000" scaled="1"/>
                    </a:gradFill>
                  </a:tcPr>
                </a:tc>
              </a:tr>
              <a:tr h="234727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Placeholder description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34727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Placeholder task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34727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Placeholder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34727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Placeholder task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36323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Placeholder description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34727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Placeholder task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34727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Placeholder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36323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Placeholder task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34727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Placeholder description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34727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Placeholder task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34727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Placeholder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34727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Placeholder task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34727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Placeholder description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34727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Placeholder task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34727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Placeholder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6" name="_color1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2865438" y="1947863"/>
            <a:ext cx="1490662" cy="179387"/>
          </a:xfrm>
          <a:prstGeom prst="rect">
            <a:avLst/>
          </a:prstGeom>
          <a:solidFill>
            <a:srgbClr val="0070C0">
              <a:alpha val="75000"/>
            </a:srgb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tIns="0" rIns="0" bIns="0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chemeClr val="bg1"/>
              </a:solidFill>
            </a:endParaRPr>
          </a:p>
        </p:txBody>
      </p:sp>
      <p:sp>
        <p:nvSpPr>
          <p:cNvPr id="17" name="Rectangle 156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5846763" y="3588544"/>
            <a:ext cx="1987550" cy="179387"/>
          </a:xfrm>
          <a:prstGeom prst="rect">
            <a:avLst/>
          </a:prstGeom>
          <a:solidFill>
            <a:schemeClr val="bg1">
              <a:lumMod val="75000"/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tIns="0" rIns="0" bIns="0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rgbClr val="000000"/>
              </a:solidFill>
            </a:endParaRPr>
          </a:p>
        </p:txBody>
      </p:sp>
      <p:sp>
        <p:nvSpPr>
          <p:cNvPr id="18" name="Rectangle 157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6343650" y="3822927"/>
            <a:ext cx="1490663" cy="179387"/>
          </a:xfrm>
          <a:prstGeom prst="rect">
            <a:avLst/>
          </a:prstGeom>
          <a:solidFill>
            <a:schemeClr val="tx1">
              <a:lumMod val="50000"/>
              <a:lumOff val="50000"/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tIns="0" rIns="0" bIns="0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rgbClr val="000000"/>
              </a:solidFill>
            </a:endParaRPr>
          </a:p>
        </p:txBody>
      </p:sp>
      <p:sp>
        <p:nvSpPr>
          <p:cNvPr id="19" name="_color1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3584575" y="4057310"/>
            <a:ext cx="1268413" cy="179387"/>
          </a:xfrm>
          <a:prstGeom prst="rect">
            <a:avLst/>
          </a:prstGeom>
          <a:solidFill>
            <a:schemeClr val="tx2">
              <a:lumMod val="60000"/>
              <a:lumOff val="40000"/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chemeClr val="bg1"/>
              </a:solidFill>
            </a:endParaRPr>
          </a:p>
        </p:txBody>
      </p:sp>
      <p:sp>
        <p:nvSpPr>
          <p:cNvPr id="20" name="_color1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2865438" y="4291693"/>
            <a:ext cx="1987550" cy="179387"/>
          </a:xfrm>
          <a:prstGeom prst="rect">
            <a:avLst/>
          </a:prstGeom>
          <a:solidFill>
            <a:srgbClr val="0070C0">
              <a:alpha val="75000"/>
            </a:srgb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tIns="0" rIns="0" bIns="0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chemeClr val="bg1"/>
              </a:solidFill>
            </a:endParaRPr>
          </a:p>
        </p:txBody>
      </p:sp>
      <p:sp>
        <p:nvSpPr>
          <p:cNvPr id="21" name="Rectangle 160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7834313" y="4526076"/>
            <a:ext cx="993775" cy="179387"/>
          </a:xfrm>
          <a:prstGeom prst="rect">
            <a:avLst/>
          </a:prstGeom>
          <a:solidFill>
            <a:schemeClr val="tx1">
              <a:lumMod val="50000"/>
              <a:lumOff val="50000"/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tIns="0" rIns="0" bIns="0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rgbClr val="000000"/>
              </a:solidFill>
            </a:endParaRPr>
          </a:p>
        </p:txBody>
      </p:sp>
      <p:sp>
        <p:nvSpPr>
          <p:cNvPr id="22" name="_color1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5349875" y="4760459"/>
            <a:ext cx="1987550" cy="179387"/>
          </a:xfrm>
          <a:prstGeom prst="rect">
            <a:avLst/>
          </a:prstGeom>
          <a:solidFill>
            <a:srgbClr val="0070C0">
              <a:alpha val="75000"/>
            </a:srgb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tIns="0" rIns="0" bIns="0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chemeClr val="bg1"/>
              </a:solidFill>
            </a:endParaRPr>
          </a:p>
        </p:txBody>
      </p:sp>
      <p:sp>
        <p:nvSpPr>
          <p:cNvPr id="23" name="_color1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4356100" y="4994842"/>
            <a:ext cx="993775" cy="179387"/>
          </a:xfrm>
          <a:prstGeom prst="rect">
            <a:avLst/>
          </a:prstGeom>
          <a:solidFill>
            <a:schemeClr val="tx2">
              <a:lumMod val="60000"/>
              <a:lumOff val="40000"/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chemeClr val="bg1"/>
              </a:solidFill>
            </a:endParaRPr>
          </a:p>
        </p:txBody>
      </p:sp>
      <p:sp>
        <p:nvSpPr>
          <p:cNvPr id="24" name="Rectangle 163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5846763" y="5229225"/>
            <a:ext cx="2973387" cy="179388"/>
          </a:xfrm>
          <a:prstGeom prst="rect">
            <a:avLst/>
          </a:prstGeom>
          <a:solidFill>
            <a:schemeClr val="bg1">
              <a:lumMod val="75000"/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tIns="0" rIns="0" bIns="0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rgbClr val="000000"/>
              </a:solidFill>
            </a:endParaRPr>
          </a:p>
        </p:txBody>
      </p:sp>
      <p:sp>
        <p:nvSpPr>
          <p:cNvPr id="25" name="_color1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4356100" y="2182246"/>
            <a:ext cx="993775" cy="179387"/>
          </a:xfrm>
          <a:prstGeom prst="rect">
            <a:avLst/>
          </a:prstGeom>
          <a:solidFill>
            <a:schemeClr val="tx2">
              <a:lumMod val="60000"/>
              <a:lumOff val="40000"/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chemeClr val="bg1"/>
              </a:solidFill>
            </a:endParaRPr>
          </a:p>
        </p:txBody>
      </p:sp>
      <p:sp>
        <p:nvSpPr>
          <p:cNvPr id="26" name="_color1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7834313" y="2416629"/>
            <a:ext cx="985837" cy="179387"/>
          </a:xfrm>
          <a:prstGeom prst="rect">
            <a:avLst/>
          </a:prstGeom>
          <a:solidFill>
            <a:schemeClr val="tx2">
              <a:lumMod val="60000"/>
              <a:lumOff val="40000"/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chemeClr val="bg1"/>
              </a:solidFill>
            </a:endParaRPr>
          </a:p>
        </p:txBody>
      </p:sp>
      <p:sp>
        <p:nvSpPr>
          <p:cNvPr id="27" name="Rectangle 166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4852988" y="2651012"/>
            <a:ext cx="1987550" cy="179387"/>
          </a:xfrm>
          <a:prstGeom prst="rect">
            <a:avLst/>
          </a:prstGeom>
          <a:solidFill>
            <a:schemeClr val="bg1">
              <a:lumMod val="75000"/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tIns="0" rIns="0" bIns="0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rgbClr val="000000"/>
              </a:solidFill>
            </a:endParaRPr>
          </a:p>
        </p:txBody>
      </p:sp>
      <p:sp>
        <p:nvSpPr>
          <p:cNvPr id="28" name="_color1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6343650" y="2885395"/>
            <a:ext cx="993775" cy="179387"/>
          </a:xfrm>
          <a:prstGeom prst="rect">
            <a:avLst/>
          </a:prstGeom>
          <a:solidFill>
            <a:schemeClr val="tx2">
              <a:lumMod val="60000"/>
              <a:lumOff val="40000"/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chemeClr val="bg1"/>
              </a:solidFill>
            </a:endParaRPr>
          </a:p>
        </p:txBody>
      </p:sp>
      <p:sp>
        <p:nvSpPr>
          <p:cNvPr id="29" name="_color1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4852988" y="3119778"/>
            <a:ext cx="993775" cy="179387"/>
          </a:xfrm>
          <a:prstGeom prst="rect">
            <a:avLst/>
          </a:prstGeom>
          <a:solidFill>
            <a:schemeClr val="tx2">
              <a:lumMod val="60000"/>
              <a:lumOff val="40000"/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chemeClr val="bg1"/>
              </a:solidFill>
            </a:endParaRPr>
          </a:p>
        </p:txBody>
      </p:sp>
      <p:sp>
        <p:nvSpPr>
          <p:cNvPr id="30" name="_color1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3362325" y="3354161"/>
            <a:ext cx="993775" cy="179387"/>
          </a:xfrm>
          <a:prstGeom prst="rect">
            <a:avLst/>
          </a:prstGeom>
          <a:solidFill>
            <a:srgbClr val="0070C0">
              <a:alpha val="75000"/>
            </a:srgb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tIns="0" rIns="0" bIns="0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chemeClr val="bg1"/>
              </a:solidFill>
            </a:endParaRPr>
          </a:p>
        </p:txBody>
      </p:sp>
      <p:sp>
        <p:nvSpPr>
          <p:cNvPr id="31" name="_color1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6343650" y="1947863"/>
            <a:ext cx="1490663" cy="179387"/>
          </a:xfrm>
          <a:prstGeom prst="rect">
            <a:avLst/>
          </a:prstGeom>
          <a:solidFill>
            <a:srgbClr val="0070C0">
              <a:alpha val="75000"/>
            </a:srgb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tIns="0" rIns="0" bIns="0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chemeClr val="bg1"/>
              </a:solidFill>
            </a:endParaRPr>
          </a:p>
        </p:txBody>
      </p:sp>
      <p:sp>
        <p:nvSpPr>
          <p:cNvPr id="32" name="_color1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5572125" y="4057310"/>
            <a:ext cx="1268413" cy="179387"/>
          </a:xfrm>
          <a:prstGeom prst="rect">
            <a:avLst/>
          </a:prstGeom>
          <a:solidFill>
            <a:schemeClr val="tx2">
              <a:lumMod val="60000"/>
              <a:lumOff val="40000"/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chemeClr val="bg1"/>
              </a:solidFill>
            </a:endParaRPr>
          </a:p>
        </p:txBody>
      </p:sp>
      <p:sp>
        <p:nvSpPr>
          <p:cNvPr id="33" name="_color1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7218363" y="4057310"/>
            <a:ext cx="1268412" cy="179387"/>
          </a:xfrm>
          <a:prstGeom prst="rect">
            <a:avLst/>
          </a:prstGeom>
          <a:solidFill>
            <a:srgbClr val="0070C0">
              <a:alpha val="75000"/>
            </a:srgb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tIns="0" rIns="0" bIns="0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chemeClr val="bg1"/>
              </a:solidFill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429337" y="5699125"/>
            <a:ext cx="2615756" cy="466560"/>
            <a:chOff x="429337" y="5699125"/>
            <a:chExt cx="2615756" cy="466560"/>
          </a:xfrm>
        </p:grpSpPr>
        <p:sp>
          <p:nvSpPr>
            <p:cNvPr id="47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429337" y="5985685"/>
              <a:ext cx="180000" cy="180000"/>
            </a:xfrm>
            <a:prstGeom prst="roundRect">
              <a:avLst/>
            </a:prstGeom>
            <a:solidFill>
              <a:schemeClr val="tx2">
                <a:lumMod val="60000"/>
                <a:lumOff val="40000"/>
                <a:alpha val="75000"/>
              </a:schemeClr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wrap="none" anchor="ctr"/>
            <a:lstStyle/>
            <a:p>
              <a:pPr marL="174625" indent="-174625" algn="ctr">
                <a:spcBef>
                  <a:spcPct val="50000"/>
                </a:spcBef>
              </a:pPr>
              <a:endParaRPr lang="de-DE" sz="1400">
                <a:solidFill>
                  <a:schemeClr val="bg1"/>
                </a:solidFill>
              </a:endParaRPr>
            </a:p>
          </p:txBody>
        </p:sp>
        <p:sp>
          <p:nvSpPr>
            <p:cNvPr id="48" name="Text Box 184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724701" y="5719813"/>
              <a:ext cx="929742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GB" sz="1000" noProof="1"/>
                <a:t> </a:t>
              </a:r>
              <a:r>
                <a:rPr lang="de-DE" sz="1000" dirty="0"/>
                <a:t>N</a:t>
              </a:r>
              <a:r>
                <a:rPr lang="de-DE" sz="1000" noProof="1"/>
                <a:t>ame, first name</a:t>
              </a:r>
            </a:p>
          </p:txBody>
        </p:sp>
        <p:sp>
          <p:nvSpPr>
            <p:cNvPr id="49" name="Text Box 185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724701" y="6008267"/>
              <a:ext cx="929742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GB" sz="1000" noProof="1"/>
                <a:t> </a:t>
              </a:r>
              <a:r>
                <a:rPr lang="de-DE" sz="1000" dirty="0"/>
                <a:t>N</a:t>
              </a:r>
              <a:r>
                <a:rPr lang="de-DE" sz="1000" noProof="1"/>
                <a:t>ame, first name</a:t>
              </a:r>
            </a:p>
          </p:txBody>
        </p:sp>
        <p:sp>
          <p:nvSpPr>
            <p:cNvPr id="50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429337" y="5699125"/>
              <a:ext cx="180000" cy="180000"/>
            </a:xfrm>
            <a:prstGeom prst="roundRect">
              <a:avLst/>
            </a:prstGeom>
            <a:solidFill>
              <a:srgbClr val="0070C0">
                <a:alpha val="75000"/>
              </a:srgbClr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wrap="none" tIns="0" rIns="0" bIns="0" anchor="ctr"/>
            <a:lstStyle/>
            <a:p>
              <a:pPr marL="174625" indent="-174625" algn="ctr">
                <a:spcBef>
                  <a:spcPct val="50000"/>
                </a:spcBef>
              </a:pPr>
              <a:endParaRPr lang="de-DE" sz="1400">
                <a:solidFill>
                  <a:schemeClr val="bg1"/>
                </a:solidFill>
              </a:endParaRPr>
            </a:p>
          </p:txBody>
        </p:sp>
        <p:sp>
          <p:nvSpPr>
            <p:cNvPr id="52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819987" y="5985685"/>
              <a:ext cx="180000" cy="180000"/>
            </a:xfrm>
            <a:prstGeom prst="roundRect">
              <a:avLst/>
            </a:prstGeom>
            <a:solidFill>
              <a:schemeClr val="bg1">
                <a:lumMod val="75000"/>
                <a:alpha val="75000"/>
              </a:schemeClr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wrap="none" anchor="ctr"/>
            <a:lstStyle/>
            <a:p>
              <a:pPr marL="174625" indent="-174625" algn="ctr">
                <a:spcBef>
                  <a:spcPct val="50000"/>
                </a:spcBef>
              </a:pPr>
              <a:endParaRPr lang="de-DE" sz="1400">
                <a:solidFill>
                  <a:schemeClr val="bg1"/>
                </a:solidFill>
              </a:endParaRPr>
            </a:p>
          </p:txBody>
        </p:sp>
        <p:sp>
          <p:nvSpPr>
            <p:cNvPr id="53" name="Text Box 184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2115351" y="5719813"/>
              <a:ext cx="929742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GB" sz="1000" noProof="1"/>
                <a:t> </a:t>
              </a:r>
              <a:r>
                <a:rPr lang="de-DE" sz="1000" dirty="0"/>
                <a:t>N</a:t>
              </a:r>
              <a:r>
                <a:rPr lang="de-DE" sz="1000" noProof="1"/>
                <a:t>ame, first name</a:t>
              </a:r>
            </a:p>
          </p:txBody>
        </p:sp>
        <p:sp>
          <p:nvSpPr>
            <p:cNvPr id="54" name="Text Box 185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2115351" y="6008267"/>
              <a:ext cx="929742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GB" sz="1000" noProof="1"/>
                <a:t> </a:t>
              </a:r>
              <a:r>
                <a:rPr lang="de-DE" sz="1000" dirty="0"/>
                <a:t>N</a:t>
              </a:r>
              <a:r>
                <a:rPr lang="de-DE" sz="1000" noProof="1"/>
                <a:t>ame, first name</a:t>
              </a:r>
            </a:p>
          </p:txBody>
        </p:sp>
        <p:sp>
          <p:nvSpPr>
            <p:cNvPr id="55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819987" y="5699125"/>
              <a:ext cx="180000" cy="180000"/>
            </a:xfrm>
            <a:prstGeom prst="roundRect">
              <a:avLst/>
            </a:prstGeom>
            <a:solidFill>
              <a:schemeClr val="bg1">
                <a:lumMod val="50000"/>
                <a:alpha val="75000"/>
              </a:schemeClr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wrap="none" tIns="0" rIns="0" bIns="0" anchor="ctr"/>
            <a:lstStyle/>
            <a:p>
              <a:pPr marL="174625" indent="-174625" algn="ctr">
                <a:spcBef>
                  <a:spcPct val="50000"/>
                </a:spcBef>
              </a:pPr>
              <a:endParaRPr lang="de-DE" sz="14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43093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Gantt Charts - 6 Months (15 rows + period)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de-DE" noProof="1"/>
              <a:t>Media plan</a:t>
            </a:r>
          </a:p>
        </p:txBody>
      </p:sp>
      <p:graphicFrame>
        <p:nvGraphicFramePr>
          <p:cNvPr id="15" name="Group 2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049811"/>
              </p:ext>
            </p:extLst>
          </p:nvPr>
        </p:nvGraphicFramePr>
        <p:xfrm>
          <a:off x="323851" y="1555744"/>
          <a:ext cx="8496300" cy="3890607"/>
        </p:xfrm>
        <a:graphic>
          <a:graphicData uri="http://schemas.openxmlformats.org/drawingml/2006/table">
            <a:tbl>
              <a:tblPr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805364"/>
                <a:gridCol w="742734"/>
                <a:gridCol w="991367"/>
                <a:gridCol w="991367"/>
                <a:gridCol w="991367"/>
                <a:gridCol w="991367"/>
                <a:gridCol w="991367"/>
                <a:gridCol w="991367"/>
              </a:tblGrid>
              <a:tr h="3608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charset="0"/>
                        </a:rPr>
                        <a:t>Tasks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bg1">
                            <a:lumMod val="85000"/>
                          </a:schemeClr>
                        </a:gs>
                        <a:gs pos="100000">
                          <a:schemeClr val="bg1">
                            <a:lumMod val="50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Period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charset="0"/>
                        </a:rPr>
                        <a:t>Jan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bg1">
                            <a:lumMod val="85000"/>
                          </a:schemeClr>
                        </a:gs>
                        <a:gs pos="100000">
                          <a:schemeClr val="bg1">
                            <a:lumMod val="50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Feb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charset="0"/>
                        </a:rPr>
                        <a:t>Mar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bg1">
                            <a:lumMod val="85000"/>
                          </a:schemeClr>
                        </a:gs>
                        <a:gs pos="100000">
                          <a:schemeClr val="bg1">
                            <a:lumMod val="50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Apr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charset="0"/>
                        </a:rPr>
                        <a:t>May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bg1">
                            <a:lumMod val="85000"/>
                          </a:schemeClr>
                        </a:gs>
                        <a:gs pos="100000">
                          <a:schemeClr val="bg1">
                            <a:lumMod val="50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Jun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tcPr>
                </a:tc>
              </a:tr>
              <a:tr h="235527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Kick-off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x day</a:t>
                      </a:r>
                    </a:p>
                  </a:txBody>
                  <a:tcPr marL="36000" marR="72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</a:tr>
              <a:tr h="233936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Phase 1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xx days</a:t>
                      </a:r>
                    </a:p>
                  </a:txBody>
                  <a:tcPr marL="36000" marR="72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</a:tr>
              <a:tr h="235527">
                <a:tc>
                  <a:txBody>
                    <a:bodyPr/>
                    <a:lstStyle/>
                    <a:p>
                      <a:pPr marL="177800" marR="0" lvl="0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	Activity 1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xx days</a:t>
                      </a:r>
                    </a:p>
                  </a:txBody>
                  <a:tcPr marL="36000" marR="72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</a:tr>
              <a:tr h="235527">
                <a:tc>
                  <a:txBody>
                    <a:bodyPr/>
                    <a:lstStyle/>
                    <a:p>
                      <a:pPr marL="179388" marR="0" lvl="0" indent="-1793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	Activity 2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xx days</a:t>
                      </a:r>
                    </a:p>
                  </a:txBody>
                  <a:tcPr marL="36000" marR="72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</a:tr>
              <a:tr h="235527">
                <a:tc>
                  <a:txBody>
                    <a:bodyPr/>
                    <a:lstStyle/>
                    <a:p>
                      <a:pPr marL="179388" marR="0" lvl="0" indent="-1793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	Milestone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x day</a:t>
                      </a:r>
                    </a:p>
                  </a:txBody>
                  <a:tcPr marL="36000" marR="72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</a:tr>
              <a:tr h="235527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Phase 2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xx days</a:t>
                      </a:r>
                    </a:p>
                  </a:txBody>
                  <a:tcPr marL="36000" marR="72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</a:tr>
              <a:tr h="235527">
                <a:tc>
                  <a:txBody>
                    <a:bodyPr/>
                    <a:lstStyle/>
                    <a:p>
                      <a:pPr marL="179388" marR="0" lvl="0" indent="-1793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	Activity 3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xx days</a:t>
                      </a:r>
                    </a:p>
                  </a:txBody>
                  <a:tcPr marL="36000" marR="72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</a:tr>
              <a:tr h="235527">
                <a:tc>
                  <a:txBody>
                    <a:bodyPr/>
                    <a:lstStyle/>
                    <a:p>
                      <a:pPr marL="179388" marR="0" lvl="0" indent="-1793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	Activity 4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xx days</a:t>
                      </a:r>
                    </a:p>
                  </a:txBody>
                  <a:tcPr marL="36000" marR="72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</a:tr>
              <a:tr h="235527">
                <a:tc>
                  <a:txBody>
                    <a:bodyPr/>
                    <a:lstStyle/>
                    <a:p>
                      <a:pPr marL="179388" marR="0" lvl="0" indent="-1793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	Activity 5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xx days</a:t>
                      </a:r>
                    </a:p>
                  </a:txBody>
                  <a:tcPr marL="36000" marR="72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</a:tr>
              <a:tr h="235527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Phase 3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xx days</a:t>
                      </a:r>
                    </a:p>
                  </a:txBody>
                  <a:tcPr marL="36000" marR="72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</a:tr>
              <a:tr h="233936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	Activity 6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xx days</a:t>
                      </a:r>
                    </a:p>
                  </a:txBody>
                  <a:tcPr marL="36000" marR="72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</a:tr>
              <a:tr h="235527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	Activity 7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xx days</a:t>
                      </a:r>
                    </a:p>
                  </a:txBody>
                  <a:tcPr marL="36000" marR="72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</a:tr>
              <a:tr h="235527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	Activity 8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xx days</a:t>
                      </a:r>
                    </a:p>
                  </a:txBody>
                  <a:tcPr marL="36000" marR="72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</a:tr>
              <a:tr h="235527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	Activity 9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xx days</a:t>
                      </a:r>
                    </a:p>
                  </a:txBody>
                  <a:tcPr marL="36000" marR="72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</a:tr>
              <a:tr h="235527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Project conclusion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x day</a:t>
                      </a:r>
                    </a:p>
                  </a:txBody>
                  <a:tcPr marL="36000" marR="72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</a:tr>
            </a:tbl>
          </a:graphicData>
        </a:graphic>
      </p:graphicFrame>
      <p:sp>
        <p:nvSpPr>
          <p:cNvPr id="16" name="Text Box 163"/>
          <p:cNvSpPr txBox="1">
            <a:spLocks noChangeArrowheads="1"/>
          </p:cNvSpPr>
          <p:nvPr/>
        </p:nvSpPr>
        <p:spPr bwMode="gray">
          <a:xfrm>
            <a:off x="4116718" y="2151402"/>
            <a:ext cx="57387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177800" indent="-177800" algn="ctr" defTabSz="801688">
              <a:spcBef>
                <a:spcPct val="20000"/>
              </a:spcBef>
            </a:pPr>
            <a:r>
              <a:rPr lang="en-GB" sz="1400" b="1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Phase 1</a:t>
            </a:r>
          </a:p>
        </p:txBody>
      </p:sp>
      <p:sp>
        <p:nvSpPr>
          <p:cNvPr id="17" name="Text Box 165"/>
          <p:cNvSpPr txBox="1">
            <a:spLocks noChangeArrowheads="1"/>
          </p:cNvSpPr>
          <p:nvPr/>
        </p:nvSpPr>
        <p:spPr bwMode="gray">
          <a:xfrm>
            <a:off x="5935423" y="3087148"/>
            <a:ext cx="57387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177800" indent="-177800" algn="ctr" defTabSz="801688">
              <a:spcBef>
                <a:spcPct val="20000"/>
              </a:spcBef>
            </a:pPr>
            <a:r>
              <a:rPr lang="en-GB" sz="1400" b="1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Phase 2</a:t>
            </a:r>
          </a:p>
        </p:txBody>
      </p:sp>
      <p:sp>
        <p:nvSpPr>
          <p:cNvPr id="22" name="Text Box 169"/>
          <p:cNvSpPr txBox="1">
            <a:spLocks noChangeArrowheads="1"/>
          </p:cNvSpPr>
          <p:nvPr/>
        </p:nvSpPr>
        <p:spPr bwMode="gray">
          <a:xfrm>
            <a:off x="7083571" y="4042114"/>
            <a:ext cx="57387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177800" indent="-177800" algn="ctr" defTabSz="801688">
              <a:spcBef>
                <a:spcPct val="20000"/>
              </a:spcBef>
            </a:pPr>
            <a:r>
              <a:rPr lang="en-GB" sz="1400" b="1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Phase 3</a:t>
            </a:r>
          </a:p>
        </p:txBody>
      </p:sp>
      <p:sp>
        <p:nvSpPr>
          <p:cNvPr id="23" name="_color1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3511550" y="2416572"/>
            <a:ext cx="3454400" cy="179388"/>
          </a:xfrm>
          <a:prstGeom prst="rect">
            <a:avLst/>
          </a:prstGeom>
          <a:solidFill>
            <a:srgbClr val="0070C0">
              <a:alpha val="75000"/>
            </a:srgb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tIns="0" rIns="0" bIns="0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chemeClr val="bg1"/>
              </a:solidFill>
            </a:endParaRPr>
          </a:p>
        </p:txBody>
      </p:sp>
      <p:sp>
        <p:nvSpPr>
          <p:cNvPr id="24" name="_color1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3511550" y="2652316"/>
            <a:ext cx="1728788" cy="179388"/>
          </a:xfrm>
          <a:prstGeom prst="rect">
            <a:avLst/>
          </a:prstGeom>
          <a:solidFill>
            <a:srgbClr val="0070C0">
              <a:alpha val="75000"/>
            </a:srgb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tIns="0" rIns="0" bIns="0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chemeClr val="bg1"/>
              </a:solidFill>
            </a:endParaRPr>
          </a:p>
        </p:txBody>
      </p:sp>
      <p:sp>
        <p:nvSpPr>
          <p:cNvPr id="25" name="_color1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5316538" y="3357166"/>
            <a:ext cx="1706562" cy="179388"/>
          </a:xfrm>
          <a:prstGeom prst="rect">
            <a:avLst/>
          </a:prstGeom>
          <a:solidFill>
            <a:schemeClr val="accent1"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tIns="0" rIns="0" bIns="0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chemeClr val="bg1"/>
              </a:solidFill>
            </a:endParaRPr>
          </a:p>
        </p:txBody>
      </p:sp>
      <p:sp>
        <p:nvSpPr>
          <p:cNvPr id="26" name="_color1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6453188" y="3591719"/>
            <a:ext cx="852487" cy="179388"/>
          </a:xfrm>
          <a:prstGeom prst="rect">
            <a:avLst/>
          </a:prstGeom>
          <a:solidFill>
            <a:schemeClr val="accent1"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tIns="0" rIns="0" bIns="0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chemeClr val="bg1"/>
              </a:solidFill>
            </a:endParaRPr>
          </a:p>
        </p:txBody>
      </p:sp>
      <p:sp>
        <p:nvSpPr>
          <p:cNvPr id="27" name="_color1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5316538" y="3826272"/>
            <a:ext cx="2160587" cy="179388"/>
          </a:xfrm>
          <a:prstGeom prst="rect">
            <a:avLst/>
          </a:prstGeom>
          <a:solidFill>
            <a:schemeClr val="accent1"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tIns="0" rIns="0" bIns="0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chemeClr val="bg1"/>
              </a:solidFill>
            </a:endParaRPr>
          </a:p>
        </p:txBody>
      </p:sp>
      <p:sp>
        <p:nvSpPr>
          <p:cNvPr id="28" name="_color1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6826250" y="4307284"/>
            <a:ext cx="1290638" cy="179388"/>
          </a:xfrm>
          <a:prstGeom prst="rect">
            <a:avLst/>
          </a:prstGeom>
          <a:solidFill>
            <a:schemeClr val="bg1">
              <a:lumMod val="65000"/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chemeClr val="bg1"/>
              </a:solidFill>
            </a:endParaRPr>
          </a:p>
        </p:txBody>
      </p:sp>
      <p:sp>
        <p:nvSpPr>
          <p:cNvPr id="29" name="_color1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6826250" y="4540646"/>
            <a:ext cx="1290638" cy="179388"/>
          </a:xfrm>
          <a:prstGeom prst="rect">
            <a:avLst/>
          </a:prstGeom>
          <a:solidFill>
            <a:schemeClr val="bg1">
              <a:lumMod val="65000"/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chemeClr val="bg1"/>
              </a:solidFill>
            </a:endParaRPr>
          </a:p>
        </p:txBody>
      </p:sp>
      <p:sp>
        <p:nvSpPr>
          <p:cNvPr id="30" name="_color1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6381751" y="4774008"/>
            <a:ext cx="1735138" cy="179388"/>
          </a:xfrm>
          <a:prstGeom prst="rect">
            <a:avLst/>
          </a:prstGeom>
          <a:solidFill>
            <a:schemeClr val="bg1">
              <a:lumMod val="65000"/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chemeClr val="bg1"/>
              </a:solidFill>
            </a:endParaRPr>
          </a:p>
        </p:txBody>
      </p:sp>
      <p:sp>
        <p:nvSpPr>
          <p:cNvPr id="31" name="_color1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6064250" y="5007371"/>
            <a:ext cx="1763713" cy="179388"/>
          </a:xfrm>
          <a:prstGeom prst="rect">
            <a:avLst/>
          </a:prstGeom>
          <a:solidFill>
            <a:schemeClr val="bg1">
              <a:lumMod val="65000"/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 algn="ctr">
              <a:spcBef>
                <a:spcPct val="50000"/>
              </a:spcBef>
            </a:pPr>
            <a:endParaRPr lang="de-DE" sz="1400" dirty="0">
              <a:solidFill>
                <a:schemeClr val="bg1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6097588" y="1638298"/>
            <a:ext cx="1079500" cy="4249574"/>
            <a:chOff x="6097588" y="1638298"/>
            <a:chExt cx="1079500" cy="4249574"/>
          </a:xfrm>
        </p:grpSpPr>
        <p:sp>
          <p:nvSpPr>
            <p:cNvPr id="21" name="Line 168" descr="© INSCALE GmbH, 26.05.2010&#10;http://www.presentationload.com/"/>
            <p:cNvSpPr>
              <a:spLocks noChangeShapeType="1"/>
            </p:cNvSpPr>
            <p:nvPr/>
          </p:nvSpPr>
          <p:spPr bwMode="gray">
            <a:xfrm flipV="1">
              <a:off x="6645275" y="1638298"/>
              <a:ext cx="0" cy="4060826"/>
            </a:xfrm>
            <a:prstGeom prst="line">
              <a:avLst/>
            </a:prstGeom>
            <a:noFill/>
            <a:ln w="19050">
              <a:solidFill>
                <a:srgbClr val="4D4D4D"/>
              </a:solidFill>
              <a:prstDash val="sysDot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2" name="Text Box 183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6097588" y="5610060"/>
              <a:ext cx="1079500" cy="277812"/>
            </a:xfrm>
            <a:prstGeom prst="rect">
              <a:avLst/>
            </a:prstGeom>
            <a:gradFill rotWithShape="1">
              <a:gsLst>
                <a:gs pos="0">
                  <a:srgbClr val="F8F8F8"/>
                </a:gs>
                <a:gs pos="100000">
                  <a:srgbClr val="EAEAEA"/>
                </a:gs>
              </a:gsLst>
              <a:lin ang="5400000" scaled="1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/>
            <a:lstStyle/>
            <a:p>
              <a:pPr marL="174625" indent="-174625" algn="ctr">
                <a:spcBef>
                  <a:spcPct val="50000"/>
                </a:spcBef>
              </a:pPr>
              <a:r>
                <a:rPr lang="en-GB" sz="1200" b="1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. April</a:t>
              </a:r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4795838" y="1916112"/>
            <a:ext cx="1079500" cy="3971760"/>
            <a:chOff x="4795838" y="1916112"/>
            <a:chExt cx="1079500" cy="3971760"/>
          </a:xfrm>
        </p:grpSpPr>
        <p:sp>
          <p:nvSpPr>
            <p:cNvPr id="18" name="Line 161" descr="© INSCALE GmbH, 26.05.2010&#10;http://www.presentationload.com/"/>
            <p:cNvSpPr>
              <a:spLocks noChangeShapeType="1"/>
            </p:cNvSpPr>
            <p:nvPr/>
          </p:nvSpPr>
          <p:spPr bwMode="gray">
            <a:xfrm flipH="1" flipV="1">
              <a:off x="5330825" y="1916112"/>
              <a:ext cx="0" cy="3695701"/>
            </a:xfrm>
            <a:prstGeom prst="line">
              <a:avLst/>
            </a:prstGeom>
            <a:noFill/>
            <a:ln w="19050">
              <a:solidFill>
                <a:srgbClr val="4D4D4D"/>
              </a:solidFill>
              <a:prstDash val="sysDot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5" name="Text Box 231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4795838" y="5610060"/>
              <a:ext cx="1079500" cy="277812"/>
            </a:xfrm>
            <a:prstGeom prst="rect">
              <a:avLst/>
            </a:prstGeom>
            <a:gradFill rotWithShape="1">
              <a:gsLst>
                <a:gs pos="0">
                  <a:srgbClr val="F8F8F8"/>
                </a:gs>
                <a:gs pos="100000">
                  <a:srgbClr val="EAEAEA"/>
                </a:gs>
              </a:gsLst>
              <a:lin ang="5400000" scaled="1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/>
            <a:lstStyle/>
            <a:p>
              <a:pPr marL="174625" indent="-174625" algn="ctr">
                <a:spcBef>
                  <a:spcPct val="50000"/>
                </a:spcBef>
              </a:pPr>
              <a:r>
                <a:rPr lang="en-GB" sz="1200" b="1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15. March</a:t>
              </a:r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2975330" y="1916110"/>
            <a:ext cx="1079500" cy="4258001"/>
            <a:chOff x="2975330" y="1916110"/>
            <a:chExt cx="1079500" cy="4258001"/>
          </a:xfrm>
        </p:grpSpPr>
        <p:sp>
          <p:nvSpPr>
            <p:cNvPr id="19" name="_color1" descr="© INSCALE GmbH, 26.05.2010&#10;http://www.presentationload.com/"/>
            <p:cNvSpPr>
              <a:spLocks noChangeShapeType="1"/>
            </p:cNvSpPr>
            <p:nvPr/>
          </p:nvSpPr>
          <p:spPr bwMode="gray">
            <a:xfrm flipH="1" flipV="1">
              <a:off x="3511550" y="1916110"/>
              <a:ext cx="0" cy="4092155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grpSp>
          <p:nvGrpSpPr>
            <p:cNvPr id="42" name="Gruppieren 41"/>
            <p:cNvGrpSpPr/>
            <p:nvPr/>
          </p:nvGrpSpPr>
          <p:grpSpPr bwMode="gray">
            <a:xfrm>
              <a:off x="2975330" y="5775294"/>
              <a:ext cx="1079500" cy="398817"/>
              <a:chOff x="2986088" y="5401908"/>
              <a:chExt cx="1079500" cy="398817"/>
            </a:xfrm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3" name="Text Box 181" descr="© INSCALE GmbH, 26.05.2010&#10;http://www.presentationload.com/"/>
              <p:cNvSpPr txBox="1">
                <a:spLocks noChangeArrowheads="1"/>
              </p:cNvSpPr>
              <p:nvPr/>
            </p:nvSpPr>
            <p:spPr bwMode="gray">
              <a:xfrm>
                <a:off x="2986088" y="5522913"/>
                <a:ext cx="1079500" cy="277812"/>
              </a:xfrm>
              <a:prstGeom prst="rect">
                <a:avLst/>
              </a:prstGeom>
              <a:gradFill rotWithShape="1">
                <a:gsLst>
                  <a:gs pos="0">
                    <a:srgbClr val="F8F8F8"/>
                  </a:gs>
                  <a:gs pos="100000">
                    <a:srgbClr val="EAEAEA"/>
                  </a:gs>
                </a:gsLst>
                <a:lin ang="5400000" scaled="1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174625" indent="-174625" algn="ctr">
                  <a:spcBef>
                    <a:spcPct val="50000"/>
                  </a:spcBef>
                </a:pPr>
                <a:r>
                  <a:rPr lang="en-GB" sz="1200" b="1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20. January</a:t>
                </a:r>
              </a:p>
            </p:txBody>
          </p:sp>
          <p:sp>
            <p:nvSpPr>
              <p:cNvPr id="44" name="_color1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367088" y="5401908"/>
                <a:ext cx="298450" cy="133350"/>
              </a:xfrm>
              <a:prstGeom prst="triangle">
                <a:avLst>
                  <a:gd name="adj" fmla="val 50000"/>
                </a:avLst>
              </a:prstGeom>
              <a:solidFill>
                <a:srgbClr val="0070C0">
                  <a:alpha val="75000"/>
                </a:srgbClr>
              </a:solidFill>
              <a:ln w="12700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/>
              </a:p>
            </p:txBody>
          </p:sp>
        </p:grpSp>
      </p:grpSp>
      <p:grpSp>
        <p:nvGrpSpPr>
          <p:cNvPr id="7" name="Gruppieren 6"/>
          <p:cNvGrpSpPr/>
          <p:nvPr/>
        </p:nvGrpSpPr>
        <p:grpSpPr>
          <a:xfrm>
            <a:off x="7579541" y="1916110"/>
            <a:ext cx="1079500" cy="4249575"/>
            <a:chOff x="7579541" y="1916110"/>
            <a:chExt cx="1079500" cy="4249575"/>
          </a:xfrm>
        </p:grpSpPr>
        <p:sp>
          <p:nvSpPr>
            <p:cNvPr id="20" name="_color1" descr="© INSCALE GmbH, 26.05.2010&#10;http://www.presentationload.com/"/>
            <p:cNvSpPr>
              <a:spLocks noChangeShapeType="1"/>
            </p:cNvSpPr>
            <p:nvPr/>
          </p:nvSpPr>
          <p:spPr bwMode="gray">
            <a:xfrm flipV="1">
              <a:off x="8120063" y="1916110"/>
              <a:ext cx="0" cy="4092156"/>
            </a:xfrm>
            <a:prstGeom prst="line">
              <a:avLst/>
            </a:prstGeom>
            <a:noFill/>
            <a:ln w="19050">
              <a:solidFill>
                <a:schemeClr val="accent1">
                  <a:lumMod val="50000"/>
                </a:schemeClr>
              </a:solidFill>
              <a:prstDash val="sysDot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grpSp>
          <p:nvGrpSpPr>
            <p:cNvPr id="45" name="Gruppieren 44"/>
            <p:cNvGrpSpPr/>
            <p:nvPr/>
          </p:nvGrpSpPr>
          <p:grpSpPr bwMode="gray">
            <a:xfrm>
              <a:off x="7579541" y="5765280"/>
              <a:ext cx="1079500" cy="400405"/>
              <a:chOff x="7579541" y="5401908"/>
              <a:chExt cx="1079500" cy="400405"/>
            </a:xfrm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6" name="Text Box 182" descr="© INSCALE GmbH, 26.05.2010&#10;http://www.presentationload.com/"/>
              <p:cNvSpPr txBox="1">
                <a:spLocks noChangeArrowheads="1"/>
              </p:cNvSpPr>
              <p:nvPr/>
            </p:nvSpPr>
            <p:spPr bwMode="gray">
              <a:xfrm>
                <a:off x="7579541" y="5524500"/>
                <a:ext cx="1079500" cy="277813"/>
              </a:xfrm>
              <a:prstGeom prst="rect">
                <a:avLst/>
              </a:prstGeom>
              <a:gradFill rotWithShape="1">
                <a:gsLst>
                  <a:gs pos="0">
                    <a:srgbClr val="F8F8F8"/>
                  </a:gs>
                  <a:gs pos="100000">
                    <a:srgbClr val="EAEAEA"/>
                  </a:gs>
                </a:gsLst>
                <a:lin ang="5400000" scaled="1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174625" indent="-174625" algn="ctr">
                  <a:spcBef>
                    <a:spcPct val="50000"/>
                  </a:spcBef>
                </a:pPr>
                <a:r>
                  <a:rPr lang="en-GB" sz="1200" b="1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10. June</a:t>
                </a:r>
              </a:p>
            </p:txBody>
          </p:sp>
          <p:sp>
            <p:nvSpPr>
              <p:cNvPr id="47" name="_color1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7962129" y="5401908"/>
                <a:ext cx="298450" cy="133350"/>
              </a:xfrm>
              <a:prstGeom prst="triangle">
                <a:avLst>
                  <a:gd name="adj" fmla="val 50000"/>
                </a:avLst>
              </a:prstGeom>
              <a:solidFill>
                <a:schemeClr val="bg1">
                  <a:lumMod val="65000"/>
                  <a:alpha val="75000"/>
                </a:schemeClr>
              </a:solidFill>
              <a:ln w="12700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/>
              </a:p>
            </p:txBody>
          </p:sp>
        </p:grpSp>
      </p:grpSp>
      <p:grpSp>
        <p:nvGrpSpPr>
          <p:cNvPr id="48" name="Gruppieren 47"/>
          <p:cNvGrpSpPr/>
          <p:nvPr/>
        </p:nvGrpSpPr>
        <p:grpSpPr>
          <a:xfrm>
            <a:off x="429337" y="5699125"/>
            <a:ext cx="2588505" cy="466560"/>
            <a:chOff x="429337" y="5699125"/>
            <a:chExt cx="2588505" cy="466560"/>
          </a:xfrm>
        </p:grpSpPr>
        <p:sp>
          <p:nvSpPr>
            <p:cNvPr id="49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429337" y="5985685"/>
              <a:ext cx="180000" cy="180000"/>
            </a:xfrm>
            <a:prstGeom prst="roundRect">
              <a:avLst/>
            </a:prstGeom>
            <a:solidFill>
              <a:schemeClr val="tx2">
                <a:lumMod val="60000"/>
                <a:lumOff val="40000"/>
                <a:alpha val="75000"/>
              </a:schemeClr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wrap="none" anchor="ctr"/>
            <a:lstStyle/>
            <a:p>
              <a:pPr marL="174625" indent="-174625" algn="ctr">
                <a:spcBef>
                  <a:spcPct val="50000"/>
                </a:spcBef>
              </a:pPr>
              <a:endParaRPr lang="de-DE" sz="1400">
                <a:solidFill>
                  <a:schemeClr val="bg1"/>
                </a:solidFill>
              </a:endParaRPr>
            </a:p>
          </p:txBody>
        </p:sp>
        <p:sp>
          <p:nvSpPr>
            <p:cNvPr id="50" name="Text Box 184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724701" y="5719813"/>
              <a:ext cx="929742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GB" sz="1000" noProof="1"/>
                <a:t> Activity bundle 1</a:t>
              </a:r>
            </a:p>
          </p:txBody>
        </p:sp>
        <p:sp>
          <p:nvSpPr>
            <p:cNvPr id="51" name="Text Box 185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724701" y="6008267"/>
              <a:ext cx="902491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GB" sz="1000" noProof="1"/>
                <a:t> Activity bundle </a:t>
              </a:r>
              <a:r>
                <a:rPr lang="en-GB" sz="1000" noProof="1" smtClean="0"/>
                <a:t>2</a:t>
              </a:r>
              <a:endParaRPr lang="en-GB" sz="1000" noProof="1"/>
            </a:p>
          </p:txBody>
        </p:sp>
        <p:sp>
          <p:nvSpPr>
            <p:cNvPr id="52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429337" y="5699125"/>
              <a:ext cx="180000" cy="180000"/>
            </a:xfrm>
            <a:prstGeom prst="roundRect">
              <a:avLst/>
            </a:prstGeom>
            <a:solidFill>
              <a:srgbClr val="0070C0">
                <a:alpha val="75000"/>
              </a:srgbClr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wrap="none" tIns="0" rIns="0" bIns="0" anchor="ctr"/>
            <a:lstStyle/>
            <a:p>
              <a:pPr marL="174625" indent="-174625" algn="ctr">
                <a:spcBef>
                  <a:spcPct val="50000"/>
                </a:spcBef>
              </a:pPr>
              <a:endParaRPr lang="de-DE" sz="1400">
                <a:solidFill>
                  <a:schemeClr val="bg1"/>
                </a:solidFill>
              </a:endParaRPr>
            </a:p>
          </p:txBody>
        </p:sp>
        <p:sp>
          <p:nvSpPr>
            <p:cNvPr id="54" name="Text Box 184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2115351" y="5719813"/>
              <a:ext cx="902491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GB" sz="1000" noProof="1"/>
                <a:t> Activity bundle </a:t>
              </a:r>
              <a:r>
                <a:rPr lang="en-GB" sz="1000" noProof="1" smtClean="0"/>
                <a:t>3</a:t>
              </a:r>
              <a:endParaRPr lang="en-GB" sz="1000" noProof="1"/>
            </a:p>
          </p:txBody>
        </p:sp>
        <p:sp>
          <p:nvSpPr>
            <p:cNvPr id="56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819987" y="5699125"/>
              <a:ext cx="180000" cy="180000"/>
            </a:xfrm>
            <a:prstGeom prst="roundRect">
              <a:avLst/>
            </a:prstGeom>
            <a:solidFill>
              <a:schemeClr val="bg1">
                <a:lumMod val="65000"/>
                <a:alpha val="75000"/>
              </a:schemeClr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wrap="none" tIns="0" rIns="0" bIns="0" anchor="ctr"/>
            <a:lstStyle/>
            <a:p>
              <a:pPr marL="174625" indent="-174625" algn="ctr">
                <a:spcBef>
                  <a:spcPct val="50000"/>
                </a:spcBef>
              </a:pPr>
              <a:endParaRPr lang="de-DE" sz="1400">
                <a:solidFill>
                  <a:schemeClr val="bg1"/>
                </a:solidFill>
              </a:endParaRPr>
            </a:p>
          </p:txBody>
        </p:sp>
      </p:grpSp>
      <p:sp>
        <p:nvSpPr>
          <p:cNvPr id="34" name="_color1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8001000" y="5189541"/>
            <a:ext cx="230188" cy="230187"/>
          </a:xfrm>
          <a:prstGeom prst="diamond">
            <a:avLst/>
          </a:prstGeom>
          <a:solidFill>
            <a:srgbClr val="FFC000">
              <a:alpha val="90000"/>
            </a:srgb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chemeClr val="bg1"/>
              </a:solidFill>
            </a:endParaRPr>
          </a:p>
        </p:txBody>
      </p:sp>
      <p:sp>
        <p:nvSpPr>
          <p:cNvPr id="33" name="_color1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5218907" y="2858294"/>
            <a:ext cx="230188" cy="230187"/>
          </a:xfrm>
          <a:prstGeom prst="diamond">
            <a:avLst/>
          </a:prstGeom>
          <a:solidFill>
            <a:srgbClr val="FFC000">
              <a:alpha val="90000"/>
            </a:srgb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 algn="ctr">
              <a:spcBef>
                <a:spcPct val="50000"/>
              </a:spcBef>
            </a:pPr>
            <a:endParaRPr lang="de-DE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8512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/>
        </p:nvGrpSpPr>
        <p:grpSpPr>
          <a:xfrm>
            <a:off x="323895" y="1556864"/>
            <a:ext cx="4086540" cy="504000"/>
            <a:chOff x="323895" y="1556864"/>
            <a:chExt cx="4086540" cy="504000"/>
          </a:xfrm>
        </p:grpSpPr>
        <p:sp>
          <p:nvSpPr>
            <p:cNvPr id="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5" y="1556864"/>
              <a:ext cx="3683360" cy="503911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Agenda Slides</a:t>
              </a:r>
            </a:p>
          </p:txBody>
        </p:sp>
        <p:sp>
          <p:nvSpPr>
            <p:cNvPr id="3" name="Rechteck 2"/>
            <p:cNvSpPr/>
            <p:nvPr/>
          </p:nvSpPr>
          <p:spPr>
            <a:xfrm>
              <a:off x="323895" y="1556953"/>
              <a:ext cx="324000" cy="503911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323895" y="2180757"/>
            <a:ext cx="4086181" cy="504000"/>
            <a:chOff x="323895" y="2180757"/>
            <a:chExt cx="4086181" cy="504000"/>
          </a:xfrm>
        </p:grpSpPr>
        <p:sp>
          <p:nvSpPr>
            <p:cNvPr id="5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2180757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Gantt Charts</a:t>
              </a:r>
            </a:p>
          </p:txBody>
        </p:sp>
        <p:sp>
          <p:nvSpPr>
            <p:cNvPr id="92" name="Rechteck 91"/>
            <p:cNvSpPr/>
            <p:nvPr/>
          </p:nvSpPr>
          <p:spPr>
            <a:xfrm>
              <a:off x="323895" y="2180758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2</a:t>
              </a:r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323895" y="2804650"/>
            <a:ext cx="4086181" cy="504000"/>
            <a:chOff x="323895" y="2804650"/>
            <a:chExt cx="4086181" cy="504000"/>
          </a:xfrm>
        </p:grpSpPr>
        <p:sp>
          <p:nvSpPr>
            <p:cNvPr id="93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2804650"/>
              <a:ext cx="3682998" cy="503999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16200000" scaled="0"/>
              <a:tileRect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chemeClr val="bg1"/>
                  </a:solidFill>
                </a:rPr>
                <a:t>Funnels 3D</a:t>
              </a:r>
            </a:p>
          </p:txBody>
        </p:sp>
        <p:sp>
          <p:nvSpPr>
            <p:cNvPr id="94" name="Rechteck 93"/>
            <p:cNvSpPr/>
            <p:nvPr/>
          </p:nvSpPr>
          <p:spPr>
            <a:xfrm>
              <a:off x="323895" y="2804651"/>
              <a:ext cx="324000" cy="503999"/>
            </a:xfrm>
            <a:prstGeom prst="rect">
              <a:avLst/>
            </a:pr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rgbClr val="0070C0"/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3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0" name="Gruppieren 119"/>
          <p:cNvGrpSpPr/>
          <p:nvPr/>
        </p:nvGrpSpPr>
        <p:grpSpPr>
          <a:xfrm>
            <a:off x="323895" y="3428543"/>
            <a:ext cx="4086181" cy="504000"/>
            <a:chOff x="323895" y="3428543"/>
            <a:chExt cx="4086181" cy="504000"/>
          </a:xfrm>
        </p:grpSpPr>
        <p:sp>
          <p:nvSpPr>
            <p:cNvPr id="9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3428543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Pie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/ Donut Charts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96" name="Rechteck 95"/>
            <p:cNvSpPr/>
            <p:nvPr/>
          </p:nvSpPr>
          <p:spPr>
            <a:xfrm>
              <a:off x="323895" y="3428544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4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1" name="Gruppieren 120"/>
          <p:cNvGrpSpPr/>
          <p:nvPr/>
        </p:nvGrpSpPr>
        <p:grpSpPr>
          <a:xfrm>
            <a:off x="323895" y="4052436"/>
            <a:ext cx="4086181" cy="504000"/>
            <a:chOff x="323895" y="4052436"/>
            <a:chExt cx="4086181" cy="504000"/>
          </a:xfrm>
        </p:grpSpPr>
        <p:sp>
          <p:nvSpPr>
            <p:cNvPr id="9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4052436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Overlapping Text Boxes</a:t>
              </a:r>
            </a:p>
          </p:txBody>
        </p:sp>
        <p:sp>
          <p:nvSpPr>
            <p:cNvPr id="98" name="Rechteck 97"/>
            <p:cNvSpPr/>
            <p:nvPr/>
          </p:nvSpPr>
          <p:spPr>
            <a:xfrm>
              <a:off x="323895" y="4052437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5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2" name="Gruppieren 121"/>
          <p:cNvGrpSpPr/>
          <p:nvPr/>
        </p:nvGrpSpPr>
        <p:grpSpPr>
          <a:xfrm>
            <a:off x="323895" y="4676329"/>
            <a:ext cx="4086181" cy="504000"/>
            <a:chOff x="323895" y="4676329"/>
            <a:chExt cx="4086181" cy="504000"/>
          </a:xfrm>
        </p:grpSpPr>
        <p:sp>
          <p:nvSpPr>
            <p:cNvPr id="9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4676329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Timelines Arrows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323895" y="4676330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6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3" name="Gruppieren 122"/>
          <p:cNvGrpSpPr/>
          <p:nvPr/>
        </p:nvGrpSpPr>
        <p:grpSpPr>
          <a:xfrm>
            <a:off x="323895" y="5300224"/>
            <a:ext cx="4086181" cy="504000"/>
            <a:chOff x="323895" y="5300224"/>
            <a:chExt cx="4086181" cy="504000"/>
          </a:xfrm>
        </p:grpSpPr>
        <p:sp>
          <p:nvSpPr>
            <p:cNvPr id="101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5300224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Sphere with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Core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102" name="Rechteck 101"/>
            <p:cNvSpPr/>
            <p:nvPr/>
          </p:nvSpPr>
          <p:spPr>
            <a:xfrm>
              <a:off x="323895" y="5300225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7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4" name="Gruppieren 123"/>
          <p:cNvGrpSpPr/>
          <p:nvPr/>
        </p:nvGrpSpPr>
        <p:grpSpPr>
          <a:xfrm>
            <a:off x="4733970" y="1556862"/>
            <a:ext cx="4086181" cy="504000"/>
            <a:chOff x="4733970" y="1556862"/>
            <a:chExt cx="4086181" cy="504000"/>
          </a:xfrm>
        </p:grpSpPr>
        <p:sp>
          <p:nvSpPr>
            <p:cNvPr id="5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1556862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Step Process Chart</a:t>
              </a:r>
            </a:p>
          </p:txBody>
        </p:sp>
        <p:sp>
          <p:nvSpPr>
            <p:cNvPr id="58" name="Rechteck 57"/>
            <p:cNvSpPr/>
            <p:nvPr/>
          </p:nvSpPr>
          <p:spPr>
            <a:xfrm>
              <a:off x="4733970" y="1556863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8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5" name="Gruppieren 124"/>
          <p:cNvGrpSpPr/>
          <p:nvPr/>
        </p:nvGrpSpPr>
        <p:grpSpPr>
          <a:xfrm>
            <a:off x="4733970" y="2180756"/>
            <a:ext cx="4086181" cy="504000"/>
            <a:chOff x="4733970" y="2180756"/>
            <a:chExt cx="4086181" cy="504000"/>
          </a:xfrm>
        </p:grpSpPr>
        <p:sp>
          <p:nvSpPr>
            <p:cNvPr id="5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2180756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Curves and Trend Charts</a:t>
              </a:r>
            </a:p>
          </p:txBody>
        </p:sp>
        <p:sp>
          <p:nvSpPr>
            <p:cNvPr id="60" name="Rechteck 59"/>
            <p:cNvSpPr/>
            <p:nvPr/>
          </p:nvSpPr>
          <p:spPr>
            <a:xfrm>
              <a:off x="4733970" y="2180757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9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6" name="Gruppieren 125"/>
          <p:cNvGrpSpPr/>
          <p:nvPr/>
        </p:nvGrpSpPr>
        <p:grpSpPr>
          <a:xfrm>
            <a:off x="4733970" y="2804650"/>
            <a:ext cx="4086181" cy="504000"/>
            <a:chOff x="4733970" y="2804650"/>
            <a:chExt cx="4086181" cy="504000"/>
          </a:xfrm>
        </p:grpSpPr>
        <p:sp>
          <p:nvSpPr>
            <p:cNvPr id="61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2804650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3D Spheres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Fill </a:t>
              </a:r>
              <a:r>
                <a:rPr lang="en-US" sz="1600" b="1" noProof="1">
                  <a:solidFill>
                    <a:srgbClr val="5F5F5F"/>
                  </a:solidFill>
                </a:rPr>
                <a:t>L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evels</a:t>
              </a:r>
              <a:r>
                <a:rPr lang="en-US" sz="1600" b="1" noProof="1">
                  <a:solidFill>
                    <a:srgbClr val="5F5F5F"/>
                  </a:solidFill>
                </a:rPr>
                <a:t>	</a:t>
              </a:r>
            </a:p>
          </p:txBody>
        </p:sp>
        <p:sp>
          <p:nvSpPr>
            <p:cNvPr id="62" name="Rechteck 61"/>
            <p:cNvSpPr/>
            <p:nvPr/>
          </p:nvSpPr>
          <p:spPr>
            <a:xfrm>
              <a:off x="4733970" y="2804651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0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7" name="Gruppieren 126"/>
          <p:cNvGrpSpPr/>
          <p:nvPr/>
        </p:nvGrpSpPr>
        <p:grpSpPr>
          <a:xfrm>
            <a:off x="4733970" y="3428544"/>
            <a:ext cx="4086181" cy="504000"/>
            <a:chOff x="4733970" y="3428544"/>
            <a:chExt cx="4086181" cy="504000"/>
          </a:xfrm>
        </p:grpSpPr>
        <p:sp>
          <p:nvSpPr>
            <p:cNvPr id="63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3428544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Data-driven Diagrams	</a:t>
              </a:r>
            </a:p>
          </p:txBody>
        </p:sp>
        <p:sp>
          <p:nvSpPr>
            <p:cNvPr id="64" name="Rechteck 63"/>
            <p:cNvSpPr/>
            <p:nvPr/>
          </p:nvSpPr>
          <p:spPr>
            <a:xfrm>
              <a:off x="4733970" y="3428545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1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8" name="Gruppieren 127"/>
          <p:cNvGrpSpPr/>
          <p:nvPr/>
        </p:nvGrpSpPr>
        <p:grpSpPr>
          <a:xfrm>
            <a:off x="4733970" y="4052438"/>
            <a:ext cx="4086181" cy="504000"/>
            <a:chOff x="4733970" y="4052438"/>
            <a:chExt cx="4086181" cy="504000"/>
          </a:xfrm>
        </p:grpSpPr>
        <p:sp>
          <p:nvSpPr>
            <p:cNvPr id="6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4052438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Arrow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Process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66" name="Rechteck 65"/>
            <p:cNvSpPr/>
            <p:nvPr/>
          </p:nvSpPr>
          <p:spPr>
            <a:xfrm>
              <a:off x="4733970" y="4052439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2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9" name="Gruppieren 128"/>
          <p:cNvGrpSpPr/>
          <p:nvPr/>
        </p:nvGrpSpPr>
        <p:grpSpPr>
          <a:xfrm>
            <a:off x="4733970" y="4676332"/>
            <a:ext cx="4086181" cy="504000"/>
            <a:chOff x="4733970" y="4676332"/>
            <a:chExt cx="4086181" cy="504000"/>
          </a:xfrm>
        </p:grpSpPr>
        <p:sp>
          <p:nvSpPr>
            <p:cNvPr id="6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4676332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Circle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Diagram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68" name="Rechteck 67"/>
            <p:cNvSpPr/>
            <p:nvPr/>
          </p:nvSpPr>
          <p:spPr>
            <a:xfrm>
              <a:off x="4733970" y="4676333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3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30" name="Gruppieren 129"/>
          <p:cNvGrpSpPr/>
          <p:nvPr/>
        </p:nvGrpSpPr>
        <p:grpSpPr>
          <a:xfrm>
            <a:off x="4733970" y="5300225"/>
            <a:ext cx="4086181" cy="504000"/>
            <a:chOff x="4733970" y="5300225"/>
            <a:chExt cx="4086181" cy="504000"/>
          </a:xfrm>
        </p:grpSpPr>
        <p:sp>
          <p:nvSpPr>
            <p:cNvPr id="6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5300225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3D Arrows</a:t>
              </a:r>
            </a:p>
          </p:txBody>
        </p:sp>
        <p:sp>
          <p:nvSpPr>
            <p:cNvPr id="70" name="Rechteck 69"/>
            <p:cNvSpPr/>
            <p:nvPr/>
          </p:nvSpPr>
          <p:spPr>
            <a:xfrm>
              <a:off x="4733970" y="5300226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4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siness Starter Package</a:t>
            </a:r>
            <a:endParaRPr lang="en-US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laceholder for your own sub headline</a:t>
            </a:r>
          </a:p>
        </p:txBody>
      </p:sp>
    </p:spTree>
    <p:extLst>
      <p:ext uri="{BB962C8B-B14F-4D97-AF65-F5344CB8AC3E}">
        <p14:creationId xmlns:p14="http://schemas.microsoft.com/office/powerpoint/2010/main" val="2251685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Funnels - 3D 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noProof="1" smtClean="0"/>
              <a:t>3 Step Divisions</a:t>
            </a:r>
            <a:endParaRPr lang="en-US" noProof="1"/>
          </a:p>
        </p:txBody>
      </p:sp>
      <p:grpSp>
        <p:nvGrpSpPr>
          <p:cNvPr id="4" name="Gruppieren 3"/>
          <p:cNvGrpSpPr/>
          <p:nvPr/>
        </p:nvGrpSpPr>
        <p:grpSpPr>
          <a:xfrm>
            <a:off x="2200586" y="1556331"/>
            <a:ext cx="4700277" cy="4253612"/>
            <a:chOff x="2200586" y="1556331"/>
            <a:chExt cx="4700277" cy="4253612"/>
          </a:xfrm>
          <a:effectLst>
            <a:outerShdw blurRad="6604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16" name="Freeform 31"/>
            <p:cNvSpPr>
              <a:spLocks/>
            </p:cNvSpPr>
            <p:nvPr/>
          </p:nvSpPr>
          <p:spPr bwMode="gray">
            <a:xfrm>
              <a:off x="2214420" y="1846479"/>
              <a:ext cx="4678946" cy="1708785"/>
            </a:xfrm>
            <a:custGeom>
              <a:avLst/>
              <a:gdLst/>
              <a:ahLst/>
              <a:cxnLst>
                <a:cxn ang="0">
                  <a:pos x="482" y="45"/>
                </a:cxn>
                <a:cxn ang="0">
                  <a:pos x="0" y="0"/>
                </a:cxn>
                <a:cxn ang="0">
                  <a:pos x="182" y="314"/>
                </a:cxn>
                <a:cxn ang="0">
                  <a:pos x="183" y="317"/>
                </a:cxn>
                <a:cxn ang="0">
                  <a:pos x="185" y="320"/>
                </a:cxn>
                <a:cxn ang="0">
                  <a:pos x="482" y="352"/>
                </a:cxn>
                <a:cxn ang="0">
                  <a:pos x="780" y="320"/>
                </a:cxn>
                <a:cxn ang="0">
                  <a:pos x="781" y="317"/>
                </a:cxn>
                <a:cxn ang="0">
                  <a:pos x="783" y="314"/>
                </a:cxn>
                <a:cxn ang="0">
                  <a:pos x="964" y="0"/>
                </a:cxn>
                <a:cxn ang="0">
                  <a:pos x="482" y="45"/>
                </a:cxn>
              </a:cxnLst>
              <a:rect l="0" t="0" r="r" b="b"/>
              <a:pathLst>
                <a:path w="964" h="352">
                  <a:moveTo>
                    <a:pt x="482" y="45"/>
                  </a:moveTo>
                  <a:cubicBezTo>
                    <a:pt x="238" y="45"/>
                    <a:pt x="36" y="25"/>
                    <a:pt x="0" y="0"/>
                  </a:cubicBezTo>
                  <a:cubicBezTo>
                    <a:pt x="182" y="314"/>
                    <a:pt x="182" y="314"/>
                    <a:pt x="182" y="314"/>
                  </a:cubicBezTo>
                  <a:cubicBezTo>
                    <a:pt x="183" y="317"/>
                    <a:pt x="183" y="317"/>
                    <a:pt x="183" y="317"/>
                  </a:cubicBezTo>
                  <a:cubicBezTo>
                    <a:pt x="185" y="320"/>
                    <a:pt x="185" y="320"/>
                    <a:pt x="185" y="320"/>
                  </a:cubicBezTo>
                  <a:cubicBezTo>
                    <a:pt x="206" y="338"/>
                    <a:pt x="331" y="352"/>
                    <a:pt x="482" y="352"/>
                  </a:cubicBezTo>
                  <a:cubicBezTo>
                    <a:pt x="634" y="352"/>
                    <a:pt x="759" y="338"/>
                    <a:pt x="780" y="320"/>
                  </a:cubicBezTo>
                  <a:cubicBezTo>
                    <a:pt x="781" y="317"/>
                    <a:pt x="781" y="317"/>
                    <a:pt x="781" y="317"/>
                  </a:cubicBezTo>
                  <a:cubicBezTo>
                    <a:pt x="783" y="314"/>
                    <a:pt x="783" y="314"/>
                    <a:pt x="783" y="314"/>
                  </a:cubicBezTo>
                  <a:cubicBezTo>
                    <a:pt x="964" y="0"/>
                    <a:pt x="964" y="0"/>
                    <a:pt x="964" y="0"/>
                  </a:cubicBezTo>
                  <a:cubicBezTo>
                    <a:pt x="929" y="25"/>
                    <a:pt x="726" y="45"/>
                    <a:pt x="482" y="45"/>
                  </a:cubicBezTo>
                  <a:close/>
                </a:path>
              </a:pathLst>
            </a:custGeom>
            <a:gradFill rotWithShape="1">
              <a:gsLst>
                <a:gs pos="0">
                  <a:srgbClr val="969696"/>
                </a:gs>
                <a:gs pos="50000">
                  <a:srgbClr val="E6E6E6"/>
                </a:gs>
                <a:gs pos="100000">
                  <a:srgbClr val="969696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  <p:sp>
          <p:nvSpPr>
            <p:cNvPr id="17" name="_color1"/>
            <p:cNvSpPr>
              <a:spLocks noChangeArrowheads="1"/>
            </p:cNvSpPr>
            <p:nvPr/>
          </p:nvSpPr>
          <p:spPr bwMode="gray">
            <a:xfrm>
              <a:off x="3105149" y="3204676"/>
              <a:ext cx="2900363" cy="368350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  <p:sp>
          <p:nvSpPr>
            <p:cNvPr id="18" name="Freeform 33"/>
            <p:cNvSpPr>
              <a:spLocks/>
            </p:cNvSpPr>
            <p:nvPr/>
          </p:nvSpPr>
          <p:spPr bwMode="gray">
            <a:xfrm>
              <a:off x="4002267" y="4940276"/>
              <a:ext cx="1110441" cy="792402"/>
            </a:xfrm>
            <a:custGeom>
              <a:avLst/>
              <a:gdLst/>
              <a:ahLst/>
              <a:cxnLst>
                <a:cxn ang="0">
                  <a:pos x="115" y="14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63"/>
                </a:cxn>
                <a:cxn ang="0">
                  <a:pos x="229" y="163"/>
                </a:cxn>
                <a:cxn ang="0">
                  <a:pos x="229" y="1"/>
                </a:cxn>
                <a:cxn ang="0">
                  <a:pos x="115" y="14"/>
                </a:cxn>
              </a:cxnLst>
              <a:rect l="0" t="0" r="r" b="b"/>
              <a:pathLst>
                <a:path w="229" h="163">
                  <a:moveTo>
                    <a:pt x="115" y="14"/>
                  </a:moveTo>
                  <a:cubicBezTo>
                    <a:pt x="55" y="14"/>
                    <a:pt x="6" y="8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229" y="163"/>
                    <a:pt x="229" y="163"/>
                    <a:pt x="229" y="163"/>
                  </a:cubicBezTo>
                  <a:cubicBezTo>
                    <a:pt x="229" y="1"/>
                    <a:pt x="229" y="1"/>
                    <a:pt x="229" y="1"/>
                  </a:cubicBezTo>
                  <a:cubicBezTo>
                    <a:pt x="222" y="8"/>
                    <a:pt x="174" y="14"/>
                    <a:pt x="115" y="14"/>
                  </a:cubicBezTo>
                  <a:close/>
                </a:path>
              </a:pathLst>
            </a:custGeom>
            <a:gradFill rotWithShape="1">
              <a:gsLst>
                <a:gs pos="0">
                  <a:srgbClr val="969696"/>
                </a:gs>
                <a:gs pos="50000">
                  <a:srgbClr val="D7D7D7"/>
                </a:gs>
                <a:gs pos="100000">
                  <a:srgbClr val="969696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  <p:sp>
          <p:nvSpPr>
            <p:cNvPr id="19" name="_color1"/>
            <p:cNvSpPr>
              <a:spLocks/>
            </p:cNvSpPr>
            <p:nvPr/>
          </p:nvSpPr>
          <p:spPr bwMode="gray">
            <a:xfrm>
              <a:off x="3114633" y="3409445"/>
              <a:ext cx="2878973" cy="1606366"/>
            </a:xfrm>
            <a:custGeom>
              <a:avLst/>
              <a:gdLst/>
              <a:ahLst/>
              <a:cxnLst>
                <a:cxn ang="0">
                  <a:pos x="297" y="32"/>
                </a:cxn>
                <a:cxn ang="0">
                  <a:pos x="0" y="0"/>
                </a:cxn>
                <a:cxn ang="0">
                  <a:pos x="183" y="317"/>
                </a:cxn>
                <a:cxn ang="0">
                  <a:pos x="184" y="317"/>
                </a:cxn>
                <a:cxn ang="0">
                  <a:pos x="298" y="331"/>
                </a:cxn>
                <a:cxn ang="0">
                  <a:pos x="412" y="318"/>
                </a:cxn>
                <a:cxn ang="0">
                  <a:pos x="412" y="317"/>
                </a:cxn>
                <a:cxn ang="0">
                  <a:pos x="412" y="317"/>
                </a:cxn>
                <a:cxn ang="0">
                  <a:pos x="412" y="316"/>
                </a:cxn>
                <a:cxn ang="0">
                  <a:pos x="595" y="0"/>
                </a:cxn>
                <a:cxn ang="0">
                  <a:pos x="297" y="32"/>
                </a:cxn>
              </a:cxnLst>
              <a:rect l="0" t="0" r="r" b="b"/>
              <a:pathLst>
                <a:path w="595" h="331">
                  <a:moveTo>
                    <a:pt x="297" y="32"/>
                  </a:moveTo>
                  <a:cubicBezTo>
                    <a:pt x="146" y="32"/>
                    <a:pt x="21" y="18"/>
                    <a:pt x="0" y="0"/>
                  </a:cubicBezTo>
                  <a:cubicBezTo>
                    <a:pt x="183" y="317"/>
                    <a:pt x="183" y="317"/>
                    <a:pt x="183" y="317"/>
                  </a:cubicBezTo>
                  <a:cubicBezTo>
                    <a:pt x="184" y="317"/>
                    <a:pt x="184" y="317"/>
                    <a:pt x="184" y="317"/>
                  </a:cubicBezTo>
                  <a:cubicBezTo>
                    <a:pt x="189" y="325"/>
                    <a:pt x="238" y="331"/>
                    <a:pt x="298" y="331"/>
                  </a:cubicBezTo>
                  <a:cubicBezTo>
                    <a:pt x="357" y="331"/>
                    <a:pt x="405" y="325"/>
                    <a:pt x="412" y="318"/>
                  </a:cubicBezTo>
                  <a:cubicBezTo>
                    <a:pt x="412" y="317"/>
                    <a:pt x="412" y="317"/>
                    <a:pt x="412" y="317"/>
                  </a:cubicBezTo>
                  <a:cubicBezTo>
                    <a:pt x="412" y="317"/>
                    <a:pt x="412" y="317"/>
                    <a:pt x="412" y="317"/>
                  </a:cubicBezTo>
                  <a:cubicBezTo>
                    <a:pt x="412" y="316"/>
                    <a:pt x="412" y="316"/>
                    <a:pt x="412" y="316"/>
                  </a:cubicBezTo>
                  <a:cubicBezTo>
                    <a:pt x="595" y="0"/>
                    <a:pt x="595" y="0"/>
                    <a:pt x="595" y="0"/>
                  </a:cubicBezTo>
                  <a:cubicBezTo>
                    <a:pt x="574" y="18"/>
                    <a:pt x="449" y="32"/>
                    <a:pt x="297" y="32"/>
                  </a:cubicBez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53000">
                  <a:schemeClr val="tx2">
                    <a:lumMod val="60000"/>
                    <a:lumOff val="40000"/>
                  </a:schemeClr>
                </a:gs>
                <a:gs pos="100000">
                  <a:schemeClr val="tx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  <p:sp>
          <p:nvSpPr>
            <p:cNvPr id="20" name="_color1"/>
            <p:cNvSpPr>
              <a:spLocks noChangeArrowheads="1"/>
            </p:cNvSpPr>
            <p:nvPr/>
          </p:nvSpPr>
          <p:spPr bwMode="gray">
            <a:xfrm>
              <a:off x="4002267" y="4870269"/>
              <a:ext cx="1110441" cy="145543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  <p:sp>
          <p:nvSpPr>
            <p:cNvPr id="21" name="Oval 36"/>
            <p:cNvSpPr>
              <a:spLocks noChangeArrowheads="1"/>
            </p:cNvSpPr>
            <p:nvPr/>
          </p:nvSpPr>
          <p:spPr bwMode="gray">
            <a:xfrm>
              <a:off x="4002267" y="5664399"/>
              <a:ext cx="1110441" cy="145544"/>
            </a:xfrm>
            <a:prstGeom prst="ellipse">
              <a:avLst/>
            </a:prstGeom>
            <a:gradFill rotWithShape="1">
              <a:gsLst>
                <a:gs pos="0">
                  <a:srgbClr val="AFAFAF"/>
                </a:gs>
                <a:gs pos="50000">
                  <a:srgbClr val="E6E6E6"/>
                </a:gs>
                <a:gs pos="100000">
                  <a:srgbClr val="AFAFAF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  <p:pic>
          <p:nvPicPr>
            <p:cNvPr id="22" name="_effect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gray">
            <a:xfrm>
              <a:off x="2336605" y="1900108"/>
              <a:ext cx="2010654" cy="3361870"/>
            </a:xfrm>
            <a:prstGeom prst="rect">
              <a:avLst/>
            </a:prstGeom>
            <a:noFill/>
            <a:ln w="9525">
              <a:miter lim="800000"/>
              <a:headEnd/>
              <a:tailEnd/>
            </a:ln>
            <a:effectLst/>
          </p:spPr>
        </p:pic>
        <p:sp>
          <p:nvSpPr>
            <p:cNvPr id="23" name="Abgerundetes Rechteck 22"/>
            <p:cNvSpPr/>
            <p:nvPr/>
          </p:nvSpPr>
          <p:spPr bwMode="gray">
            <a:xfrm>
              <a:off x="4378333" y="2582380"/>
              <a:ext cx="360000" cy="360000"/>
            </a:xfrm>
            <a:prstGeom prst="roundRect">
              <a:avLst/>
            </a:prstGeom>
            <a:solidFill>
              <a:srgbClr val="FFFFFF">
                <a:alpha val="60000"/>
              </a:srgbClr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blurRad="25400" dist="12700" dir="2700000" algn="tl" rotWithShape="0">
                <a:prstClr val="black">
                  <a:alpha val="50000"/>
                </a:prstClr>
              </a:outerShdw>
            </a:effectLst>
          </p:spPr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</a:pPr>
              <a:r>
                <a:rPr lang="de-DE" sz="2000" b="1" noProof="1" smtClean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24" name="Abgerundetes Rechteck 23"/>
            <p:cNvSpPr/>
            <p:nvPr/>
          </p:nvSpPr>
          <p:spPr bwMode="gray">
            <a:xfrm>
              <a:off x="4378333" y="4049962"/>
              <a:ext cx="360000" cy="360000"/>
            </a:xfrm>
            <a:prstGeom prst="roundRect">
              <a:avLst/>
            </a:prstGeom>
            <a:solidFill>
              <a:srgbClr val="FFFFFF">
                <a:alpha val="60000"/>
              </a:srgbClr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blurRad="25400" dist="12700" dir="2700000" algn="tl" rotWithShape="0">
                <a:prstClr val="black">
                  <a:alpha val="50000"/>
                </a:prstClr>
              </a:outerShdw>
            </a:effectLst>
          </p:spPr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</a:pPr>
              <a:r>
                <a:rPr lang="de-DE" sz="2000" b="1" noProof="1" smtClean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25" name="Abgerundetes Rechteck 24"/>
            <p:cNvSpPr/>
            <p:nvPr/>
          </p:nvSpPr>
          <p:spPr bwMode="gray">
            <a:xfrm>
              <a:off x="4378333" y="5222628"/>
              <a:ext cx="360000" cy="360000"/>
            </a:xfrm>
            <a:prstGeom prst="roundRect">
              <a:avLst/>
            </a:prstGeom>
            <a:solidFill>
              <a:srgbClr val="FFFFFF">
                <a:alpha val="60000"/>
              </a:srgbClr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blurRad="25400" dist="12700" dir="2700000" algn="tl" rotWithShape="0">
                <a:prstClr val="black">
                  <a:alpha val="50000"/>
                </a:prstClr>
              </a:outerShdw>
            </a:effectLst>
          </p:spPr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</a:pPr>
              <a:r>
                <a:rPr lang="de-DE" sz="2000" b="1" noProof="1" smtClean="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26" name="Oval 30"/>
            <p:cNvSpPr>
              <a:spLocks noChangeArrowheads="1"/>
            </p:cNvSpPr>
            <p:nvPr/>
          </p:nvSpPr>
          <p:spPr bwMode="gray">
            <a:xfrm>
              <a:off x="2200586" y="1556331"/>
              <a:ext cx="4700277" cy="513893"/>
            </a:xfrm>
            <a:prstGeom prst="ellipse">
              <a:avLst/>
            </a:prstGeom>
            <a:gradFill rotWithShape="1">
              <a:gsLst>
                <a:gs pos="0">
                  <a:srgbClr val="969696"/>
                </a:gs>
                <a:gs pos="100000">
                  <a:srgbClr val="C0C0C0"/>
                </a:gs>
              </a:gsLst>
              <a:lin ang="5400000" scaled="1"/>
            </a:gradFill>
            <a:ln w="1270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</p:grpSp>
      <p:grpSp>
        <p:nvGrpSpPr>
          <p:cNvPr id="27" name="Group 73"/>
          <p:cNvGrpSpPr>
            <a:grpSpLocks/>
          </p:cNvGrpSpPr>
          <p:nvPr/>
        </p:nvGrpSpPr>
        <p:grpSpPr bwMode="gray">
          <a:xfrm>
            <a:off x="2037957" y="1973779"/>
            <a:ext cx="1577617" cy="2919849"/>
            <a:chOff x="1491" y="1363"/>
            <a:chExt cx="878" cy="1625"/>
          </a:xfrm>
        </p:grpSpPr>
        <p:sp>
          <p:nvSpPr>
            <p:cNvPr id="28" name="Text Box 45"/>
            <p:cNvSpPr txBox="1">
              <a:spLocks noChangeArrowheads="1"/>
            </p:cNvSpPr>
            <p:nvPr/>
          </p:nvSpPr>
          <p:spPr bwMode="gray">
            <a:xfrm rot="3595528">
              <a:off x="1092" y="2114"/>
              <a:ext cx="1393" cy="2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>
              <a:spAutoFit/>
            </a:bodyPr>
            <a:lstStyle/>
            <a:p>
              <a:pPr marL="180000" indent="-180000" algn="ct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de-DE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nter your own text here</a:t>
              </a:r>
            </a:p>
          </p:txBody>
        </p:sp>
        <p:sp>
          <p:nvSpPr>
            <p:cNvPr id="29" name="Line 46"/>
            <p:cNvSpPr>
              <a:spLocks noChangeShapeType="1"/>
            </p:cNvSpPr>
            <p:nvPr/>
          </p:nvSpPr>
          <p:spPr bwMode="gray">
            <a:xfrm rot="21500941" flipH="1" flipV="1">
              <a:off x="1491" y="1363"/>
              <a:ext cx="878" cy="1625"/>
            </a:xfrm>
            <a:prstGeom prst="line">
              <a:avLst/>
            </a:prstGeom>
            <a:noFill/>
            <a:ln w="28575" cap="sq">
              <a:solidFill>
                <a:schemeClr val="tx1"/>
              </a:solidFill>
              <a:prstDash val="sysDot"/>
              <a:round/>
              <a:headEnd type="triangle" w="med" len="med"/>
              <a:tailEnd/>
            </a:ln>
          </p:spPr>
          <p:txBody>
            <a:bodyPr/>
            <a:lstStyle/>
            <a:p>
              <a:endParaRPr lang="de-DE" noProof="1"/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5310187" y="1804877"/>
            <a:ext cx="3507890" cy="3934920"/>
            <a:chOff x="5310187" y="1804877"/>
            <a:chExt cx="3507890" cy="3934920"/>
          </a:xfrm>
        </p:grpSpPr>
        <p:grpSp>
          <p:nvGrpSpPr>
            <p:cNvPr id="30" name="Gruppieren 29"/>
            <p:cNvGrpSpPr/>
            <p:nvPr/>
          </p:nvGrpSpPr>
          <p:grpSpPr>
            <a:xfrm>
              <a:off x="5310187" y="1804877"/>
              <a:ext cx="3507890" cy="3934920"/>
              <a:chOff x="5310187" y="1804877"/>
              <a:chExt cx="3507890" cy="3934920"/>
            </a:xfrm>
          </p:grpSpPr>
          <p:sp>
            <p:nvSpPr>
              <p:cNvPr id="31" name="Line 12"/>
              <p:cNvSpPr>
                <a:spLocks noChangeShapeType="1"/>
              </p:cNvSpPr>
              <p:nvPr/>
            </p:nvSpPr>
            <p:spPr bwMode="gray">
              <a:xfrm>
                <a:off x="6187440" y="3409445"/>
                <a:ext cx="2630637" cy="0"/>
              </a:xfrm>
              <a:prstGeom prst="line">
                <a:avLst/>
              </a:prstGeom>
              <a:noFill/>
              <a:ln w="19050" cap="sq">
                <a:solidFill>
                  <a:srgbClr val="868282"/>
                </a:solidFill>
                <a:prstDash val="sysDot"/>
                <a:round/>
                <a:headEnd/>
                <a:tailEnd/>
              </a:ln>
            </p:spPr>
            <p:txBody>
              <a:bodyPr/>
              <a:lstStyle/>
              <a:p>
                <a:endParaRPr lang="de-DE" noProof="1"/>
              </a:p>
            </p:txBody>
          </p:sp>
          <p:sp>
            <p:nvSpPr>
              <p:cNvPr id="32" name="Line 38"/>
              <p:cNvSpPr>
                <a:spLocks noChangeShapeType="1"/>
              </p:cNvSpPr>
              <p:nvPr/>
            </p:nvSpPr>
            <p:spPr bwMode="gray">
              <a:xfrm>
                <a:off x="5310187" y="4950575"/>
                <a:ext cx="3507890" cy="0"/>
              </a:xfrm>
              <a:prstGeom prst="line">
                <a:avLst/>
              </a:prstGeom>
              <a:noFill/>
              <a:ln w="19050" cap="sq">
                <a:solidFill>
                  <a:schemeClr val="tx1">
                    <a:lumMod val="50000"/>
                    <a:lumOff val="50000"/>
                  </a:schemeClr>
                </a:solidFill>
                <a:prstDash val="sysDot"/>
                <a:round/>
                <a:headEnd/>
                <a:tailEnd/>
              </a:ln>
            </p:spPr>
            <p:txBody>
              <a:bodyPr/>
              <a:lstStyle/>
              <a:p>
                <a:endParaRPr lang="de-DE" noProof="1"/>
              </a:p>
            </p:txBody>
          </p:sp>
          <p:sp>
            <p:nvSpPr>
              <p:cNvPr id="33" name="Line 39"/>
              <p:cNvSpPr>
                <a:spLocks noChangeShapeType="1"/>
              </p:cNvSpPr>
              <p:nvPr/>
            </p:nvSpPr>
            <p:spPr bwMode="gray">
              <a:xfrm>
                <a:off x="5310187" y="5739797"/>
                <a:ext cx="3507890" cy="0"/>
              </a:xfrm>
              <a:prstGeom prst="line">
                <a:avLst/>
              </a:prstGeom>
              <a:noFill/>
              <a:ln w="19050" cap="sq">
                <a:solidFill>
                  <a:srgbClr val="868282"/>
                </a:solidFill>
                <a:prstDash val="sysDot"/>
                <a:round/>
                <a:headEnd/>
                <a:tailEnd/>
              </a:ln>
            </p:spPr>
            <p:txBody>
              <a:bodyPr/>
              <a:lstStyle/>
              <a:p>
                <a:endParaRPr lang="de-DE" noProof="1"/>
              </a:p>
            </p:txBody>
          </p:sp>
          <p:sp>
            <p:nvSpPr>
              <p:cNvPr id="34" name="Line 11"/>
              <p:cNvSpPr>
                <a:spLocks noChangeShapeType="1"/>
              </p:cNvSpPr>
              <p:nvPr/>
            </p:nvSpPr>
            <p:spPr bwMode="gray">
              <a:xfrm>
                <a:off x="7094220" y="1804877"/>
                <a:ext cx="1723857" cy="0"/>
              </a:xfrm>
              <a:prstGeom prst="line">
                <a:avLst/>
              </a:prstGeom>
              <a:noFill/>
              <a:ln w="19050" cap="sq">
                <a:solidFill>
                  <a:srgbClr val="868282"/>
                </a:solidFill>
                <a:prstDash val="sysDot"/>
                <a:round/>
                <a:headEnd/>
                <a:tailEnd/>
              </a:ln>
            </p:spPr>
            <p:txBody>
              <a:bodyPr/>
              <a:lstStyle/>
              <a:p>
                <a:endParaRPr lang="de-DE" noProof="1"/>
              </a:p>
            </p:txBody>
          </p:sp>
        </p:grpSp>
        <p:sp>
          <p:nvSpPr>
            <p:cNvPr id="35" name="Text Box 9"/>
            <p:cNvSpPr txBox="1">
              <a:spLocks noChangeArrowheads="1"/>
            </p:cNvSpPr>
            <p:nvPr/>
          </p:nvSpPr>
          <p:spPr bwMode="gray">
            <a:xfrm>
              <a:off x="6893366" y="2306473"/>
              <a:ext cx="1915658" cy="5262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marL="180000" indent="-177800" algn="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de-DE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his is a place </a:t>
              </a:r>
              <a: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/>
              </a:r>
              <a:b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or your own text.</a:t>
              </a:r>
              <a:endParaRPr lang="de-DE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6" name="Text Box 10"/>
            <p:cNvSpPr txBox="1">
              <a:spLocks noChangeArrowheads="1"/>
            </p:cNvSpPr>
            <p:nvPr/>
          </p:nvSpPr>
          <p:spPr bwMode="gray">
            <a:xfrm>
              <a:off x="6187440" y="3776578"/>
              <a:ext cx="2621584" cy="7894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marL="180000" indent="-177800" algn="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US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his text can </a:t>
              </a:r>
              <a:br>
                <a:rPr lang="en-US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e replaced with </a:t>
              </a:r>
              <a:br>
                <a:rPr lang="en-US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your own text.</a:t>
              </a:r>
              <a:endParaRPr lang="de-DE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7" name="Text Box 40"/>
            <p:cNvSpPr txBox="1">
              <a:spLocks noChangeArrowheads="1"/>
            </p:cNvSpPr>
            <p:nvPr/>
          </p:nvSpPr>
          <p:spPr bwMode="gray">
            <a:xfrm>
              <a:off x="5500045" y="5073328"/>
              <a:ext cx="3308980" cy="5262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marL="180000" indent="-177800" algn="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his is a place </a:t>
              </a:r>
              <a:b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or your own text.</a:t>
              </a:r>
              <a:endParaRPr lang="de-DE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pic>
        <p:nvPicPr>
          <p:cNvPr id="43" name="_effect" descr="C:\Users\marc.h\Desktop\Schatten-TEST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01403" y="5843948"/>
            <a:ext cx="1898641" cy="3615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5336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Funnels - 3D 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noProof="1"/>
              <a:t>4 </a:t>
            </a:r>
            <a:r>
              <a:rPr lang="en-US" noProof="1" smtClean="0"/>
              <a:t>Step Divisions</a:t>
            </a:r>
            <a:endParaRPr lang="en-US" noProof="1"/>
          </a:p>
        </p:txBody>
      </p:sp>
      <p:grpSp>
        <p:nvGrpSpPr>
          <p:cNvPr id="16" name="Group 73"/>
          <p:cNvGrpSpPr>
            <a:grpSpLocks/>
          </p:cNvGrpSpPr>
          <p:nvPr/>
        </p:nvGrpSpPr>
        <p:grpSpPr bwMode="gray">
          <a:xfrm>
            <a:off x="2037957" y="1973779"/>
            <a:ext cx="1577617" cy="2919849"/>
            <a:chOff x="1491" y="1363"/>
            <a:chExt cx="878" cy="1625"/>
          </a:xfrm>
        </p:grpSpPr>
        <p:sp>
          <p:nvSpPr>
            <p:cNvPr id="17" name="Text Box 45"/>
            <p:cNvSpPr txBox="1">
              <a:spLocks noChangeArrowheads="1"/>
            </p:cNvSpPr>
            <p:nvPr/>
          </p:nvSpPr>
          <p:spPr bwMode="gray">
            <a:xfrm rot="3595528">
              <a:off x="1092" y="2114"/>
              <a:ext cx="1393" cy="2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>
              <a:spAutoFit/>
            </a:bodyPr>
            <a:lstStyle/>
            <a:p>
              <a:pPr marL="180000" indent="-180000" algn="ct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de-DE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nter your own text here</a:t>
              </a:r>
            </a:p>
          </p:txBody>
        </p:sp>
        <p:sp>
          <p:nvSpPr>
            <p:cNvPr id="18" name="Line 46"/>
            <p:cNvSpPr>
              <a:spLocks noChangeShapeType="1"/>
            </p:cNvSpPr>
            <p:nvPr/>
          </p:nvSpPr>
          <p:spPr bwMode="gray">
            <a:xfrm rot="21500941" flipH="1" flipV="1">
              <a:off x="1491" y="1363"/>
              <a:ext cx="878" cy="1625"/>
            </a:xfrm>
            <a:prstGeom prst="line">
              <a:avLst/>
            </a:prstGeom>
            <a:noFill/>
            <a:ln w="28575" cap="sq">
              <a:solidFill>
                <a:schemeClr val="tx1"/>
              </a:solidFill>
              <a:prstDash val="sysDot"/>
              <a:round/>
              <a:headEnd type="triangle" w="med" len="med"/>
              <a:tailEnd/>
            </a:ln>
          </p:spPr>
          <p:txBody>
            <a:bodyPr/>
            <a:lstStyle/>
            <a:p>
              <a:endParaRPr lang="de-DE" noProof="1"/>
            </a:p>
          </p:txBody>
        </p:sp>
      </p:grpSp>
      <p:grpSp>
        <p:nvGrpSpPr>
          <p:cNvPr id="9" name="Gruppieren 8"/>
          <p:cNvGrpSpPr/>
          <p:nvPr/>
        </p:nvGrpSpPr>
        <p:grpSpPr>
          <a:xfrm>
            <a:off x="5310187" y="1804877"/>
            <a:ext cx="3507890" cy="3934920"/>
            <a:chOff x="5310187" y="1804877"/>
            <a:chExt cx="3507890" cy="3934920"/>
          </a:xfrm>
        </p:grpSpPr>
        <p:sp>
          <p:nvSpPr>
            <p:cNvPr id="32" name="Text Box 9"/>
            <p:cNvSpPr txBox="1">
              <a:spLocks noChangeArrowheads="1"/>
            </p:cNvSpPr>
            <p:nvPr/>
          </p:nvSpPr>
          <p:spPr bwMode="gray">
            <a:xfrm>
              <a:off x="5946672" y="4156499"/>
              <a:ext cx="2862352" cy="5262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marL="180000" indent="-177800" algn="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de-DE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his is a place </a:t>
              </a:r>
              <a: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/>
              </a:r>
              <a:b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or your own text.</a:t>
              </a:r>
              <a:endParaRPr lang="de-DE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3" name="Text Box 9"/>
            <p:cNvSpPr txBox="1">
              <a:spLocks noChangeArrowheads="1"/>
            </p:cNvSpPr>
            <p:nvPr/>
          </p:nvSpPr>
          <p:spPr bwMode="gray">
            <a:xfrm>
              <a:off x="6515099" y="2998835"/>
              <a:ext cx="2293925" cy="7894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marL="180000" indent="-177800" algn="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US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his text can </a:t>
              </a:r>
              <a:br>
                <a:rPr lang="en-US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e replaced with </a:t>
              </a:r>
              <a:br>
                <a:rPr lang="en-US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your own text.</a:t>
              </a:r>
              <a:endParaRPr lang="de-DE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4" name="Text Box 9"/>
            <p:cNvSpPr txBox="1">
              <a:spLocks noChangeArrowheads="1"/>
            </p:cNvSpPr>
            <p:nvPr/>
          </p:nvSpPr>
          <p:spPr bwMode="gray">
            <a:xfrm>
              <a:off x="6896100" y="2089190"/>
              <a:ext cx="1912924" cy="5262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marL="180000" indent="-177800" algn="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de-DE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his is a place </a:t>
              </a:r>
              <a: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/>
              </a:r>
              <a:b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or your own text.</a:t>
              </a:r>
              <a:endParaRPr lang="de-DE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7" name="Text Box 40"/>
            <p:cNvSpPr txBox="1">
              <a:spLocks noChangeArrowheads="1"/>
            </p:cNvSpPr>
            <p:nvPr/>
          </p:nvSpPr>
          <p:spPr bwMode="gray">
            <a:xfrm>
              <a:off x="5500045" y="5073328"/>
              <a:ext cx="3308980" cy="5262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marL="180000" indent="-177800" algn="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his is a place </a:t>
              </a:r>
              <a:b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or your own text.</a:t>
              </a:r>
              <a:endParaRPr lang="de-DE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9" name="Line 17"/>
            <p:cNvSpPr>
              <a:spLocks noChangeShapeType="1"/>
            </p:cNvSpPr>
            <p:nvPr/>
          </p:nvSpPr>
          <p:spPr bwMode="gray">
            <a:xfrm>
              <a:off x="6515099" y="2880322"/>
              <a:ext cx="2298221" cy="0"/>
            </a:xfrm>
            <a:prstGeom prst="line">
              <a:avLst/>
            </a:prstGeom>
            <a:noFill/>
            <a:ln w="19050" cap="sq">
              <a:solidFill>
                <a:srgbClr val="868282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" name="Line 75"/>
            <p:cNvSpPr>
              <a:spLocks noChangeShapeType="1"/>
            </p:cNvSpPr>
            <p:nvPr/>
          </p:nvSpPr>
          <p:spPr bwMode="gray">
            <a:xfrm>
              <a:off x="5946672" y="3889375"/>
              <a:ext cx="2866650" cy="0"/>
            </a:xfrm>
            <a:prstGeom prst="line">
              <a:avLst/>
            </a:prstGeom>
            <a:noFill/>
            <a:ln w="19050" cap="sq">
              <a:solidFill>
                <a:srgbClr val="868282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" name="Line 11"/>
            <p:cNvSpPr>
              <a:spLocks noChangeShapeType="1"/>
            </p:cNvSpPr>
            <p:nvPr/>
          </p:nvSpPr>
          <p:spPr bwMode="gray">
            <a:xfrm>
              <a:off x="7094220" y="1804877"/>
              <a:ext cx="1719102" cy="0"/>
            </a:xfrm>
            <a:prstGeom prst="line">
              <a:avLst/>
            </a:prstGeom>
            <a:noFill/>
            <a:ln w="19050" cap="sq">
              <a:solidFill>
                <a:srgbClr val="868282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  <p:sp>
          <p:nvSpPr>
            <p:cNvPr id="42" name="Line 38"/>
            <p:cNvSpPr>
              <a:spLocks noChangeShapeType="1"/>
            </p:cNvSpPr>
            <p:nvPr/>
          </p:nvSpPr>
          <p:spPr bwMode="gray">
            <a:xfrm>
              <a:off x="5310187" y="4950575"/>
              <a:ext cx="3507890" cy="0"/>
            </a:xfrm>
            <a:prstGeom prst="line">
              <a:avLst/>
            </a:prstGeom>
            <a:noFill/>
            <a:ln w="19050" cap="sq">
              <a:solidFill>
                <a:srgbClr val="868282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  <p:sp>
          <p:nvSpPr>
            <p:cNvPr id="43" name="Line 39"/>
            <p:cNvSpPr>
              <a:spLocks noChangeShapeType="1"/>
            </p:cNvSpPr>
            <p:nvPr/>
          </p:nvSpPr>
          <p:spPr bwMode="gray">
            <a:xfrm>
              <a:off x="5310187" y="5739797"/>
              <a:ext cx="3507890" cy="0"/>
            </a:xfrm>
            <a:prstGeom prst="line">
              <a:avLst/>
            </a:prstGeom>
            <a:noFill/>
            <a:ln w="19050" cap="sq">
              <a:solidFill>
                <a:srgbClr val="868282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</p:grpSp>
      <p:pic>
        <p:nvPicPr>
          <p:cNvPr id="47" name="_effect" descr="C:\Users\marc.h\Desktop\Schatten-TES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01403" y="5843948"/>
            <a:ext cx="1898641" cy="361581"/>
          </a:xfrm>
          <a:prstGeom prst="rect">
            <a:avLst/>
          </a:prstGeom>
          <a:noFill/>
        </p:spPr>
      </p:pic>
      <p:grpSp>
        <p:nvGrpSpPr>
          <p:cNvPr id="7" name="Gruppieren 6"/>
          <p:cNvGrpSpPr/>
          <p:nvPr/>
        </p:nvGrpSpPr>
        <p:grpSpPr>
          <a:xfrm>
            <a:off x="2205857" y="1557195"/>
            <a:ext cx="4690243" cy="4252748"/>
            <a:chOff x="2205857" y="1557195"/>
            <a:chExt cx="4690243" cy="4252748"/>
          </a:xfrm>
          <a:effectLst>
            <a:outerShdw blurRad="660400" dir="18900000" sy="23000" kx="-1200000" algn="bl" rotWithShape="0">
              <a:prstClr val="black">
                <a:alpha val="20000"/>
              </a:prstClr>
            </a:outerShdw>
          </a:effectLst>
        </p:grpSpPr>
        <p:pic>
          <p:nvPicPr>
            <p:cNvPr id="19" name="Picture 7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gray">
            <a:xfrm>
              <a:off x="2341710" y="1900005"/>
              <a:ext cx="2008398" cy="3358099"/>
            </a:xfrm>
            <a:prstGeom prst="rect">
              <a:avLst/>
            </a:prstGeom>
            <a:noFill/>
            <a:ln w="9525">
              <a:miter lim="800000"/>
              <a:headEnd/>
              <a:tailEnd/>
            </a:ln>
            <a:effectLst/>
          </p:spPr>
        </p:pic>
        <p:sp>
          <p:nvSpPr>
            <p:cNvPr id="20" name="_color1"/>
            <p:cNvSpPr>
              <a:spLocks/>
            </p:cNvSpPr>
            <p:nvPr/>
          </p:nvSpPr>
          <p:spPr bwMode="gray">
            <a:xfrm>
              <a:off x="2815542" y="2887153"/>
              <a:ext cx="3482864" cy="1166630"/>
            </a:xfrm>
            <a:custGeom>
              <a:avLst/>
              <a:gdLst/>
              <a:ahLst/>
              <a:cxnLst>
                <a:cxn ang="0">
                  <a:pos x="359" y="39"/>
                </a:cxn>
                <a:cxn ang="0">
                  <a:pos x="0" y="0"/>
                </a:cxn>
                <a:cxn ang="0">
                  <a:pos x="59" y="101"/>
                </a:cxn>
                <a:cxn ang="0">
                  <a:pos x="60" y="104"/>
                </a:cxn>
                <a:cxn ang="0">
                  <a:pos x="62" y="107"/>
                </a:cxn>
                <a:cxn ang="0">
                  <a:pos x="120" y="208"/>
                </a:cxn>
                <a:cxn ang="0">
                  <a:pos x="120" y="208"/>
                </a:cxn>
                <a:cxn ang="0">
                  <a:pos x="123" y="213"/>
                </a:cxn>
                <a:cxn ang="0">
                  <a:pos x="359" y="240"/>
                </a:cxn>
                <a:cxn ang="0">
                  <a:pos x="595" y="213"/>
                </a:cxn>
                <a:cxn ang="0">
                  <a:pos x="598" y="208"/>
                </a:cxn>
                <a:cxn ang="0">
                  <a:pos x="598" y="208"/>
                </a:cxn>
                <a:cxn ang="0">
                  <a:pos x="656" y="107"/>
                </a:cxn>
                <a:cxn ang="0">
                  <a:pos x="658" y="104"/>
                </a:cxn>
                <a:cxn ang="0">
                  <a:pos x="660" y="101"/>
                </a:cxn>
                <a:cxn ang="0">
                  <a:pos x="718" y="0"/>
                </a:cxn>
                <a:cxn ang="0">
                  <a:pos x="359" y="39"/>
                </a:cxn>
              </a:cxnLst>
              <a:rect l="0" t="0" r="r" b="b"/>
              <a:pathLst>
                <a:path w="718" h="240">
                  <a:moveTo>
                    <a:pt x="359" y="39"/>
                  </a:moveTo>
                  <a:cubicBezTo>
                    <a:pt x="176" y="39"/>
                    <a:pt x="25" y="22"/>
                    <a:pt x="0" y="0"/>
                  </a:cubicBezTo>
                  <a:cubicBezTo>
                    <a:pt x="59" y="101"/>
                    <a:pt x="59" y="101"/>
                    <a:pt x="59" y="101"/>
                  </a:cubicBezTo>
                  <a:cubicBezTo>
                    <a:pt x="60" y="104"/>
                    <a:pt x="60" y="104"/>
                    <a:pt x="60" y="104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120" y="208"/>
                    <a:pt x="120" y="208"/>
                    <a:pt x="120" y="208"/>
                  </a:cubicBezTo>
                  <a:cubicBezTo>
                    <a:pt x="120" y="208"/>
                    <a:pt x="120" y="208"/>
                    <a:pt x="120" y="208"/>
                  </a:cubicBezTo>
                  <a:cubicBezTo>
                    <a:pt x="123" y="213"/>
                    <a:pt x="123" y="213"/>
                    <a:pt x="123" y="213"/>
                  </a:cubicBezTo>
                  <a:cubicBezTo>
                    <a:pt x="141" y="228"/>
                    <a:pt x="240" y="240"/>
                    <a:pt x="359" y="240"/>
                  </a:cubicBezTo>
                  <a:cubicBezTo>
                    <a:pt x="478" y="240"/>
                    <a:pt x="577" y="228"/>
                    <a:pt x="595" y="213"/>
                  </a:cubicBezTo>
                  <a:cubicBezTo>
                    <a:pt x="598" y="208"/>
                    <a:pt x="598" y="208"/>
                    <a:pt x="598" y="208"/>
                  </a:cubicBezTo>
                  <a:cubicBezTo>
                    <a:pt x="598" y="208"/>
                    <a:pt x="598" y="208"/>
                    <a:pt x="598" y="208"/>
                  </a:cubicBezTo>
                  <a:cubicBezTo>
                    <a:pt x="656" y="107"/>
                    <a:pt x="656" y="107"/>
                    <a:pt x="656" y="107"/>
                  </a:cubicBezTo>
                  <a:cubicBezTo>
                    <a:pt x="658" y="104"/>
                    <a:pt x="658" y="104"/>
                    <a:pt x="658" y="104"/>
                  </a:cubicBezTo>
                  <a:cubicBezTo>
                    <a:pt x="660" y="101"/>
                    <a:pt x="660" y="101"/>
                    <a:pt x="660" y="101"/>
                  </a:cubicBezTo>
                  <a:cubicBezTo>
                    <a:pt x="718" y="0"/>
                    <a:pt x="718" y="0"/>
                    <a:pt x="718" y="0"/>
                  </a:cubicBezTo>
                  <a:cubicBezTo>
                    <a:pt x="693" y="22"/>
                    <a:pt x="542" y="39"/>
                    <a:pt x="359" y="39"/>
                  </a:cubicBez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53000">
                  <a:schemeClr val="tx2">
                    <a:lumMod val="60000"/>
                    <a:lumOff val="40000"/>
                  </a:schemeClr>
                </a:gs>
                <a:gs pos="100000">
                  <a:schemeClr val="tx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  <p:sp>
          <p:nvSpPr>
            <p:cNvPr id="21" name="Freeform 52"/>
            <p:cNvSpPr>
              <a:spLocks/>
            </p:cNvSpPr>
            <p:nvPr/>
          </p:nvSpPr>
          <p:spPr bwMode="gray">
            <a:xfrm>
              <a:off x="2219663" y="1853340"/>
              <a:ext cx="4668314" cy="1222270"/>
            </a:xfrm>
            <a:custGeom>
              <a:avLst/>
              <a:gdLst/>
              <a:ahLst/>
              <a:cxnLst>
                <a:cxn ang="0">
                  <a:pos x="482" y="45"/>
                </a:cxn>
                <a:cxn ang="0">
                  <a:pos x="0" y="0"/>
                </a:cxn>
                <a:cxn ang="0">
                  <a:pos x="120" y="207"/>
                </a:cxn>
                <a:cxn ang="0">
                  <a:pos x="123" y="213"/>
                </a:cxn>
                <a:cxn ang="0">
                  <a:pos x="482" y="252"/>
                </a:cxn>
                <a:cxn ang="0">
                  <a:pos x="841" y="213"/>
                </a:cxn>
                <a:cxn ang="0">
                  <a:pos x="844" y="207"/>
                </a:cxn>
                <a:cxn ang="0">
                  <a:pos x="844" y="207"/>
                </a:cxn>
                <a:cxn ang="0">
                  <a:pos x="963" y="0"/>
                </a:cxn>
                <a:cxn ang="0">
                  <a:pos x="482" y="45"/>
                </a:cxn>
              </a:cxnLst>
              <a:rect l="0" t="0" r="r" b="b"/>
              <a:pathLst>
                <a:path w="963" h="252">
                  <a:moveTo>
                    <a:pt x="482" y="45"/>
                  </a:moveTo>
                  <a:cubicBezTo>
                    <a:pt x="238" y="45"/>
                    <a:pt x="35" y="25"/>
                    <a:pt x="0" y="0"/>
                  </a:cubicBezTo>
                  <a:cubicBezTo>
                    <a:pt x="120" y="207"/>
                    <a:pt x="120" y="207"/>
                    <a:pt x="120" y="207"/>
                  </a:cubicBezTo>
                  <a:cubicBezTo>
                    <a:pt x="123" y="213"/>
                    <a:pt x="123" y="213"/>
                    <a:pt x="123" y="213"/>
                  </a:cubicBezTo>
                  <a:cubicBezTo>
                    <a:pt x="148" y="235"/>
                    <a:pt x="299" y="252"/>
                    <a:pt x="482" y="252"/>
                  </a:cubicBezTo>
                  <a:cubicBezTo>
                    <a:pt x="665" y="252"/>
                    <a:pt x="816" y="235"/>
                    <a:pt x="841" y="213"/>
                  </a:cubicBezTo>
                  <a:cubicBezTo>
                    <a:pt x="844" y="207"/>
                    <a:pt x="844" y="207"/>
                    <a:pt x="844" y="207"/>
                  </a:cubicBezTo>
                  <a:cubicBezTo>
                    <a:pt x="844" y="207"/>
                    <a:pt x="844" y="207"/>
                    <a:pt x="844" y="207"/>
                  </a:cubicBezTo>
                  <a:cubicBezTo>
                    <a:pt x="963" y="0"/>
                    <a:pt x="963" y="0"/>
                    <a:pt x="963" y="0"/>
                  </a:cubicBezTo>
                  <a:cubicBezTo>
                    <a:pt x="928" y="25"/>
                    <a:pt x="726" y="45"/>
                    <a:pt x="482" y="45"/>
                  </a:cubicBezTo>
                  <a:close/>
                </a:path>
              </a:pathLst>
            </a:custGeom>
            <a:gradFill rotWithShape="1">
              <a:gsLst>
                <a:gs pos="0">
                  <a:srgbClr val="969696"/>
                </a:gs>
                <a:gs pos="50000">
                  <a:srgbClr val="E6E6E6"/>
                </a:gs>
                <a:gs pos="100000">
                  <a:srgbClr val="969696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  <p:sp>
          <p:nvSpPr>
            <p:cNvPr id="22" name="_color1"/>
            <p:cNvSpPr>
              <a:spLocks noChangeArrowheads="1"/>
            </p:cNvSpPr>
            <p:nvPr/>
          </p:nvSpPr>
          <p:spPr bwMode="gray">
            <a:xfrm>
              <a:off x="3397062" y="3745075"/>
              <a:ext cx="2315311" cy="308708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  <p:sp>
          <p:nvSpPr>
            <p:cNvPr id="23" name="_color1"/>
            <p:cNvSpPr>
              <a:spLocks noChangeArrowheads="1"/>
            </p:cNvSpPr>
            <p:nvPr/>
          </p:nvSpPr>
          <p:spPr bwMode="gray">
            <a:xfrm>
              <a:off x="2807493" y="2647089"/>
              <a:ext cx="3495675" cy="436141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  <p:sp>
          <p:nvSpPr>
            <p:cNvPr id="25" name="Freeform 50"/>
            <p:cNvSpPr>
              <a:spLocks/>
            </p:cNvSpPr>
            <p:nvPr/>
          </p:nvSpPr>
          <p:spPr bwMode="gray">
            <a:xfrm>
              <a:off x="3402366" y="3916791"/>
              <a:ext cx="2305490" cy="109304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2" y="210"/>
                </a:cxn>
                <a:cxn ang="0">
                  <a:pos x="123" y="212"/>
                </a:cxn>
                <a:cxn ang="0">
                  <a:pos x="124" y="213"/>
                </a:cxn>
                <a:cxn ang="0">
                  <a:pos x="125" y="213"/>
                </a:cxn>
                <a:cxn ang="0">
                  <a:pos x="127" y="214"/>
                </a:cxn>
                <a:cxn ang="0">
                  <a:pos x="128" y="215"/>
                </a:cxn>
                <a:cxn ang="0">
                  <a:pos x="130" y="215"/>
                </a:cxn>
                <a:cxn ang="0">
                  <a:pos x="132" y="216"/>
                </a:cxn>
                <a:cxn ang="0">
                  <a:pos x="134" y="216"/>
                </a:cxn>
                <a:cxn ang="0">
                  <a:pos x="137" y="217"/>
                </a:cxn>
                <a:cxn ang="0">
                  <a:pos x="139" y="218"/>
                </a:cxn>
                <a:cxn ang="0">
                  <a:pos x="159" y="221"/>
                </a:cxn>
                <a:cxn ang="0">
                  <a:pos x="162" y="221"/>
                </a:cxn>
                <a:cxn ang="0">
                  <a:pos x="166" y="222"/>
                </a:cxn>
                <a:cxn ang="0">
                  <a:pos x="170" y="222"/>
                </a:cxn>
                <a:cxn ang="0">
                  <a:pos x="174" y="222"/>
                </a:cxn>
                <a:cxn ang="0">
                  <a:pos x="179" y="223"/>
                </a:cxn>
                <a:cxn ang="0">
                  <a:pos x="184" y="223"/>
                </a:cxn>
                <a:cxn ang="0">
                  <a:pos x="188" y="223"/>
                </a:cxn>
                <a:cxn ang="0">
                  <a:pos x="193" y="224"/>
                </a:cxn>
                <a:cxn ang="0">
                  <a:pos x="198" y="224"/>
                </a:cxn>
                <a:cxn ang="0">
                  <a:pos x="204" y="224"/>
                </a:cxn>
                <a:cxn ang="0">
                  <a:pos x="209" y="224"/>
                </a:cxn>
                <a:cxn ang="0">
                  <a:pos x="214" y="224"/>
                </a:cxn>
                <a:cxn ang="0">
                  <a:pos x="220" y="225"/>
                </a:cxn>
                <a:cxn ang="0">
                  <a:pos x="225" y="225"/>
                </a:cxn>
                <a:cxn ang="0">
                  <a:pos x="231" y="225"/>
                </a:cxn>
                <a:cxn ang="0">
                  <a:pos x="242" y="225"/>
                </a:cxn>
                <a:cxn ang="0">
                  <a:pos x="248" y="225"/>
                </a:cxn>
                <a:cxn ang="0">
                  <a:pos x="254" y="225"/>
                </a:cxn>
                <a:cxn ang="0">
                  <a:pos x="259" y="224"/>
                </a:cxn>
                <a:cxn ang="0">
                  <a:pos x="264" y="224"/>
                </a:cxn>
                <a:cxn ang="0">
                  <a:pos x="270" y="224"/>
                </a:cxn>
                <a:cxn ang="0">
                  <a:pos x="275" y="224"/>
                </a:cxn>
                <a:cxn ang="0">
                  <a:pos x="280" y="224"/>
                </a:cxn>
                <a:cxn ang="0">
                  <a:pos x="285" y="223"/>
                </a:cxn>
                <a:cxn ang="0">
                  <a:pos x="289" y="223"/>
                </a:cxn>
                <a:cxn ang="0">
                  <a:pos x="294" y="223"/>
                </a:cxn>
                <a:cxn ang="0">
                  <a:pos x="298" y="222"/>
                </a:cxn>
                <a:cxn ang="0">
                  <a:pos x="301" y="222"/>
                </a:cxn>
                <a:cxn ang="0">
                  <a:pos x="313" y="221"/>
                </a:cxn>
                <a:cxn ang="0">
                  <a:pos x="317" y="220"/>
                </a:cxn>
                <a:cxn ang="0">
                  <a:pos x="321" y="220"/>
                </a:cxn>
                <a:cxn ang="0">
                  <a:pos x="324" y="219"/>
                </a:cxn>
                <a:cxn ang="0">
                  <a:pos x="327" y="219"/>
                </a:cxn>
                <a:cxn ang="0">
                  <a:pos x="330" y="218"/>
                </a:cxn>
                <a:cxn ang="0">
                  <a:pos x="333" y="218"/>
                </a:cxn>
                <a:cxn ang="0">
                  <a:pos x="336" y="217"/>
                </a:cxn>
                <a:cxn ang="0">
                  <a:pos x="338" y="217"/>
                </a:cxn>
                <a:cxn ang="0">
                  <a:pos x="350" y="211"/>
                </a:cxn>
                <a:cxn ang="0">
                  <a:pos x="351" y="210"/>
                </a:cxn>
                <a:cxn ang="0">
                  <a:pos x="351" y="210"/>
                </a:cxn>
                <a:cxn ang="0">
                  <a:pos x="236" y="27"/>
                </a:cxn>
              </a:cxnLst>
              <a:rect l="0" t="0" r="r" b="b"/>
              <a:pathLst>
                <a:path w="472" h="225">
                  <a:moveTo>
                    <a:pt x="236" y="27"/>
                  </a:moveTo>
                  <a:cubicBezTo>
                    <a:pt x="117" y="27"/>
                    <a:pt x="18" y="15"/>
                    <a:pt x="0" y="0"/>
                  </a:cubicBezTo>
                  <a:cubicBezTo>
                    <a:pt x="121" y="210"/>
                    <a:pt x="121" y="210"/>
                    <a:pt x="121" y="210"/>
                  </a:cubicBezTo>
                  <a:cubicBezTo>
                    <a:pt x="122" y="210"/>
                    <a:pt x="122" y="210"/>
                    <a:pt x="122" y="210"/>
                  </a:cubicBezTo>
                  <a:cubicBezTo>
                    <a:pt x="122" y="210"/>
                    <a:pt x="122" y="211"/>
                    <a:pt x="123" y="211"/>
                  </a:cubicBezTo>
                  <a:cubicBezTo>
                    <a:pt x="123" y="211"/>
                    <a:pt x="123" y="212"/>
                    <a:pt x="123" y="212"/>
                  </a:cubicBezTo>
                  <a:cubicBezTo>
                    <a:pt x="123" y="212"/>
                    <a:pt x="123" y="212"/>
                    <a:pt x="123" y="212"/>
                  </a:cubicBezTo>
                  <a:cubicBezTo>
                    <a:pt x="124" y="212"/>
                    <a:pt x="124" y="212"/>
                    <a:pt x="124" y="213"/>
                  </a:cubicBezTo>
                  <a:cubicBezTo>
                    <a:pt x="124" y="213"/>
                    <a:pt x="124" y="213"/>
                    <a:pt x="124" y="213"/>
                  </a:cubicBezTo>
                  <a:cubicBezTo>
                    <a:pt x="125" y="213"/>
                    <a:pt x="125" y="213"/>
                    <a:pt x="125" y="213"/>
                  </a:cubicBezTo>
                  <a:cubicBezTo>
                    <a:pt x="125" y="213"/>
                    <a:pt x="125" y="213"/>
                    <a:pt x="125" y="213"/>
                  </a:cubicBezTo>
                  <a:cubicBezTo>
                    <a:pt x="126" y="214"/>
                    <a:pt x="126" y="214"/>
                    <a:pt x="127" y="214"/>
                  </a:cubicBezTo>
                  <a:cubicBezTo>
                    <a:pt x="127" y="214"/>
                    <a:pt x="127" y="214"/>
                    <a:pt x="127" y="214"/>
                  </a:cubicBezTo>
                  <a:cubicBezTo>
                    <a:pt x="127" y="214"/>
                    <a:pt x="128" y="214"/>
                    <a:pt x="128" y="215"/>
                  </a:cubicBezTo>
                  <a:cubicBezTo>
                    <a:pt x="128" y="215"/>
                    <a:pt x="128" y="215"/>
                    <a:pt x="128" y="215"/>
                  </a:cubicBezTo>
                  <a:cubicBezTo>
                    <a:pt x="129" y="215"/>
                    <a:pt x="129" y="215"/>
                    <a:pt x="130" y="215"/>
                  </a:cubicBezTo>
                  <a:cubicBezTo>
                    <a:pt x="130" y="215"/>
                    <a:pt x="130" y="215"/>
                    <a:pt x="130" y="215"/>
                  </a:cubicBezTo>
                  <a:cubicBezTo>
                    <a:pt x="131" y="215"/>
                    <a:pt x="131" y="216"/>
                    <a:pt x="132" y="216"/>
                  </a:cubicBezTo>
                  <a:cubicBezTo>
                    <a:pt x="132" y="216"/>
                    <a:pt x="132" y="216"/>
                    <a:pt x="132" y="216"/>
                  </a:cubicBezTo>
                  <a:cubicBezTo>
                    <a:pt x="133" y="216"/>
                    <a:pt x="134" y="216"/>
                    <a:pt x="134" y="216"/>
                  </a:cubicBezTo>
                  <a:cubicBezTo>
                    <a:pt x="134" y="216"/>
                    <a:pt x="134" y="217"/>
                    <a:pt x="135" y="217"/>
                  </a:cubicBezTo>
                  <a:cubicBezTo>
                    <a:pt x="135" y="217"/>
                    <a:pt x="136" y="217"/>
                    <a:pt x="137" y="217"/>
                  </a:cubicBezTo>
                  <a:cubicBezTo>
                    <a:pt x="137" y="217"/>
                    <a:pt x="137" y="217"/>
                    <a:pt x="137" y="217"/>
                  </a:cubicBezTo>
                  <a:cubicBezTo>
                    <a:pt x="138" y="217"/>
                    <a:pt x="139" y="217"/>
                    <a:pt x="139" y="218"/>
                  </a:cubicBezTo>
                  <a:cubicBezTo>
                    <a:pt x="139" y="218"/>
                    <a:pt x="140" y="218"/>
                    <a:pt x="140" y="218"/>
                  </a:cubicBezTo>
                  <a:cubicBezTo>
                    <a:pt x="145" y="219"/>
                    <a:pt x="152" y="220"/>
                    <a:pt x="159" y="221"/>
                  </a:cubicBezTo>
                  <a:cubicBezTo>
                    <a:pt x="159" y="221"/>
                    <a:pt x="159" y="221"/>
                    <a:pt x="159" y="221"/>
                  </a:cubicBezTo>
                  <a:cubicBezTo>
                    <a:pt x="160" y="221"/>
                    <a:pt x="161" y="221"/>
                    <a:pt x="162" y="221"/>
                  </a:cubicBezTo>
                  <a:cubicBezTo>
                    <a:pt x="163" y="221"/>
                    <a:pt x="163" y="221"/>
                    <a:pt x="163" y="221"/>
                  </a:cubicBezTo>
                  <a:cubicBezTo>
                    <a:pt x="164" y="221"/>
                    <a:pt x="165" y="221"/>
                    <a:pt x="166" y="222"/>
                  </a:cubicBezTo>
                  <a:cubicBezTo>
                    <a:pt x="167" y="222"/>
                    <a:pt x="167" y="222"/>
                    <a:pt x="168" y="222"/>
                  </a:cubicBezTo>
                  <a:cubicBezTo>
                    <a:pt x="168" y="222"/>
                    <a:pt x="169" y="222"/>
                    <a:pt x="170" y="222"/>
                  </a:cubicBezTo>
                  <a:cubicBezTo>
                    <a:pt x="171" y="222"/>
                    <a:pt x="171" y="222"/>
                    <a:pt x="172" y="222"/>
                  </a:cubicBezTo>
                  <a:cubicBezTo>
                    <a:pt x="173" y="222"/>
                    <a:pt x="174" y="222"/>
                    <a:pt x="174" y="222"/>
                  </a:cubicBezTo>
                  <a:cubicBezTo>
                    <a:pt x="175" y="222"/>
                    <a:pt x="176" y="222"/>
                    <a:pt x="176" y="222"/>
                  </a:cubicBezTo>
                  <a:cubicBezTo>
                    <a:pt x="177" y="223"/>
                    <a:pt x="178" y="223"/>
                    <a:pt x="179" y="223"/>
                  </a:cubicBezTo>
                  <a:cubicBezTo>
                    <a:pt x="180" y="223"/>
                    <a:pt x="180" y="223"/>
                    <a:pt x="181" y="223"/>
                  </a:cubicBezTo>
                  <a:cubicBezTo>
                    <a:pt x="182" y="223"/>
                    <a:pt x="183" y="223"/>
                    <a:pt x="184" y="223"/>
                  </a:cubicBezTo>
                  <a:cubicBezTo>
                    <a:pt x="184" y="223"/>
                    <a:pt x="185" y="223"/>
                    <a:pt x="186" y="223"/>
                  </a:cubicBezTo>
                  <a:cubicBezTo>
                    <a:pt x="187" y="223"/>
                    <a:pt x="188" y="223"/>
                    <a:pt x="188" y="223"/>
                  </a:cubicBezTo>
                  <a:cubicBezTo>
                    <a:pt x="189" y="223"/>
                    <a:pt x="190" y="223"/>
                    <a:pt x="191" y="223"/>
                  </a:cubicBezTo>
                  <a:cubicBezTo>
                    <a:pt x="192" y="223"/>
                    <a:pt x="192" y="224"/>
                    <a:pt x="193" y="224"/>
                  </a:cubicBezTo>
                  <a:cubicBezTo>
                    <a:pt x="194" y="224"/>
                    <a:pt x="195" y="224"/>
                    <a:pt x="196" y="224"/>
                  </a:cubicBezTo>
                  <a:cubicBezTo>
                    <a:pt x="197" y="224"/>
                    <a:pt x="198" y="224"/>
                    <a:pt x="198" y="224"/>
                  </a:cubicBezTo>
                  <a:cubicBezTo>
                    <a:pt x="199" y="224"/>
                    <a:pt x="200" y="224"/>
                    <a:pt x="201" y="224"/>
                  </a:cubicBezTo>
                  <a:cubicBezTo>
                    <a:pt x="202" y="224"/>
                    <a:pt x="203" y="224"/>
                    <a:pt x="204" y="224"/>
                  </a:cubicBezTo>
                  <a:cubicBezTo>
                    <a:pt x="205" y="224"/>
                    <a:pt x="205" y="224"/>
                    <a:pt x="206" y="224"/>
                  </a:cubicBezTo>
                  <a:cubicBezTo>
                    <a:pt x="207" y="224"/>
                    <a:pt x="208" y="224"/>
                    <a:pt x="209" y="224"/>
                  </a:cubicBezTo>
                  <a:cubicBezTo>
                    <a:pt x="210" y="224"/>
                    <a:pt x="211" y="224"/>
                    <a:pt x="212" y="224"/>
                  </a:cubicBezTo>
                  <a:cubicBezTo>
                    <a:pt x="213" y="224"/>
                    <a:pt x="213" y="224"/>
                    <a:pt x="214" y="224"/>
                  </a:cubicBezTo>
                  <a:cubicBezTo>
                    <a:pt x="215" y="224"/>
                    <a:pt x="216" y="224"/>
                    <a:pt x="217" y="224"/>
                  </a:cubicBezTo>
                  <a:cubicBezTo>
                    <a:pt x="218" y="224"/>
                    <a:pt x="219" y="225"/>
                    <a:pt x="220" y="225"/>
                  </a:cubicBezTo>
                  <a:cubicBezTo>
                    <a:pt x="221" y="225"/>
                    <a:pt x="222" y="225"/>
                    <a:pt x="223" y="225"/>
                  </a:cubicBezTo>
                  <a:cubicBezTo>
                    <a:pt x="224" y="225"/>
                    <a:pt x="225" y="225"/>
                    <a:pt x="225" y="225"/>
                  </a:cubicBezTo>
                  <a:cubicBezTo>
                    <a:pt x="227" y="225"/>
                    <a:pt x="228" y="225"/>
                    <a:pt x="229" y="225"/>
                  </a:cubicBezTo>
                  <a:cubicBezTo>
                    <a:pt x="230" y="225"/>
                    <a:pt x="230" y="225"/>
                    <a:pt x="231" y="225"/>
                  </a:cubicBezTo>
                  <a:cubicBezTo>
                    <a:pt x="233" y="225"/>
                    <a:pt x="235" y="225"/>
                    <a:pt x="237" y="225"/>
                  </a:cubicBezTo>
                  <a:cubicBezTo>
                    <a:pt x="239" y="225"/>
                    <a:pt x="241" y="225"/>
                    <a:pt x="242" y="225"/>
                  </a:cubicBezTo>
                  <a:cubicBezTo>
                    <a:pt x="243" y="225"/>
                    <a:pt x="244" y="225"/>
                    <a:pt x="244" y="225"/>
                  </a:cubicBezTo>
                  <a:cubicBezTo>
                    <a:pt x="245" y="225"/>
                    <a:pt x="247" y="225"/>
                    <a:pt x="248" y="225"/>
                  </a:cubicBezTo>
                  <a:cubicBezTo>
                    <a:pt x="249" y="225"/>
                    <a:pt x="249" y="225"/>
                    <a:pt x="250" y="225"/>
                  </a:cubicBezTo>
                  <a:cubicBezTo>
                    <a:pt x="251" y="225"/>
                    <a:pt x="252" y="225"/>
                    <a:pt x="254" y="225"/>
                  </a:cubicBezTo>
                  <a:cubicBezTo>
                    <a:pt x="254" y="225"/>
                    <a:pt x="255" y="224"/>
                    <a:pt x="256" y="224"/>
                  </a:cubicBezTo>
                  <a:cubicBezTo>
                    <a:pt x="257" y="224"/>
                    <a:pt x="258" y="224"/>
                    <a:pt x="259" y="224"/>
                  </a:cubicBezTo>
                  <a:cubicBezTo>
                    <a:pt x="260" y="224"/>
                    <a:pt x="261" y="224"/>
                    <a:pt x="261" y="224"/>
                  </a:cubicBezTo>
                  <a:cubicBezTo>
                    <a:pt x="262" y="224"/>
                    <a:pt x="263" y="224"/>
                    <a:pt x="264" y="224"/>
                  </a:cubicBezTo>
                  <a:cubicBezTo>
                    <a:pt x="265" y="224"/>
                    <a:pt x="266" y="224"/>
                    <a:pt x="267" y="224"/>
                  </a:cubicBezTo>
                  <a:cubicBezTo>
                    <a:pt x="268" y="224"/>
                    <a:pt x="269" y="224"/>
                    <a:pt x="270" y="224"/>
                  </a:cubicBezTo>
                  <a:cubicBezTo>
                    <a:pt x="270" y="224"/>
                    <a:pt x="271" y="224"/>
                    <a:pt x="272" y="224"/>
                  </a:cubicBezTo>
                  <a:cubicBezTo>
                    <a:pt x="273" y="224"/>
                    <a:pt x="274" y="224"/>
                    <a:pt x="275" y="224"/>
                  </a:cubicBezTo>
                  <a:cubicBezTo>
                    <a:pt x="276" y="224"/>
                    <a:pt x="276" y="224"/>
                    <a:pt x="277" y="224"/>
                  </a:cubicBezTo>
                  <a:cubicBezTo>
                    <a:pt x="278" y="224"/>
                    <a:pt x="279" y="224"/>
                    <a:pt x="280" y="224"/>
                  </a:cubicBezTo>
                  <a:cubicBezTo>
                    <a:pt x="281" y="224"/>
                    <a:pt x="281" y="224"/>
                    <a:pt x="282" y="223"/>
                  </a:cubicBezTo>
                  <a:cubicBezTo>
                    <a:pt x="283" y="223"/>
                    <a:pt x="284" y="223"/>
                    <a:pt x="285" y="223"/>
                  </a:cubicBezTo>
                  <a:cubicBezTo>
                    <a:pt x="286" y="223"/>
                    <a:pt x="286" y="223"/>
                    <a:pt x="287" y="223"/>
                  </a:cubicBezTo>
                  <a:cubicBezTo>
                    <a:pt x="288" y="223"/>
                    <a:pt x="289" y="223"/>
                    <a:pt x="289" y="223"/>
                  </a:cubicBezTo>
                  <a:cubicBezTo>
                    <a:pt x="290" y="223"/>
                    <a:pt x="291" y="223"/>
                    <a:pt x="292" y="223"/>
                  </a:cubicBezTo>
                  <a:cubicBezTo>
                    <a:pt x="293" y="223"/>
                    <a:pt x="293" y="223"/>
                    <a:pt x="294" y="223"/>
                  </a:cubicBezTo>
                  <a:cubicBezTo>
                    <a:pt x="295" y="223"/>
                    <a:pt x="296" y="223"/>
                    <a:pt x="297" y="223"/>
                  </a:cubicBezTo>
                  <a:cubicBezTo>
                    <a:pt x="297" y="222"/>
                    <a:pt x="298" y="222"/>
                    <a:pt x="298" y="222"/>
                  </a:cubicBezTo>
                  <a:cubicBezTo>
                    <a:pt x="299" y="222"/>
                    <a:pt x="300" y="222"/>
                    <a:pt x="301" y="222"/>
                  </a:cubicBezTo>
                  <a:cubicBezTo>
                    <a:pt x="301" y="222"/>
                    <a:pt x="301" y="222"/>
                    <a:pt x="301" y="222"/>
                  </a:cubicBezTo>
                  <a:cubicBezTo>
                    <a:pt x="305" y="222"/>
                    <a:pt x="309" y="221"/>
                    <a:pt x="313" y="221"/>
                  </a:cubicBezTo>
                  <a:cubicBezTo>
                    <a:pt x="313" y="221"/>
                    <a:pt x="313" y="221"/>
                    <a:pt x="313" y="221"/>
                  </a:cubicBezTo>
                  <a:cubicBezTo>
                    <a:pt x="314" y="221"/>
                    <a:pt x="315" y="221"/>
                    <a:pt x="316" y="221"/>
                  </a:cubicBezTo>
                  <a:cubicBezTo>
                    <a:pt x="316" y="220"/>
                    <a:pt x="317" y="220"/>
                    <a:pt x="317" y="220"/>
                  </a:cubicBezTo>
                  <a:cubicBezTo>
                    <a:pt x="318" y="220"/>
                    <a:pt x="319" y="220"/>
                    <a:pt x="320" y="220"/>
                  </a:cubicBezTo>
                  <a:cubicBezTo>
                    <a:pt x="320" y="220"/>
                    <a:pt x="320" y="220"/>
                    <a:pt x="321" y="220"/>
                  </a:cubicBezTo>
                  <a:cubicBezTo>
                    <a:pt x="322" y="220"/>
                    <a:pt x="322" y="220"/>
                    <a:pt x="323" y="220"/>
                  </a:cubicBezTo>
                  <a:cubicBezTo>
                    <a:pt x="324" y="220"/>
                    <a:pt x="324" y="219"/>
                    <a:pt x="324" y="219"/>
                  </a:cubicBezTo>
                  <a:cubicBezTo>
                    <a:pt x="325" y="219"/>
                    <a:pt x="326" y="219"/>
                    <a:pt x="327" y="219"/>
                  </a:cubicBezTo>
                  <a:cubicBezTo>
                    <a:pt x="327" y="219"/>
                    <a:pt x="327" y="219"/>
                    <a:pt x="327" y="219"/>
                  </a:cubicBezTo>
                  <a:cubicBezTo>
                    <a:pt x="328" y="219"/>
                    <a:pt x="329" y="219"/>
                    <a:pt x="330" y="219"/>
                  </a:cubicBezTo>
                  <a:cubicBezTo>
                    <a:pt x="330" y="218"/>
                    <a:pt x="330" y="218"/>
                    <a:pt x="330" y="218"/>
                  </a:cubicBezTo>
                  <a:cubicBezTo>
                    <a:pt x="331" y="218"/>
                    <a:pt x="332" y="218"/>
                    <a:pt x="333" y="218"/>
                  </a:cubicBezTo>
                  <a:cubicBezTo>
                    <a:pt x="333" y="218"/>
                    <a:pt x="333" y="218"/>
                    <a:pt x="333" y="218"/>
                  </a:cubicBezTo>
                  <a:cubicBezTo>
                    <a:pt x="334" y="218"/>
                    <a:pt x="335" y="218"/>
                    <a:pt x="336" y="217"/>
                  </a:cubicBezTo>
                  <a:cubicBezTo>
                    <a:pt x="336" y="217"/>
                    <a:pt x="336" y="217"/>
                    <a:pt x="336" y="217"/>
                  </a:cubicBezTo>
                  <a:cubicBezTo>
                    <a:pt x="337" y="217"/>
                    <a:pt x="337" y="217"/>
                    <a:pt x="338" y="217"/>
                  </a:cubicBezTo>
                  <a:cubicBezTo>
                    <a:pt x="338" y="217"/>
                    <a:pt x="338" y="217"/>
                    <a:pt x="338" y="217"/>
                  </a:cubicBezTo>
                  <a:cubicBezTo>
                    <a:pt x="345" y="215"/>
                    <a:pt x="349" y="213"/>
                    <a:pt x="350" y="212"/>
                  </a:cubicBezTo>
                  <a:cubicBezTo>
                    <a:pt x="350" y="211"/>
                    <a:pt x="350" y="211"/>
                    <a:pt x="350" y="211"/>
                  </a:cubicBezTo>
                  <a:cubicBezTo>
                    <a:pt x="350" y="211"/>
                    <a:pt x="350" y="211"/>
                    <a:pt x="350" y="211"/>
                  </a:cubicBezTo>
                  <a:cubicBezTo>
                    <a:pt x="351" y="210"/>
                    <a:pt x="351" y="210"/>
                    <a:pt x="351" y="210"/>
                  </a:cubicBezTo>
                  <a:cubicBezTo>
                    <a:pt x="351" y="210"/>
                    <a:pt x="351" y="210"/>
                    <a:pt x="351" y="210"/>
                  </a:cubicBezTo>
                  <a:cubicBezTo>
                    <a:pt x="351" y="210"/>
                    <a:pt x="351" y="210"/>
                    <a:pt x="351" y="210"/>
                  </a:cubicBezTo>
                  <a:cubicBezTo>
                    <a:pt x="472" y="0"/>
                    <a:pt x="472" y="0"/>
                    <a:pt x="472" y="0"/>
                  </a:cubicBezTo>
                  <a:cubicBezTo>
                    <a:pt x="454" y="15"/>
                    <a:pt x="355" y="27"/>
                    <a:pt x="236" y="27"/>
                  </a:cubicBezTo>
                  <a:close/>
                </a:path>
              </a:pathLst>
            </a:custGeom>
            <a:gradFill rotWithShape="1">
              <a:gsLst>
                <a:gs pos="0">
                  <a:srgbClr val="969696"/>
                </a:gs>
                <a:gs pos="50000">
                  <a:srgbClr val="E6E6E6"/>
                </a:gs>
                <a:gs pos="100000">
                  <a:srgbClr val="969696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  <p:sp>
          <p:nvSpPr>
            <p:cNvPr id="26" name="Oval 53"/>
            <p:cNvSpPr>
              <a:spLocks noChangeArrowheads="1"/>
            </p:cNvSpPr>
            <p:nvPr/>
          </p:nvSpPr>
          <p:spPr bwMode="gray">
            <a:xfrm>
              <a:off x="3998469" y="4866835"/>
              <a:ext cx="1116338" cy="145379"/>
            </a:xfrm>
            <a:prstGeom prst="ellipse">
              <a:avLst/>
            </a:prstGeom>
            <a:gradFill rotWithShape="1">
              <a:gsLst>
                <a:gs pos="0">
                  <a:srgbClr val="D7D7D7"/>
                </a:gs>
                <a:gs pos="100000">
                  <a:srgbClr val="969696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noProof="1"/>
            </a:p>
          </p:txBody>
        </p:sp>
        <p:pic>
          <p:nvPicPr>
            <p:cNvPr id="35" name="_effect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gray">
            <a:xfrm>
              <a:off x="2336605" y="1900108"/>
              <a:ext cx="2010654" cy="3361870"/>
            </a:xfrm>
            <a:prstGeom prst="rect">
              <a:avLst/>
            </a:prstGeom>
            <a:noFill/>
            <a:ln w="9525">
              <a:miter lim="800000"/>
              <a:headEnd/>
              <a:tailEnd/>
            </a:ln>
            <a:effectLst/>
          </p:spPr>
        </p:pic>
        <p:sp>
          <p:nvSpPr>
            <p:cNvPr id="36" name="Oval 47"/>
            <p:cNvSpPr>
              <a:spLocks noChangeArrowheads="1"/>
            </p:cNvSpPr>
            <p:nvPr/>
          </p:nvSpPr>
          <p:spPr bwMode="gray">
            <a:xfrm>
              <a:off x="2205857" y="1557195"/>
              <a:ext cx="4690243" cy="513317"/>
            </a:xfrm>
            <a:prstGeom prst="ellipse">
              <a:avLst/>
            </a:prstGeom>
            <a:gradFill rotWithShape="1">
              <a:gsLst>
                <a:gs pos="0">
                  <a:srgbClr val="969696"/>
                </a:gs>
                <a:gs pos="100000">
                  <a:srgbClr val="C0C0C0"/>
                </a:gs>
              </a:gsLst>
              <a:lin ang="5400000" scaled="1"/>
            </a:gradFill>
            <a:ln w="1270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  <p:sp>
          <p:nvSpPr>
            <p:cNvPr id="48" name="Abgerundetes Rechteck 47"/>
            <p:cNvSpPr/>
            <p:nvPr/>
          </p:nvSpPr>
          <p:spPr bwMode="gray">
            <a:xfrm>
              <a:off x="4378333" y="2443036"/>
              <a:ext cx="360000" cy="360000"/>
            </a:xfrm>
            <a:prstGeom prst="roundRect">
              <a:avLst/>
            </a:prstGeom>
            <a:solidFill>
              <a:srgbClr val="FFFFFF">
                <a:alpha val="60000"/>
              </a:srgbClr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blurRad="25400" dist="12700" dir="2700000" algn="tl" rotWithShape="0">
                <a:prstClr val="black">
                  <a:alpha val="50000"/>
                </a:prstClr>
              </a:outerShdw>
            </a:effectLst>
          </p:spPr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</a:pPr>
              <a:r>
                <a:rPr lang="de-DE" sz="2000" b="1" noProof="1" smtClean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49" name="Abgerundetes Rechteck 48"/>
            <p:cNvSpPr/>
            <p:nvPr/>
          </p:nvSpPr>
          <p:spPr bwMode="gray">
            <a:xfrm>
              <a:off x="4378333" y="4338865"/>
              <a:ext cx="360000" cy="360000"/>
            </a:xfrm>
            <a:prstGeom prst="roundRect">
              <a:avLst/>
            </a:prstGeom>
            <a:solidFill>
              <a:srgbClr val="FFFFFF">
                <a:alpha val="60000"/>
              </a:srgbClr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blurRad="25400" dist="12700" dir="2700000" algn="tl" rotWithShape="0">
                <a:prstClr val="black">
                  <a:alpha val="50000"/>
                </a:prstClr>
              </a:outerShdw>
            </a:effectLst>
          </p:spPr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</a:pPr>
              <a:r>
                <a:rPr lang="de-DE" sz="2000" b="1" noProof="1" smtClean="0">
                  <a:solidFill>
                    <a:srgbClr val="000000"/>
                  </a:solidFill>
                </a:rPr>
                <a:t>3</a:t>
              </a:r>
              <a:endParaRPr lang="de-DE" sz="2000" b="1" noProof="1">
                <a:solidFill>
                  <a:srgbClr val="000000"/>
                </a:solidFill>
              </a:endParaRPr>
            </a:p>
          </p:txBody>
        </p:sp>
        <p:sp>
          <p:nvSpPr>
            <p:cNvPr id="51" name="Abgerundetes Rechteck 50"/>
            <p:cNvSpPr/>
            <p:nvPr/>
          </p:nvSpPr>
          <p:spPr bwMode="gray">
            <a:xfrm>
              <a:off x="4378333" y="3366005"/>
              <a:ext cx="360000" cy="360000"/>
            </a:xfrm>
            <a:prstGeom prst="roundRect">
              <a:avLst/>
            </a:prstGeom>
            <a:solidFill>
              <a:srgbClr val="FFFFFF">
                <a:alpha val="60000"/>
              </a:srgbClr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blurRad="25400" dist="12700" dir="2700000" algn="tl" rotWithShape="0">
                <a:prstClr val="black">
                  <a:alpha val="50000"/>
                </a:prstClr>
              </a:outerShdw>
            </a:effectLst>
          </p:spPr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</a:pPr>
              <a:r>
                <a:rPr lang="de-DE" sz="2000" b="1" noProof="1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44" name="Freeform 33"/>
            <p:cNvSpPr>
              <a:spLocks/>
            </p:cNvSpPr>
            <p:nvPr/>
          </p:nvSpPr>
          <p:spPr bwMode="gray">
            <a:xfrm>
              <a:off x="4002267" y="4940276"/>
              <a:ext cx="1110441" cy="792402"/>
            </a:xfrm>
            <a:custGeom>
              <a:avLst/>
              <a:gdLst/>
              <a:ahLst/>
              <a:cxnLst>
                <a:cxn ang="0">
                  <a:pos x="115" y="14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63"/>
                </a:cxn>
                <a:cxn ang="0">
                  <a:pos x="229" y="163"/>
                </a:cxn>
                <a:cxn ang="0">
                  <a:pos x="229" y="1"/>
                </a:cxn>
                <a:cxn ang="0">
                  <a:pos x="115" y="14"/>
                </a:cxn>
              </a:cxnLst>
              <a:rect l="0" t="0" r="r" b="b"/>
              <a:pathLst>
                <a:path w="229" h="163">
                  <a:moveTo>
                    <a:pt x="115" y="14"/>
                  </a:moveTo>
                  <a:cubicBezTo>
                    <a:pt x="55" y="14"/>
                    <a:pt x="6" y="8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229" y="163"/>
                    <a:pt x="229" y="163"/>
                    <a:pt x="229" y="163"/>
                  </a:cubicBezTo>
                  <a:cubicBezTo>
                    <a:pt x="229" y="1"/>
                    <a:pt x="229" y="1"/>
                    <a:pt x="229" y="1"/>
                  </a:cubicBezTo>
                  <a:cubicBezTo>
                    <a:pt x="222" y="8"/>
                    <a:pt x="174" y="14"/>
                    <a:pt x="115" y="14"/>
                  </a:cubicBezTo>
                  <a:close/>
                </a:path>
              </a:pathLst>
            </a:custGeom>
            <a:gradFill rotWithShape="1">
              <a:gsLst>
                <a:gs pos="0">
                  <a:srgbClr val="969696"/>
                </a:gs>
                <a:gs pos="50000">
                  <a:srgbClr val="D7D7D7"/>
                </a:gs>
                <a:gs pos="100000">
                  <a:srgbClr val="969696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  <p:sp>
          <p:nvSpPr>
            <p:cNvPr id="45" name="Oval 36"/>
            <p:cNvSpPr>
              <a:spLocks noChangeArrowheads="1"/>
            </p:cNvSpPr>
            <p:nvPr/>
          </p:nvSpPr>
          <p:spPr bwMode="gray">
            <a:xfrm>
              <a:off x="4002267" y="5664399"/>
              <a:ext cx="1110441" cy="145544"/>
            </a:xfrm>
            <a:prstGeom prst="ellipse">
              <a:avLst/>
            </a:prstGeom>
            <a:gradFill rotWithShape="1">
              <a:gsLst>
                <a:gs pos="0">
                  <a:srgbClr val="AFAFAF"/>
                </a:gs>
                <a:gs pos="50000">
                  <a:srgbClr val="E6E6E6"/>
                </a:gs>
                <a:gs pos="100000">
                  <a:srgbClr val="AFAFAF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  <p:sp>
          <p:nvSpPr>
            <p:cNvPr id="46" name="Abgerundetes Rechteck 45"/>
            <p:cNvSpPr/>
            <p:nvPr/>
          </p:nvSpPr>
          <p:spPr bwMode="gray">
            <a:xfrm>
              <a:off x="4378333" y="5222628"/>
              <a:ext cx="360000" cy="360000"/>
            </a:xfrm>
            <a:prstGeom prst="roundRect">
              <a:avLst/>
            </a:prstGeom>
            <a:solidFill>
              <a:srgbClr val="FFFFFF">
                <a:alpha val="60000"/>
              </a:srgbClr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blurRad="25400" dist="12700" dir="2700000" algn="tl" rotWithShape="0">
                <a:prstClr val="black">
                  <a:alpha val="50000"/>
                </a:prstClr>
              </a:outerShdw>
            </a:effectLst>
          </p:spPr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</a:pPr>
              <a:r>
                <a:rPr lang="de-DE" sz="2000" b="1" noProof="1" smtClean="0">
                  <a:solidFill>
                    <a:srgbClr val="000000"/>
                  </a:solidFill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58034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Funnels - 3D 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noProof="1" smtClean="0"/>
              <a:t>5 Step </a:t>
            </a:r>
            <a:r>
              <a:rPr lang="en-US" noProof="1"/>
              <a:t>Divisions</a:t>
            </a:r>
          </a:p>
        </p:txBody>
      </p:sp>
      <p:grpSp>
        <p:nvGrpSpPr>
          <p:cNvPr id="66" name="Group 73"/>
          <p:cNvGrpSpPr>
            <a:grpSpLocks/>
          </p:cNvGrpSpPr>
          <p:nvPr/>
        </p:nvGrpSpPr>
        <p:grpSpPr bwMode="gray">
          <a:xfrm>
            <a:off x="2037957" y="1973779"/>
            <a:ext cx="1577617" cy="2919849"/>
            <a:chOff x="1491" y="1363"/>
            <a:chExt cx="878" cy="1625"/>
          </a:xfrm>
        </p:grpSpPr>
        <p:sp>
          <p:nvSpPr>
            <p:cNvPr id="68" name="Text Box 45"/>
            <p:cNvSpPr txBox="1">
              <a:spLocks noChangeArrowheads="1"/>
            </p:cNvSpPr>
            <p:nvPr/>
          </p:nvSpPr>
          <p:spPr bwMode="gray">
            <a:xfrm rot="3595528">
              <a:off x="1092" y="2114"/>
              <a:ext cx="1393" cy="2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>
              <a:spAutoFit/>
            </a:bodyPr>
            <a:lstStyle/>
            <a:p>
              <a:pPr marL="180000" indent="-180000" algn="ct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de-DE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nter your own text here</a:t>
              </a:r>
            </a:p>
          </p:txBody>
        </p:sp>
        <p:sp>
          <p:nvSpPr>
            <p:cNvPr id="69" name="Line 46"/>
            <p:cNvSpPr>
              <a:spLocks noChangeShapeType="1"/>
            </p:cNvSpPr>
            <p:nvPr/>
          </p:nvSpPr>
          <p:spPr bwMode="gray">
            <a:xfrm rot="21500941" flipH="1" flipV="1">
              <a:off x="1491" y="1363"/>
              <a:ext cx="878" cy="1625"/>
            </a:xfrm>
            <a:prstGeom prst="line">
              <a:avLst/>
            </a:prstGeom>
            <a:noFill/>
            <a:ln w="28575" cap="sq">
              <a:solidFill>
                <a:schemeClr val="tx1"/>
              </a:solidFill>
              <a:prstDash val="sysDot"/>
              <a:round/>
              <a:headEnd type="triangle" w="med" len="med"/>
              <a:tailEnd/>
            </a:ln>
          </p:spPr>
          <p:txBody>
            <a:bodyPr/>
            <a:lstStyle/>
            <a:p>
              <a:endParaRPr lang="de-DE" noProof="1"/>
            </a:p>
          </p:txBody>
        </p:sp>
      </p:grpSp>
      <p:pic>
        <p:nvPicPr>
          <p:cNvPr id="46" name="_effect" descr="C:\Users\marc.h\Desktop\Schatten-TES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01403" y="5843948"/>
            <a:ext cx="1898641" cy="361581"/>
          </a:xfrm>
          <a:prstGeom prst="rect">
            <a:avLst/>
          </a:prstGeom>
          <a:noFill/>
        </p:spPr>
      </p:pic>
      <p:grpSp>
        <p:nvGrpSpPr>
          <p:cNvPr id="12" name="Gruppieren 11"/>
          <p:cNvGrpSpPr/>
          <p:nvPr/>
        </p:nvGrpSpPr>
        <p:grpSpPr>
          <a:xfrm>
            <a:off x="5310186" y="1804877"/>
            <a:ext cx="3512660" cy="3938094"/>
            <a:chOff x="5310186" y="1804877"/>
            <a:chExt cx="3512660" cy="3938094"/>
          </a:xfrm>
        </p:grpSpPr>
        <p:sp>
          <p:nvSpPr>
            <p:cNvPr id="72" name="Text Box 9"/>
            <p:cNvSpPr txBox="1">
              <a:spLocks noChangeArrowheads="1"/>
            </p:cNvSpPr>
            <p:nvPr/>
          </p:nvSpPr>
          <p:spPr bwMode="gray">
            <a:xfrm>
              <a:off x="5946672" y="4287134"/>
              <a:ext cx="2862352" cy="5262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marL="180000" indent="-177800" algn="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de-DE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his is a place </a:t>
              </a:r>
              <a: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/>
              </a:r>
              <a:b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or your own text.</a:t>
              </a:r>
              <a:endParaRPr lang="de-DE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74" name="Text Box 9"/>
            <p:cNvSpPr txBox="1">
              <a:spLocks noChangeArrowheads="1"/>
            </p:cNvSpPr>
            <p:nvPr/>
          </p:nvSpPr>
          <p:spPr bwMode="gray">
            <a:xfrm>
              <a:off x="6672404" y="1958555"/>
              <a:ext cx="2136620" cy="5262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marL="180000" indent="-177800" algn="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de-DE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his is a place </a:t>
              </a:r>
              <a: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/>
              </a:r>
              <a:b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or your own text.</a:t>
              </a:r>
              <a:endParaRPr lang="de-DE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76" name="Text Box 40"/>
            <p:cNvSpPr txBox="1">
              <a:spLocks noChangeArrowheads="1"/>
            </p:cNvSpPr>
            <p:nvPr/>
          </p:nvSpPr>
          <p:spPr bwMode="gray">
            <a:xfrm>
              <a:off x="5557276" y="5073328"/>
              <a:ext cx="3253797" cy="5262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marL="180000" indent="-177800" algn="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his is a place </a:t>
              </a:r>
              <a:b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or your own text.</a:t>
              </a:r>
              <a:endParaRPr lang="de-DE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78" name="Line 17"/>
            <p:cNvSpPr>
              <a:spLocks noChangeShapeType="1"/>
            </p:cNvSpPr>
            <p:nvPr/>
          </p:nvSpPr>
          <p:spPr bwMode="gray">
            <a:xfrm>
              <a:off x="6643688" y="2610343"/>
              <a:ext cx="2179158" cy="0"/>
            </a:xfrm>
            <a:prstGeom prst="line">
              <a:avLst/>
            </a:prstGeom>
            <a:noFill/>
            <a:ln w="19050" cap="sq">
              <a:solidFill>
                <a:srgbClr val="868282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9" name="Line 75"/>
            <p:cNvSpPr>
              <a:spLocks noChangeShapeType="1"/>
            </p:cNvSpPr>
            <p:nvPr/>
          </p:nvSpPr>
          <p:spPr bwMode="gray">
            <a:xfrm>
              <a:off x="6196013" y="3384253"/>
              <a:ext cx="2626833" cy="0"/>
            </a:xfrm>
            <a:prstGeom prst="line">
              <a:avLst/>
            </a:prstGeom>
            <a:noFill/>
            <a:ln w="19050" cap="sq">
              <a:solidFill>
                <a:srgbClr val="868282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1" name="Line 38"/>
            <p:cNvSpPr>
              <a:spLocks noChangeShapeType="1"/>
            </p:cNvSpPr>
            <p:nvPr/>
          </p:nvSpPr>
          <p:spPr bwMode="gray">
            <a:xfrm>
              <a:off x="5748337" y="4160605"/>
              <a:ext cx="3069739" cy="0"/>
            </a:xfrm>
            <a:prstGeom prst="line">
              <a:avLst/>
            </a:prstGeom>
            <a:noFill/>
            <a:ln w="19050" cap="sq">
              <a:solidFill>
                <a:srgbClr val="868282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  <p:sp>
          <p:nvSpPr>
            <p:cNvPr id="82" name="Line 39"/>
            <p:cNvSpPr>
              <a:spLocks noChangeShapeType="1"/>
            </p:cNvSpPr>
            <p:nvPr/>
          </p:nvSpPr>
          <p:spPr bwMode="gray">
            <a:xfrm>
              <a:off x="5310186" y="5742971"/>
              <a:ext cx="3507890" cy="0"/>
            </a:xfrm>
            <a:prstGeom prst="line">
              <a:avLst/>
            </a:prstGeom>
            <a:noFill/>
            <a:ln w="19050" cap="sq">
              <a:solidFill>
                <a:srgbClr val="868282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  <p:sp>
          <p:nvSpPr>
            <p:cNvPr id="83" name="Line 39"/>
            <p:cNvSpPr>
              <a:spLocks noChangeShapeType="1"/>
            </p:cNvSpPr>
            <p:nvPr/>
          </p:nvSpPr>
          <p:spPr bwMode="gray">
            <a:xfrm>
              <a:off x="5310187" y="4946819"/>
              <a:ext cx="3507889" cy="0"/>
            </a:xfrm>
            <a:prstGeom prst="line">
              <a:avLst/>
            </a:prstGeom>
            <a:noFill/>
            <a:ln w="19050" cap="sq">
              <a:solidFill>
                <a:srgbClr val="868282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  <p:sp>
          <p:nvSpPr>
            <p:cNvPr id="90" name="Text Box 9"/>
            <p:cNvSpPr txBox="1">
              <a:spLocks noChangeArrowheads="1"/>
            </p:cNvSpPr>
            <p:nvPr/>
          </p:nvSpPr>
          <p:spPr bwMode="gray">
            <a:xfrm>
              <a:off x="6322423" y="3502747"/>
              <a:ext cx="2448360" cy="5262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marL="180000" indent="-177800" algn="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de-DE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his is a place </a:t>
              </a:r>
              <a: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/>
              </a:r>
              <a:b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or your own text.</a:t>
              </a:r>
              <a:endParaRPr lang="de-DE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91" name="Text Box 9"/>
            <p:cNvSpPr txBox="1">
              <a:spLocks noChangeArrowheads="1"/>
            </p:cNvSpPr>
            <p:nvPr/>
          </p:nvSpPr>
          <p:spPr bwMode="gray">
            <a:xfrm>
              <a:off x="6634163" y="2736392"/>
              <a:ext cx="2136620" cy="5262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marL="180000" indent="-177800" algn="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de-DE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his is a place </a:t>
              </a:r>
              <a: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/>
              </a:r>
              <a:b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or your own text.</a:t>
              </a:r>
              <a:endParaRPr lang="de-DE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41" name="Line 11"/>
            <p:cNvSpPr>
              <a:spLocks noChangeShapeType="1"/>
            </p:cNvSpPr>
            <p:nvPr/>
          </p:nvSpPr>
          <p:spPr bwMode="gray">
            <a:xfrm>
              <a:off x="7094220" y="1804877"/>
              <a:ext cx="1719102" cy="0"/>
            </a:xfrm>
            <a:prstGeom prst="line">
              <a:avLst/>
            </a:prstGeom>
            <a:noFill/>
            <a:ln w="19050" cap="sq">
              <a:solidFill>
                <a:srgbClr val="868282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</p:grpSp>
      <p:grpSp>
        <p:nvGrpSpPr>
          <p:cNvPr id="16" name="Gruppieren 15"/>
          <p:cNvGrpSpPr/>
          <p:nvPr/>
        </p:nvGrpSpPr>
        <p:grpSpPr>
          <a:xfrm>
            <a:off x="2205857" y="1557195"/>
            <a:ext cx="4690243" cy="4252748"/>
            <a:chOff x="2205857" y="1557195"/>
            <a:chExt cx="4690243" cy="4252748"/>
          </a:xfrm>
          <a:effectLst>
            <a:outerShdw blurRad="6604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54" name="Freeform 11"/>
            <p:cNvSpPr>
              <a:spLocks/>
            </p:cNvSpPr>
            <p:nvPr/>
          </p:nvSpPr>
          <p:spPr bwMode="auto">
            <a:xfrm>
              <a:off x="2214001" y="1849909"/>
              <a:ext cx="4682099" cy="988263"/>
            </a:xfrm>
            <a:custGeom>
              <a:avLst/>
              <a:gdLst>
                <a:gd name="T0" fmla="*/ 2147483647 w 963"/>
                <a:gd name="T1" fmla="*/ 829454232 h 203"/>
                <a:gd name="T2" fmla="*/ 0 w 963"/>
                <a:gd name="T3" fmla="*/ 0 h 203"/>
                <a:gd name="T4" fmla="*/ 1617851877 w 963"/>
                <a:gd name="T5" fmla="*/ 2147483647 h 203"/>
                <a:gd name="T6" fmla="*/ 1709772276 w 963"/>
                <a:gd name="T7" fmla="*/ 2147483647 h 203"/>
                <a:gd name="T8" fmla="*/ 2147483647 w 963"/>
                <a:gd name="T9" fmla="*/ 2147483647 h 203"/>
                <a:gd name="T10" fmla="*/ 2147483647 w 963"/>
                <a:gd name="T11" fmla="*/ 2147483647 h 203"/>
                <a:gd name="T12" fmla="*/ 2147483647 w 963"/>
                <a:gd name="T13" fmla="*/ 2147483647 h 203"/>
                <a:gd name="T14" fmla="*/ 2147483647 w 963"/>
                <a:gd name="T15" fmla="*/ 0 h 203"/>
                <a:gd name="T16" fmla="*/ 2147483647 w 963"/>
                <a:gd name="T17" fmla="*/ 829454232 h 20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63"/>
                <a:gd name="T28" fmla="*/ 0 h 203"/>
                <a:gd name="T29" fmla="*/ 963 w 963"/>
                <a:gd name="T30" fmla="*/ 203 h 20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63" h="203">
                  <a:moveTo>
                    <a:pt x="481" y="45"/>
                  </a:moveTo>
                  <a:cubicBezTo>
                    <a:pt x="237" y="45"/>
                    <a:pt x="35" y="25"/>
                    <a:pt x="0" y="0"/>
                  </a:cubicBezTo>
                  <a:cubicBezTo>
                    <a:pt x="88" y="153"/>
                    <a:pt x="88" y="153"/>
                    <a:pt x="88" y="153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121" y="185"/>
                    <a:pt x="284" y="203"/>
                    <a:pt x="482" y="203"/>
                  </a:cubicBezTo>
                  <a:cubicBezTo>
                    <a:pt x="679" y="203"/>
                    <a:pt x="843" y="185"/>
                    <a:pt x="871" y="160"/>
                  </a:cubicBezTo>
                  <a:cubicBezTo>
                    <a:pt x="875" y="153"/>
                    <a:pt x="875" y="153"/>
                    <a:pt x="875" y="153"/>
                  </a:cubicBezTo>
                  <a:cubicBezTo>
                    <a:pt x="963" y="0"/>
                    <a:pt x="963" y="0"/>
                    <a:pt x="963" y="0"/>
                  </a:cubicBezTo>
                  <a:cubicBezTo>
                    <a:pt x="928" y="25"/>
                    <a:pt x="726" y="45"/>
                    <a:pt x="481" y="45"/>
                  </a:cubicBezTo>
                  <a:close/>
                </a:path>
              </a:pathLst>
            </a:custGeom>
            <a:gradFill rotWithShape="1">
              <a:gsLst>
                <a:gs pos="0">
                  <a:srgbClr val="969696"/>
                </a:gs>
                <a:gs pos="50000">
                  <a:srgbClr val="E3E3E3"/>
                </a:gs>
                <a:gs pos="100000">
                  <a:srgbClr val="969696"/>
                </a:gs>
              </a:gsLst>
              <a:lin ang="0" scaled="1"/>
            </a:gra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8" name="Oval 47"/>
            <p:cNvSpPr>
              <a:spLocks noChangeArrowheads="1"/>
            </p:cNvSpPr>
            <p:nvPr/>
          </p:nvSpPr>
          <p:spPr bwMode="gray">
            <a:xfrm>
              <a:off x="2205857" y="1557195"/>
              <a:ext cx="4690243" cy="513317"/>
            </a:xfrm>
            <a:prstGeom prst="ellipse">
              <a:avLst/>
            </a:prstGeom>
            <a:gradFill rotWithShape="1">
              <a:gsLst>
                <a:gs pos="0">
                  <a:srgbClr val="969696"/>
                </a:gs>
                <a:gs pos="100000">
                  <a:srgbClr val="C0C0C0"/>
                </a:gs>
              </a:gsLst>
              <a:lin ang="5400000" scaled="1"/>
            </a:gradFill>
            <a:ln w="1270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  <p:grpSp>
          <p:nvGrpSpPr>
            <p:cNvPr id="14" name="Gruppieren 13"/>
            <p:cNvGrpSpPr/>
            <p:nvPr/>
          </p:nvGrpSpPr>
          <p:grpSpPr>
            <a:xfrm>
              <a:off x="2338919" y="1903313"/>
              <a:ext cx="4128755" cy="3906630"/>
              <a:chOff x="2338919" y="1903313"/>
              <a:chExt cx="4128755" cy="3906630"/>
            </a:xfrm>
            <a:effectLst/>
          </p:grpSpPr>
          <p:sp>
            <p:nvSpPr>
              <p:cNvPr id="53" name="Freeform 10"/>
              <p:cNvSpPr>
                <a:spLocks/>
              </p:cNvSpPr>
              <p:nvPr/>
            </p:nvSpPr>
            <p:spPr bwMode="auto">
              <a:xfrm>
                <a:off x="3555087" y="4181057"/>
                <a:ext cx="2001728" cy="835254"/>
              </a:xfrm>
              <a:custGeom>
                <a:avLst/>
                <a:gdLst>
                  <a:gd name="T0" fmla="*/ 0 w 412"/>
                  <a:gd name="T1" fmla="*/ 0 h 172"/>
                  <a:gd name="T2" fmla="*/ 1689002227 w 412"/>
                  <a:gd name="T3" fmla="*/ 2147483647 h 172"/>
                  <a:gd name="T4" fmla="*/ 1707362198 w 412"/>
                  <a:gd name="T5" fmla="*/ 2147483647 h 172"/>
                  <a:gd name="T6" fmla="*/ 1725722170 w 412"/>
                  <a:gd name="T7" fmla="*/ 2147483647 h 172"/>
                  <a:gd name="T8" fmla="*/ 1744077856 w 412"/>
                  <a:gd name="T9" fmla="*/ 2147483647 h 172"/>
                  <a:gd name="T10" fmla="*/ 1762437828 w 412"/>
                  <a:gd name="T11" fmla="*/ 2147483647 h 172"/>
                  <a:gd name="T12" fmla="*/ 1799153486 w 412"/>
                  <a:gd name="T13" fmla="*/ 2147483647 h 172"/>
                  <a:gd name="T14" fmla="*/ 1835873429 w 412"/>
                  <a:gd name="T15" fmla="*/ 2147483647 h 172"/>
                  <a:gd name="T16" fmla="*/ 1872589088 w 412"/>
                  <a:gd name="T17" fmla="*/ 2147483647 h 172"/>
                  <a:gd name="T18" fmla="*/ 1909309031 w 412"/>
                  <a:gd name="T19" fmla="*/ 2147483647 h 172"/>
                  <a:gd name="T20" fmla="*/ 1964384660 w 412"/>
                  <a:gd name="T21" fmla="*/ 2147483647 h 172"/>
                  <a:gd name="T22" fmla="*/ 2001100319 w 412"/>
                  <a:gd name="T23" fmla="*/ 2147483647 h 172"/>
                  <a:gd name="T24" fmla="*/ 2147483647 w 412"/>
                  <a:gd name="T25" fmla="*/ 2147483647 h 172"/>
                  <a:gd name="T26" fmla="*/ 2147483647 w 412"/>
                  <a:gd name="T27" fmla="*/ 2147483647 h 172"/>
                  <a:gd name="T28" fmla="*/ 2147483647 w 412"/>
                  <a:gd name="T29" fmla="*/ 2147483647 h 172"/>
                  <a:gd name="T30" fmla="*/ 2147483647 w 412"/>
                  <a:gd name="T31" fmla="*/ 2147483647 h 172"/>
                  <a:gd name="T32" fmla="*/ 2147483647 w 412"/>
                  <a:gd name="T33" fmla="*/ 2147483647 h 172"/>
                  <a:gd name="T34" fmla="*/ 2147483647 w 412"/>
                  <a:gd name="T35" fmla="*/ 2147483647 h 172"/>
                  <a:gd name="T36" fmla="*/ 2147483647 w 412"/>
                  <a:gd name="T37" fmla="*/ 2147483647 h 172"/>
                  <a:gd name="T38" fmla="*/ 2147483647 w 412"/>
                  <a:gd name="T39" fmla="*/ 2147483647 h 172"/>
                  <a:gd name="T40" fmla="*/ 2147483647 w 412"/>
                  <a:gd name="T41" fmla="*/ 2147483647 h 172"/>
                  <a:gd name="T42" fmla="*/ 2147483647 w 412"/>
                  <a:gd name="T43" fmla="*/ 2147483647 h 172"/>
                  <a:gd name="T44" fmla="*/ 2147483647 w 412"/>
                  <a:gd name="T45" fmla="*/ 2147483647 h 172"/>
                  <a:gd name="T46" fmla="*/ 2147483647 w 412"/>
                  <a:gd name="T47" fmla="*/ 2147483647 h 172"/>
                  <a:gd name="T48" fmla="*/ 2147483647 w 412"/>
                  <a:gd name="T49" fmla="*/ 2147483647 h 172"/>
                  <a:gd name="T50" fmla="*/ 2147483647 w 412"/>
                  <a:gd name="T51" fmla="*/ 2147483647 h 172"/>
                  <a:gd name="T52" fmla="*/ 2147483647 w 412"/>
                  <a:gd name="T53" fmla="*/ 2147483647 h 172"/>
                  <a:gd name="T54" fmla="*/ 2147483647 w 412"/>
                  <a:gd name="T55" fmla="*/ 2147483647 h 172"/>
                  <a:gd name="T56" fmla="*/ 2147483647 w 412"/>
                  <a:gd name="T57" fmla="*/ 2147483647 h 172"/>
                  <a:gd name="T58" fmla="*/ 2147483647 w 412"/>
                  <a:gd name="T59" fmla="*/ 2147483647 h 172"/>
                  <a:gd name="T60" fmla="*/ 2147483647 w 412"/>
                  <a:gd name="T61" fmla="*/ 2147483647 h 172"/>
                  <a:gd name="T62" fmla="*/ 2147483647 w 412"/>
                  <a:gd name="T63" fmla="*/ 2147483647 h 172"/>
                  <a:gd name="T64" fmla="*/ 2147483647 w 412"/>
                  <a:gd name="T65" fmla="*/ 2147483647 h 172"/>
                  <a:gd name="T66" fmla="*/ 2147483647 w 412"/>
                  <a:gd name="T67" fmla="*/ 2147483647 h 172"/>
                  <a:gd name="T68" fmla="*/ 2147483647 w 412"/>
                  <a:gd name="T69" fmla="*/ 2147483647 h 172"/>
                  <a:gd name="T70" fmla="*/ 2147483647 w 412"/>
                  <a:gd name="T71" fmla="*/ 2147483647 h 172"/>
                  <a:gd name="T72" fmla="*/ 2147483647 w 412"/>
                  <a:gd name="T73" fmla="*/ 2147483647 h 172"/>
                  <a:gd name="T74" fmla="*/ 2147483647 w 412"/>
                  <a:gd name="T75" fmla="*/ 2147483647 h 172"/>
                  <a:gd name="T76" fmla="*/ 2147483647 w 412"/>
                  <a:gd name="T77" fmla="*/ 2147483647 h 172"/>
                  <a:gd name="T78" fmla="*/ 2147483647 w 412"/>
                  <a:gd name="T79" fmla="*/ 2147483647 h 172"/>
                  <a:gd name="T80" fmla="*/ 2147483647 w 412"/>
                  <a:gd name="T81" fmla="*/ 2147483647 h 172"/>
                  <a:gd name="T82" fmla="*/ 2147483647 w 412"/>
                  <a:gd name="T83" fmla="*/ 2147483647 h 172"/>
                  <a:gd name="T84" fmla="*/ 2147483647 w 412"/>
                  <a:gd name="T85" fmla="*/ 2147483647 h 172"/>
                  <a:gd name="T86" fmla="*/ 2147483647 w 412"/>
                  <a:gd name="T87" fmla="*/ 2147483647 h 172"/>
                  <a:gd name="T88" fmla="*/ 2147483647 w 412"/>
                  <a:gd name="T89" fmla="*/ 2147483647 h 172"/>
                  <a:gd name="T90" fmla="*/ 2147483647 w 412"/>
                  <a:gd name="T91" fmla="*/ 2147483647 h 172"/>
                  <a:gd name="T92" fmla="*/ 2147483647 w 412"/>
                  <a:gd name="T93" fmla="*/ 2147483647 h 172"/>
                  <a:gd name="T94" fmla="*/ 2147483647 w 412"/>
                  <a:gd name="T95" fmla="*/ 2147483647 h 172"/>
                  <a:gd name="T96" fmla="*/ 2147483647 w 412"/>
                  <a:gd name="T97" fmla="*/ 2147483647 h 172"/>
                  <a:gd name="T98" fmla="*/ 2147483647 w 412"/>
                  <a:gd name="T99" fmla="*/ 2147483647 h 172"/>
                  <a:gd name="T100" fmla="*/ 2147483647 w 412"/>
                  <a:gd name="T101" fmla="*/ 2147483647 h 172"/>
                  <a:gd name="T102" fmla="*/ 2147483647 w 412"/>
                  <a:gd name="T103" fmla="*/ 2147483647 h 172"/>
                  <a:gd name="T104" fmla="*/ 2147483647 w 412"/>
                  <a:gd name="T105" fmla="*/ 403485488 h 17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412"/>
                  <a:gd name="T160" fmla="*/ 0 h 172"/>
                  <a:gd name="T161" fmla="*/ 412 w 412"/>
                  <a:gd name="T162" fmla="*/ 172 h 172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412" h="172">
                    <a:moveTo>
                      <a:pt x="206" y="22"/>
                    </a:moveTo>
                    <a:cubicBezTo>
                      <a:pt x="101" y="22"/>
                      <a:pt x="14" y="12"/>
                      <a:pt x="0" y="0"/>
                    </a:cubicBezTo>
                    <a:cubicBezTo>
                      <a:pt x="92" y="158"/>
                      <a:pt x="92" y="158"/>
                      <a:pt x="92" y="158"/>
                    </a:cubicBezTo>
                    <a:cubicBezTo>
                      <a:pt x="92" y="158"/>
                      <a:pt x="92" y="158"/>
                      <a:pt x="92" y="158"/>
                    </a:cubicBezTo>
                    <a:cubicBezTo>
                      <a:pt x="93" y="158"/>
                      <a:pt x="93" y="159"/>
                      <a:pt x="93" y="159"/>
                    </a:cubicBezTo>
                    <a:cubicBezTo>
                      <a:pt x="93" y="159"/>
                      <a:pt x="93" y="159"/>
                      <a:pt x="93" y="159"/>
                    </a:cubicBezTo>
                    <a:cubicBezTo>
                      <a:pt x="93" y="159"/>
                      <a:pt x="94" y="159"/>
                      <a:pt x="94" y="160"/>
                    </a:cubicBezTo>
                    <a:cubicBezTo>
                      <a:pt x="94" y="160"/>
                      <a:pt x="94" y="160"/>
                      <a:pt x="94" y="160"/>
                    </a:cubicBezTo>
                    <a:cubicBezTo>
                      <a:pt x="94" y="160"/>
                      <a:pt x="95" y="160"/>
                      <a:pt x="95" y="160"/>
                    </a:cubicBezTo>
                    <a:cubicBezTo>
                      <a:pt x="95" y="160"/>
                      <a:pt x="95" y="160"/>
                      <a:pt x="95" y="160"/>
                    </a:cubicBezTo>
                    <a:cubicBezTo>
                      <a:pt x="95" y="161"/>
                      <a:pt x="96" y="161"/>
                      <a:pt x="96" y="161"/>
                    </a:cubicBezTo>
                    <a:cubicBezTo>
                      <a:pt x="96" y="161"/>
                      <a:pt x="96" y="161"/>
                      <a:pt x="96" y="161"/>
                    </a:cubicBezTo>
                    <a:cubicBezTo>
                      <a:pt x="97" y="161"/>
                      <a:pt x="97" y="161"/>
                      <a:pt x="98" y="162"/>
                    </a:cubicBezTo>
                    <a:cubicBezTo>
                      <a:pt x="98" y="162"/>
                      <a:pt x="98" y="162"/>
                      <a:pt x="98" y="162"/>
                    </a:cubicBezTo>
                    <a:cubicBezTo>
                      <a:pt x="99" y="162"/>
                      <a:pt x="99" y="162"/>
                      <a:pt x="100" y="162"/>
                    </a:cubicBezTo>
                    <a:cubicBezTo>
                      <a:pt x="100" y="162"/>
                      <a:pt x="100" y="162"/>
                      <a:pt x="100" y="162"/>
                    </a:cubicBezTo>
                    <a:cubicBezTo>
                      <a:pt x="101" y="162"/>
                      <a:pt x="101" y="163"/>
                      <a:pt x="102" y="163"/>
                    </a:cubicBezTo>
                    <a:cubicBezTo>
                      <a:pt x="102" y="163"/>
                      <a:pt x="102" y="163"/>
                      <a:pt x="102" y="163"/>
                    </a:cubicBezTo>
                    <a:cubicBezTo>
                      <a:pt x="103" y="163"/>
                      <a:pt x="103" y="163"/>
                      <a:pt x="104" y="163"/>
                    </a:cubicBezTo>
                    <a:cubicBezTo>
                      <a:pt x="104" y="163"/>
                      <a:pt x="104" y="164"/>
                      <a:pt x="104" y="164"/>
                    </a:cubicBezTo>
                    <a:cubicBezTo>
                      <a:pt x="105" y="164"/>
                      <a:pt x="106" y="164"/>
                      <a:pt x="106" y="164"/>
                    </a:cubicBezTo>
                    <a:cubicBezTo>
                      <a:pt x="107" y="164"/>
                      <a:pt x="107" y="164"/>
                      <a:pt x="107" y="164"/>
                    </a:cubicBezTo>
                    <a:cubicBezTo>
                      <a:pt x="107" y="164"/>
                      <a:pt x="108" y="164"/>
                      <a:pt x="109" y="165"/>
                    </a:cubicBezTo>
                    <a:cubicBezTo>
                      <a:pt x="109" y="165"/>
                      <a:pt x="109" y="165"/>
                      <a:pt x="109" y="165"/>
                    </a:cubicBezTo>
                    <a:cubicBezTo>
                      <a:pt x="115" y="166"/>
                      <a:pt x="121" y="167"/>
                      <a:pt x="129" y="168"/>
                    </a:cubicBezTo>
                    <a:cubicBezTo>
                      <a:pt x="129" y="168"/>
                      <a:pt x="129" y="168"/>
                      <a:pt x="129" y="168"/>
                    </a:cubicBezTo>
                    <a:cubicBezTo>
                      <a:pt x="130" y="168"/>
                      <a:pt x="131" y="168"/>
                      <a:pt x="132" y="168"/>
                    </a:cubicBezTo>
                    <a:cubicBezTo>
                      <a:pt x="132" y="168"/>
                      <a:pt x="133" y="168"/>
                      <a:pt x="133" y="168"/>
                    </a:cubicBezTo>
                    <a:cubicBezTo>
                      <a:pt x="134" y="168"/>
                      <a:pt x="135" y="168"/>
                      <a:pt x="136" y="169"/>
                    </a:cubicBezTo>
                    <a:cubicBezTo>
                      <a:pt x="136" y="169"/>
                      <a:pt x="137" y="169"/>
                      <a:pt x="137" y="169"/>
                    </a:cubicBezTo>
                    <a:cubicBezTo>
                      <a:pt x="138" y="169"/>
                      <a:pt x="139" y="169"/>
                      <a:pt x="140" y="169"/>
                    </a:cubicBezTo>
                    <a:cubicBezTo>
                      <a:pt x="140" y="169"/>
                      <a:pt x="141" y="169"/>
                      <a:pt x="142" y="169"/>
                    </a:cubicBezTo>
                    <a:cubicBezTo>
                      <a:pt x="142" y="169"/>
                      <a:pt x="143" y="169"/>
                      <a:pt x="144" y="169"/>
                    </a:cubicBezTo>
                    <a:cubicBezTo>
                      <a:pt x="145" y="169"/>
                      <a:pt x="145" y="169"/>
                      <a:pt x="146" y="169"/>
                    </a:cubicBezTo>
                    <a:cubicBezTo>
                      <a:pt x="147" y="170"/>
                      <a:pt x="148" y="170"/>
                      <a:pt x="149" y="170"/>
                    </a:cubicBezTo>
                    <a:cubicBezTo>
                      <a:pt x="149" y="170"/>
                      <a:pt x="150" y="170"/>
                      <a:pt x="151" y="170"/>
                    </a:cubicBezTo>
                    <a:cubicBezTo>
                      <a:pt x="152" y="170"/>
                      <a:pt x="152" y="170"/>
                      <a:pt x="153" y="170"/>
                    </a:cubicBezTo>
                    <a:cubicBezTo>
                      <a:pt x="154" y="170"/>
                      <a:pt x="155" y="170"/>
                      <a:pt x="156" y="170"/>
                    </a:cubicBezTo>
                    <a:cubicBezTo>
                      <a:pt x="156" y="170"/>
                      <a:pt x="157" y="170"/>
                      <a:pt x="158" y="170"/>
                    </a:cubicBezTo>
                    <a:cubicBezTo>
                      <a:pt x="159" y="170"/>
                      <a:pt x="160" y="170"/>
                      <a:pt x="161" y="170"/>
                    </a:cubicBezTo>
                    <a:cubicBezTo>
                      <a:pt x="161" y="170"/>
                      <a:pt x="162" y="171"/>
                      <a:pt x="163" y="171"/>
                    </a:cubicBezTo>
                    <a:cubicBezTo>
                      <a:pt x="164" y="171"/>
                      <a:pt x="165" y="171"/>
                      <a:pt x="166" y="171"/>
                    </a:cubicBezTo>
                    <a:cubicBezTo>
                      <a:pt x="166" y="171"/>
                      <a:pt x="167" y="171"/>
                      <a:pt x="168" y="171"/>
                    </a:cubicBezTo>
                    <a:cubicBezTo>
                      <a:pt x="169" y="171"/>
                      <a:pt x="170" y="171"/>
                      <a:pt x="171" y="171"/>
                    </a:cubicBezTo>
                    <a:cubicBezTo>
                      <a:pt x="172" y="171"/>
                      <a:pt x="172" y="171"/>
                      <a:pt x="173" y="171"/>
                    </a:cubicBezTo>
                    <a:cubicBezTo>
                      <a:pt x="174" y="171"/>
                      <a:pt x="175" y="171"/>
                      <a:pt x="176" y="171"/>
                    </a:cubicBezTo>
                    <a:cubicBezTo>
                      <a:pt x="177" y="171"/>
                      <a:pt x="178" y="171"/>
                      <a:pt x="179" y="171"/>
                    </a:cubicBezTo>
                    <a:cubicBezTo>
                      <a:pt x="180" y="171"/>
                      <a:pt x="181" y="171"/>
                      <a:pt x="181" y="171"/>
                    </a:cubicBezTo>
                    <a:cubicBezTo>
                      <a:pt x="182" y="171"/>
                      <a:pt x="183" y="171"/>
                      <a:pt x="184" y="171"/>
                    </a:cubicBezTo>
                    <a:cubicBezTo>
                      <a:pt x="185" y="171"/>
                      <a:pt x="186" y="171"/>
                      <a:pt x="187" y="171"/>
                    </a:cubicBezTo>
                    <a:cubicBezTo>
                      <a:pt x="188" y="171"/>
                      <a:pt x="189" y="172"/>
                      <a:pt x="189" y="172"/>
                    </a:cubicBezTo>
                    <a:cubicBezTo>
                      <a:pt x="191" y="172"/>
                      <a:pt x="192" y="172"/>
                      <a:pt x="193" y="172"/>
                    </a:cubicBezTo>
                    <a:cubicBezTo>
                      <a:pt x="194" y="172"/>
                      <a:pt x="194" y="172"/>
                      <a:pt x="195" y="172"/>
                    </a:cubicBezTo>
                    <a:cubicBezTo>
                      <a:pt x="196" y="172"/>
                      <a:pt x="198" y="172"/>
                      <a:pt x="199" y="172"/>
                    </a:cubicBezTo>
                    <a:cubicBezTo>
                      <a:pt x="199" y="172"/>
                      <a:pt x="200" y="172"/>
                      <a:pt x="201" y="172"/>
                    </a:cubicBezTo>
                    <a:cubicBezTo>
                      <a:pt x="203" y="172"/>
                      <a:pt x="205" y="172"/>
                      <a:pt x="206" y="172"/>
                    </a:cubicBezTo>
                    <a:cubicBezTo>
                      <a:pt x="208" y="172"/>
                      <a:pt x="210" y="172"/>
                      <a:pt x="212" y="172"/>
                    </a:cubicBezTo>
                    <a:cubicBezTo>
                      <a:pt x="213" y="172"/>
                      <a:pt x="213" y="172"/>
                      <a:pt x="214" y="172"/>
                    </a:cubicBezTo>
                    <a:cubicBezTo>
                      <a:pt x="215" y="172"/>
                      <a:pt x="216" y="172"/>
                      <a:pt x="218" y="172"/>
                    </a:cubicBezTo>
                    <a:cubicBezTo>
                      <a:pt x="219" y="172"/>
                      <a:pt x="219" y="172"/>
                      <a:pt x="220" y="172"/>
                    </a:cubicBezTo>
                    <a:cubicBezTo>
                      <a:pt x="221" y="172"/>
                      <a:pt x="222" y="172"/>
                      <a:pt x="223" y="172"/>
                    </a:cubicBezTo>
                    <a:cubicBezTo>
                      <a:pt x="224" y="172"/>
                      <a:pt x="225" y="171"/>
                      <a:pt x="226" y="171"/>
                    </a:cubicBezTo>
                    <a:cubicBezTo>
                      <a:pt x="227" y="171"/>
                      <a:pt x="228" y="171"/>
                      <a:pt x="229" y="171"/>
                    </a:cubicBezTo>
                    <a:cubicBezTo>
                      <a:pt x="230" y="171"/>
                      <a:pt x="230" y="171"/>
                      <a:pt x="231" y="171"/>
                    </a:cubicBezTo>
                    <a:cubicBezTo>
                      <a:pt x="232" y="171"/>
                      <a:pt x="233" y="171"/>
                      <a:pt x="234" y="171"/>
                    </a:cubicBezTo>
                    <a:cubicBezTo>
                      <a:pt x="235" y="171"/>
                      <a:pt x="236" y="171"/>
                      <a:pt x="237" y="171"/>
                    </a:cubicBezTo>
                    <a:cubicBezTo>
                      <a:pt x="237" y="171"/>
                      <a:pt x="238" y="171"/>
                      <a:pt x="239" y="171"/>
                    </a:cubicBezTo>
                    <a:cubicBezTo>
                      <a:pt x="240" y="171"/>
                      <a:pt x="241" y="171"/>
                      <a:pt x="242" y="171"/>
                    </a:cubicBezTo>
                    <a:cubicBezTo>
                      <a:pt x="243" y="171"/>
                      <a:pt x="244" y="171"/>
                      <a:pt x="245" y="171"/>
                    </a:cubicBezTo>
                    <a:cubicBezTo>
                      <a:pt x="245" y="171"/>
                      <a:pt x="246" y="171"/>
                      <a:pt x="247" y="171"/>
                    </a:cubicBezTo>
                    <a:cubicBezTo>
                      <a:pt x="248" y="171"/>
                      <a:pt x="249" y="171"/>
                      <a:pt x="250" y="171"/>
                    </a:cubicBezTo>
                    <a:cubicBezTo>
                      <a:pt x="250" y="171"/>
                      <a:pt x="251" y="171"/>
                      <a:pt x="252" y="170"/>
                    </a:cubicBezTo>
                    <a:cubicBezTo>
                      <a:pt x="253" y="170"/>
                      <a:pt x="254" y="170"/>
                      <a:pt x="254" y="170"/>
                    </a:cubicBezTo>
                    <a:cubicBezTo>
                      <a:pt x="255" y="170"/>
                      <a:pt x="256" y="170"/>
                      <a:pt x="257" y="170"/>
                    </a:cubicBezTo>
                    <a:cubicBezTo>
                      <a:pt x="258" y="170"/>
                      <a:pt x="258" y="170"/>
                      <a:pt x="259" y="170"/>
                    </a:cubicBezTo>
                    <a:cubicBezTo>
                      <a:pt x="260" y="170"/>
                      <a:pt x="261" y="170"/>
                      <a:pt x="262" y="170"/>
                    </a:cubicBezTo>
                    <a:cubicBezTo>
                      <a:pt x="262" y="170"/>
                      <a:pt x="263" y="170"/>
                      <a:pt x="264" y="170"/>
                    </a:cubicBezTo>
                    <a:cubicBezTo>
                      <a:pt x="265" y="170"/>
                      <a:pt x="265" y="170"/>
                      <a:pt x="266" y="170"/>
                    </a:cubicBezTo>
                    <a:cubicBezTo>
                      <a:pt x="267" y="169"/>
                      <a:pt x="267" y="169"/>
                      <a:pt x="268" y="169"/>
                    </a:cubicBezTo>
                    <a:cubicBezTo>
                      <a:pt x="269" y="169"/>
                      <a:pt x="270" y="169"/>
                      <a:pt x="271" y="169"/>
                    </a:cubicBezTo>
                    <a:cubicBezTo>
                      <a:pt x="271" y="169"/>
                      <a:pt x="271" y="169"/>
                      <a:pt x="271" y="169"/>
                    </a:cubicBezTo>
                    <a:cubicBezTo>
                      <a:pt x="275" y="169"/>
                      <a:pt x="279" y="168"/>
                      <a:pt x="282" y="168"/>
                    </a:cubicBezTo>
                    <a:cubicBezTo>
                      <a:pt x="283" y="168"/>
                      <a:pt x="283" y="168"/>
                      <a:pt x="283" y="168"/>
                    </a:cubicBezTo>
                    <a:cubicBezTo>
                      <a:pt x="284" y="168"/>
                      <a:pt x="285" y="168"/>
                      <a:pt x="286" y="168"/>
                    </a:cubicBezTo>
                    <a:cubicBezTo>
                      <a:pt x="286" y="167"/>
                      <a:pt x="286" y="167"/>
                      <a:pt x="287" y="167"/>
                    </a:cubicBezTo>
                    <a:cubicBezTo>
                      <a:pt x="288" y="167"/>
                      <a:pt x="289" y="167"/>
                      <a:pt x="290" y="167"/>
                    </a:cubicBezTo>
                    <a:cubicBezTo>
                      <a:pt x="290" y="167"/>
                      <a:pt x="290" y="167"/>
                      <a:pt x="290" y="167"/>
                    </a:cubicBezTo>
                    <a:cubicBezTo>
                      <a:pt x="291" y="167"/>
                      <a:pt x="292" y="167"/>
                      <a:pt x="293" y="167"/>
                    </a:cubicBezTo>
                    <a:cubicBezTo>
                      <a:pt x="293" y="167"/>
                      <a:pt x="294" y="166"/>
                      <a:pt x="294" y="166"/>
                    </a:cubicBezTo>
                    <a:cubicBezTo>
                      <a:pt x="295" y="166"/>
                      <a:pt x="295" y="166"/>
                      <a:pt x="296" y="166"/>
                    </a:cubicBezTo>
                    <a:cubicBezTo>
                      <a:pt x="297" y="166"/>
                      <a:pt x="297" y="166"/>
                      <a:pt x="297" y="166"/>
                    </a:cubicBezTo>
                    <a:cubicBezTo>
                      <a:pt x="298" y="166"/>
                      <a:pt x="299" y="166"/>
                      <a:pt x="299" y="166"/>
                    </a:cubicBezTo>
                    <a:cubicBezTo>
                      <a:pt x="300" y="165"/>
                      <a:pt x="300" y="165"/>
                      <a:pt x="300" y="165"/>
                    </a:cubicBezTo>
                    <a:cubicBezTo>
                      <a:pt x="301" y="165"/>
                      <a:pt x="302" y="165"/>
                      <a:pt x="302" y="165"/>
                    </a:cubicBezTo>
                    <a:cubicBezTo>
                      <a:pt x="303" y="165"/>
                      <a:pt x="303" y="165"/>
                      <a:pt x="303" y="165"/>
                    </a:cubicBezTo>
                    <a:cubicBezTo>
                      <a:pt x="304" y="165"/>
                      <a:pt x="305" y="165"/>
                      <a:pt x="305" y="164"/>
                    </a:cubicBezTo>
                    <a:cubicBezTo>
                      <a:pt x="305" y="164"/>
                      <a:pt x="306" y="164"/>
                      <a:pt x="306" y="164"/>
                    </a:cubicBezTo>
                    <a:cubicBezTo>
                      <a:pt x="306" y="164"/>
                      <a:pt x="307" y="164"/>
                      <a:pt x="308" y="164"/>
                    </a:cubicBezTo>
                    <a:cubicBezTo>
                      <a:pt x="308" y="164"/>
                      <a:pt x="308" y="164"/>
                      <a:pt x="308" y="164"/>
                    </a:cubicBezTo>
                    <a:cubicBezTo>
                      <a:pt x="314" y="162"/>
                      <a:pt x="319" y="160"/>
                      <a:pt x="320" y="159"/>
                    </a:cubicBezTo>
                    <a:cubicBezTo>
                      <a:pt x="320" y="158"/>
                      <a:pt x="320" y="158"/>
                      <a:pt x="320" y="158"/>
                    </a:cubicBezTo>
                    <a:cubicBezTo>
                      <a:pt x="320" y="158"/>
                      <a:pt x="320" y="158"/>
                      <a:pt x="320" y="158"/>
                    </a:cubicBezTo>
                    <a:cubicBezTo>
                      <a:pt x="321" y="157"/>
                      <a:pt x="321" y="157"/>
                      <a:pt x="321" y="157"/>
                    </a:cubicBezTo>
                    <a:cubicBezTo>
                      <a:pt x="321" y="157"/>
                      <a:pt x="321" y="157"/>
                      <a:pt x="321" y="157"/>
                    </a:cubicBezTo>
                    <a:cubicBezTo>
                      <a:pt x="412" y="0"/>
                      <a:pt x="412" y="0"/>
                      <a:pt x="412" y="0"/>
                    </a:cubicBezTo>
                    <a:cubicBezTo>
                      <a:pt x="397" y="12"/>
                      <a:pt x="311" y="22"/>
                      <a:pt x="206" y="22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C0C0C0"/>
                  </a:gs>
                  <a:gs pos="50000">
                    <a:srgbClr val="EEEEEE"/>
                  </a:gs>
                  <a:gs pos="100000">
                    <a:srgbClr val="C0C0C0"/>
                  </a:gs>
                </a:gsLst>
                <a:lin ang="0" scaled="1"/>
              </a:gra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5" name="Freeform 12"/>
              <p:cNvSpPr>
                <a:spLocks/>
              </p:cNvSpPr>
              <p:nvPr/>
            </p:nvSpPr>
            <p:spPr bwMode="auto">
              <a:xfrm>
                <a:off x="2665829" y="2629358"/>
                <a:ext cx="3782043" cy="937861"/>
              </a:xfrm>
              <a:custGeom>
                <a:avLst/>
                <a:gdLst>
                  <a:gd name="T0" fmla="*/ 2147483647 w 778"/>
                  <a:gd name="T1" fmla="*/ 789689070 h 193"/>
                  <a:gd name="T2" fmla="*/ 0 w 778"/>
                  <a:gd name="T3" fmla="*/ 0 h 193"/>
                  <a:gd name="T4" fmla="*/ 1617347438 w 778"/>
                  <a:gd name="T5" fmla="*/ 2147483647 h 193"/>
                  <a:gd name="T6" fmla="*/ 1617347438 w 778"/>
                  <a:gd name="T7" fmla="*/ 2147483647 h 193"/>
                  <a:gd name="T8" fmla="*/ 1654104737 w 778"/>
                  <a:gd name="T9" fmla="*/ 2147483647 h 193"/>
                  <a:gd name="T10" fmla="*/ 1672483387 w 778"/>
                  <a:gd name="T11" fmla="*/ 2147483647 h 193"/>
                  <a:gd name="T12" fmla="*/ 1690862037 w 778"/>
                  <a:gd name="T13" fmla="*/ 2147483647 h 193"/>
                  <a:gd name="T14" fmla="*/ 2147483647 w 778"/>
                  <a:gd name="T15" fmla="*/ 2147483647 h 193"/>
                  <a:gd name="T16" fmla="*/ 2147483647 w 778"/>
                  <a:gd name="T17" fmla="*/ 2147483647 h 193"/>
                  <a:gd name="T18" fmla="*/ 2147483647 w 778"/>
                  <a:gd name="T19" fmla="*/ 2147483647 h 193"/>
                  <a:gd name="T20" fmla="*/ 2147483647 w 778"/>
                  <a:gd name="T21" fmla="*/ 2147483647 h 193"/>
                  <a:gd name="T22" fmla="*/ 2147483647 w 778"/>
                  <a:gd name="T23" fmla="*/ 2147483647 h 193"/>
                  <a:gd name="T24" fmla="*/ 2147483647 w 778"/>
                  <a:gd name="T25" fmla="*/ 2147483647 h 193"/>
                  <a:gd name="T26" fmla="*/ 2147483647 w 778"/>
                  <a:gd name="T27" fmla="*/ 0 h 193"/>
                  <a:gd name="T28" fmla="*/ 2147483647 w 778"/>
                  <a:gd name="T29" fmla="*/ 789689070 h 193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778"/>
                  <a:gd name="T46" fmla="*/ 0 h 193"/>
                  <a:gd name="T47" fmla="*/ 778 w 778"/>
                  <a:gd name="T48" fmla="*/ 193 h 193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778" h="193">
                    <a:moveTo>
                      <a:pt x="389" y="43"/>
                    </a:moveTo>
                    <a:cubicBezTo>
                      <a:pt x="191" y="43"/>
                      <a:pt x="28" y="25"/>
                      <a:pt x="0" y="0"/>
                    </a:cubicBezTo>
                    <a:cubicBezTo>
                      <a:pt x="88" y="154"/>
                      <a:pt x="88" y="154"/>
                      <a:pt x="88" y="154"/>
                    </a:cubicBezTo>
                    <a:cubicBezTo>
                      <a:pt x="88" y="154"/>
                      <a:pt x="88" y="154"/>
                      <a:pt x="88" y="154"/>
                    </a:cubicBezTo>
                    <a:cubicBezTo>
                      <a:pt x="90" y="157"/>
                      <a:pt x="90" y="157"/>
                      <a:pt x="90" y="157"/>
                    </a:cubicBezTo>
                    <a:cubicBezTo>
                      <a:pt x="91" y="160"/>
                      <a:pt x="91" y="160"/>
                      <a:pt x="91" y="160"/>
                    </a:cubicBezTo>
                    <a:cubicBezTo>
                      <a:pt x="92" y="160"/>
                      <a:pt x="92" y="160"/>
                      <a:pt x="92" y="160"/>
                    </a:cubicBezTo>
                    <a:cubicBezTo>
                      <a:pt x="113" y="178"/>
                      <a:pt x="238" y="193"/>
                      <a:pt x="389" y="193"/>
                    </a:cubicBezTo>
                    <a:cubicBezTo>
                      <a:pt x="540" y="193"/>
                      <a:pt x="665" y="178"/>
                      <a:pt x="686" y="160"/>
                    </a:cubicBezTo>
                    <a:cubicBezTo>
                      <a:pt x="686" y="160"/>
                      <a:pt x="686" y="160"/>
                      <a:pt x="686" y="160"/>
                    </a:cubicBezTo>
                    <a:cubicBezTo>
                      <a:pt x="688" y="157"/>
                      <a:pt x="688" y="157"/>
                      <a:pt x="688" y="157"/>
                    </a:cubicBezTo>
                    <a:cubicBezTo>
                      <a:pt x="689" y="154"/>
                      <a:pt x="689" y="154"/>
                      <a:pt x="689" y="154"/>
                    </a:cubicBezTo>
                    <a:cubicBezTo>
                      <a:pt x="689" y="154"/>
                      <a:pt x="689" y="154"/>
                      <a:pt x="689" y="154"/>
                    </a:cubicBezTo>
                    <a:cubicBezTo>
                      <a:pt x="778" y="0"/>
                      <a:pt x="778" y="0"/>
                      <a:pt x="778" y="0"/>
                    </a:cubicBezTo>
                    <a:cubicBezTo>
                      <a:pt x="750" y="25"/>
                      <a:pt x="586" y="43"/>
                      <a:pt x="389" y="4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C0C0C0"/>
                  </a:gs>
                  <a:gs pos="50000">
                    <a:srgbClr val="EEEEEE"/>
                  </a:gs>
                  <a:gs pos="100000">
                    <a:srgbClr val="C0C0C0"/>
                  </a:gs>
                </a:gsLst>
                <a:lin ang="0" scaled="1"/>
              </a:gra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6" name="Freeform 13"/>
              <p:cNvSpPr>
                <a:spLocks/>
              </p:cNvSpPr>
              <p:nvPr/>
            </p:nvSpPr>
            <p:spPr bwMode="auto">
              <a:xfrm>
                <a:off x="3112258" y="3407008"/>
                <a:ext cx="2889186" cy="880257"/>
              </a:xfrm>
              <a:custGeom>
                <a:avLst/>
                <a:gdLst>
                  <a:gd name="T0" fmla="*/ 2147483647 w 594"/>
                  <a:gd name="T1" fmla="*/ 607018679 h 181"/>
                  <a:gd name="T2" fmla="*/ 0 w 594"/>
                  <a:gd name="T3" fmla="*/ 0 h 181"/>
                  <a:gd name="T4" fmla="*/ 1637551895 w 594"/>
                  <a:gd name="T5" fmla="*/ 2147483647 h 181"/>
                  <a:gd name="T6" fmla="*/ 1674351139 w 594"/>
                  <a:gd name="T7" fmla="*/ 2147483647 h 181"/>
                  <a:gd name="T8" fmla="*/ 2147483647 w 594"/>
                  <a:gd name="T9" fmla="*/ 2147483647 h 181"/>
                  <a:gd name="T10" fmla="*/ 2147483647 w 594"/>
                  <a:gd name="T11" fmla="*/ 2147483647 h 181"/>
                  <a:gd name="T12" fmla="*/ 2147483647 w 594"/>
                  <a:gd name="T13" fmla="*/ 2147483647 h 181"/>
                  <a:gd name="T14" fmla="*/ 2147483647 w 594"/>
                  <a:gd name="T15" fmla="*/ 0 h 181"/>
                  <a:gd name="T16" fmla="*/ 2147483647 w 594"/>
                  <a:gd name="T17" fmla="*/ 607018679 h 18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94"/>
                  <a:gd name="T28" fmla="*/ 0 h 181"/>
                  <a:gd name="T29" fmla="*/ 594 w 594"/>
                  <a:gd name="T30" fmla="*/ 181 h 18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94" h="181">
                    <a:moveTo>
                      <a:pt x="297" y="33"/>
                    </a:moveTo>
                    <a:cubicBezTo>
                      <a:pt x="146" y="33"/>
                      <a:pt x="21" y="18"/>
                      <a:pt x="0" y="0"/>
                    </a:cubicBezTo>
                    <a:cubicBezTo>
                      <a:pt x="89" y="155"/>
                      <a:pt x="89" y="155"/>
                      <a:pt x="89" y="155"/>
                    </a:cubicBezTo>
                    <a:cubicBezTo>
                      <a:pt x="91" y="159"/>
                      <a:pt x="91" y="159"/>
                      <a:pt x="91" y="159"/>
                    </a:cubicBezTo>
                    <a:cubicBezTo>
                      <a:pt x="105" y="171"/>
                      <a:pt x="192" y="181"/>
                      <a:pt x="297" y="181"/>
                    </a:cubicBezTo>
                    <a:cubicBezTo>
                      <a:pt x="402" y="181"/>
                      <a:pt x="488" y="171"/>
                      <a:pt x="503" y="159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94" y="0"/>
                      <a:pt x="594" y="0"/>
                      <a:pt x="594" y="0"/>
                    </a:cubicBezTo>
                    <a:cubicBezTo>
                      <a:pt x="573" y="18"/>
                      <a:pt x="448" y="33"/>
                      <a:pt x="297" y="33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tx2"/>
                  </a:gs>
                  <a:gs pos="53000">
                    <a:schemeClr val="tx2">
                      <a:lumMod val="60000"/>
                      <a:lumOff val="40000"/>
                    </a:schemeClr>
                  </a:gs>
                  <a:gs pos="100000">
                    <a:schemeClr val="tx2"/>
                  </a:gs>
                </a:gsLst>
                <a:lin ang="0" scaled="1"/>
              </a:gra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7" name="Oval 14"/>
              <p:cNvSpPr>
                <a:spLocks noChangeArrowheads="1"/>
              </p:cNvSpPr>
              <p:nvPr/>
            </p:nvSpPr>
            <p:spPr bwMode="auto">
              <a:xfrm>
                <a:off x="4001516" y="4870502"/>
                <a:ext cx="1112471" cy="145809"/>
              </a:xfrm>
              <a:prstGeom prst="ellipse">
                <a:avLst/>
              </a:prstGeom>
              <a:gradFill rotWithShape="1">
                <a:gsLst>
                  <a:gs pos="0">
                    <a:srgbClr val="D7D7D7"/>
                  </a:gs>
                  <a:gs pos="100000">
                    <a:srgbClr val="969696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0" name="Oval 16"/>
              <p:cNvSpPr>
                <a:spLocks noChangeArrowheads="1"/>
              </p:cNvSpPr>
              <p:nvPr/>
            </p:nvSpPr>
            <p:spPr bwMode="auto">
              <a:xfrm>
                <a:off x="3094257" y="3187394"/>
                <a:ext cx="2921588" cy="379825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noFill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1" name="Oval 17"/>
              <p:cNvSpPr>
                <a:spLocks noChangeArrowheads="1"/>
              </p:cNvSpPr>
              <p:nvPr/>
            </p:nvSpPr>
            <p:spPr bwMode="auto">
              <a:xfrm>
                <a:off x="3546087" y="4035249"/>
                <a:ext cx="2023330" cy="252016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 w="9525">
                <a:noFill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2" name="Oval 18"/>
              <p:cNvSpPr>
                <a:spLocks noChangeArrowheads="1"/>
              </p:cNvSpPr>
              <p:nvPr/>
            </p:nvSpPr>
            <p:spPr bwMode="auto">
              <a:xfrm>
                <a:off x="2642429" y="2352140"/>
                <a:ext cx="3825245" cy="486031"/>
              </a:xfrm>
              <a:prstGeom prst="ellipse">
                <a:avLst/>
              </a:prstGeom>
              <a:gradFill rotWithShape="1">
                <a:gsLst>
                  <a:gs pos="0">
                    <a:srgbClr val="D7D7D7"/>
                  </a:gs>
                  <a:gs pos="100000">
                    <a:srgbClr val="969696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9" name="Abgerundetes Rechteck 98"/>
              <p:cNvSpPr/>
              <p:nvPr/>
            </p:nvSpPr>
            <p:spPr bwMode="gray">
              <a:xfrm>
                <a:off x="4378333" y="2284895"/>
                <a:ext cx="362474" cy="362474"/>
              </a:xfrm>
              <a:prstGeom prst="roundRect">
                <a:avLst/>
              </a:prstGeom>
              <a:solidFill>
                <a:srgbClr val="FFFFFF">
                  <a:alpha val="60000"/>
                </a:srgbClr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25400" dist="12700" dir="2700000" algn="tl" rotWithShape="0">
                  <a:prstClr val="black">
                    <a:alpha val="50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</a:pPr>
                <a:r>
                  <a:rPr lang="de-DE" sz="2000" b="1" noProof="1" smtClean="0">
                    <a:solidFill>
                      <a:srgbClr val="000000"/>
                    </a:solidFill>
                  </a:rPr>
                  <a:t>1</a:t>
                </a:r>
              </a:p>
            </p:txBody>
          </p:sp>
          <p:sp>
            <p:nvSpPr>
              <p:cNvPr id="103" name="Abgerundetes Rechteck 102"/>
              <p:cNvSpPr/>
              <p:nvPr/>
            </p:nvSpPr>
            <p:spPr bwMode="gray">
              <a:xfrm>
                <a:off x="4378333" y="3034922"/>
                <a:ext cx="362474" cy="362474"/>
              </a:xfrm>
              <a:prstGeom prst="roundRect">
                <a:avLst/>
              </a:prstGeom>
              <a:solidFill>
                <a:srgbClr val="FFFFFF">
                  <a:alpha val="60000"/>
                </a:srgbClr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25400" dist="12700" dir="2700000" algn="tl" rotWithShape="0">
                  <a:prstClr val="black">
                    <a:alpha val="50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</a:pPr>
                <a:r>
                  <a:rPr lang="de-DE" sz="2000" b="1" noProof="1" smtClean="0">
                    <a:solidFill>
                      <a:srgbClr val="000000"/>
                    </a:solidFill>
                  </a:rPr>
                  <a:t>2</a:t>
                </a:r>
              </a:p>
            </p:txBody>
          </p:sp>
          <p:sp>
            <p:nvSpPr>
              <p:cNvPr id="104" name="Abgerundetes Rechteck 103"/>
              <p:cNvSpPr/>
              <p:nvPr/>
            </p:nvSpPr>
            <p:spPr bwMode="gray">
              <a:xfrm>
                <a:off x="4378333" y="3740987"/>
                <a:ext cx="362474" cy="362474"/>
              </a:xfrm>
              <a:prstGeom prst="roundRect">
                <a:avLst/>
              </a:prstGeom>
              <a:solidFill>
                <a:srgbClr val="FFFFFF">
                  <a:alpha val="60000"/>
                </a:srgbClr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25400" dist="12700" dir="2700000" algn="tl" rotWithShape="0">
                  <a:prstClr val="black">
                    <a:alpha val="50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</a:pPr>
                <a:r>
                  <a:rPr lang="de-DE" sz="2000" b="1" noProof="1" smtClean="0">
                    <a:solidFill>
                      <a:srgbClr val="000000"/>
                    </a:solidFill>
                  </a:rPr>
                  <a:t>3</a:t>
                </a:r>
              </a:p>
            </p:txBody>
          </p:sp>
          <p:sp>
            <p:nvSpPr>
              <p:cNvPr id="105" name="Abgerundetes Rechteck 104"/>
              <p:cNvSpPr/>
              <p:nvPr/>
            </p:nvSpPr>
            <p:spPr bwMode="gray">
              <a:xfrm>
                <a:off x="4378333" y="4455415"/>
                <a:ext cx="362474" cy="362474"/>
              </a:xfrm>
              <a:prstGeom prst="roundRect">
                <a:avLst/>
              </a:prstGeom>
              <a:solidFill>
                <a:srgbClr val="FFFFFF">
                  <a:alpha val="60000"/>
                </a:srgbClr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25400" dist="12700" dir="2700000" algn="tl" rotWithShape="0">
                  <a:prstClr val="black">
                    <a:alpha val="50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</a:pPr>
                <a:r>
                  <a:rPr lang="de-DE" sz="2000" b="1" noProof="1" smtClean="0">
                    <a:solidFill>
                      <a:srgbClr val="000000"/>
                    </a:solidFill>
                  </a:rPr>
                  <a:t>4</a:t>
                </a:r>
              </a:p>
            </p:txBody>
          </p:sp>
          <p:sp>
            <p:nvSpPr>
              <p:cNvPr id="107" name="Freeform 33"/>
              <p:cNvSpPr>
                <a:spLocks/>
              </p:cNvSpPr>
              <p:nvPr/>
            </p:nvSpPr>
            <p:spPr bwMode="gray">
              <a:xfrm>
                <a:off x="4002267" y="4940276"/>
                <a:ext cx="1110441" cy="792402"/>
              </a:xfrm>
              <a:custGeom>
                <a:avLst/>
                <a:gdLst/>
                <a:ahLst/>
                <a:cxnLst>
                  <a:cxn ang="0">
                    <a:pos x="115" y="14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63"/>
                  </a:cxn>
                  <a:cxn ang="0">
                    <a:pos x="229" y="163"/>
                  </a:cxn>
                  <a:cxn ang="0">
                    <a:pos x="229" y="1"/>
                  </a:cxn>
                  <a:cxn ang="0">
                    <a:pos x="115" y="14"/>
                  </a:cxn>
                </a:cxnLst>
                <a:rect l="0" t="0" r="r" b="b"/>
                <a:pathLst>
                  <a:path w="229" h="163">
                    <a:moveTo>
                      <a:pt x="115" y="14"/>
                    </a:moveTo>
                    <a:cubicBezTo>
                      <a:pt x="55" y="14"/>
                      <a:pt x="6" y="8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63"/>
                      <a:pt x="0" y="163"/>
                      <a:pt x="0" y="163"/>
                    </a:cubicBezTo>
                    <a:cubicBezTo>
                      <a:pt x="229" y="163"/>
                      <a:pt x="229" y="163"/>
                      <a:pt x="229" y="163"/>
                    </a:cubicBezTo>
                    <a:cubicBezTo>
                      <a:pt x="229" y="1"/>
                      <a:pt x="229" y="1"/>
                      <a:pt x="229" y="1"/>
                    </a:cubicBezTo>
                    <a:cubicBezTo>
                      <a:pt x="222" y="8"/>
                      <a:pt x="174" y="14"/>
                      <a:pt x="115" y="14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969696"/>
                  </a:gs>
                  <a:gs pos="50000">
                    <a:srgbClr val="D7D7D7"/>
                  </a:gs>
                  <a:gs pos="100000">
                    <a:srgbClr val="969696"/>
                  </a:gs>
                </a:gsLst>
                <a:lin ang="0" scaled="1"/>
              </a:gra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noProof="1"/>
              </a:p>
            </p:txBody>
          </p:sp>
          <p:sp>
            <p:nvSpPr>
              <p:cNvPr id="108" name="Oval 36"/>
              <p:cNvSpPr>
                <a:spLocks noChangeArrowheads="1"/>
              </p:cNvSpPr>
              <p:nvPr/>
            </p:nvSpPr>
            <p:spPr bwMode="gray">
              <a:xfrm>
                <a:off x="4002267" y="5664399"/>
                <a:ext cx="1110441" cy="145544"/>
              </a:xfrm>
              <a:prstGeom prst="ellipse">
                <a:avLst/>
              </a:prstGeom>
              <a:gradFill rotWithShape="1">
                <a:gsLst>
                  <a:gs pos="0">
                    <a:srgbClr val="AFAFAF"/>
                  </a:gs>
                  <a:gs pos="50000">
                    <a:srgbClr val="E6E6E6"/>
                  </a:gs>
                  <a:gs pos="100000">
                    <a:srgbClr val="AFAFAF"/>
                  </a:gs>
                </a:gsLst>
                <a:lin ang="0" scaled="1"/>
              </a:gra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noProof="1"/>
              </a:p>
            </p:txBody>
          </p:sp>
          <p:pic>
            <p:nvPicPr>
              <p:cNvPr id="64" name="Picture 19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38919" y="1903313"/>
                <a:ext cx="2000583" cy="33450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09" name="Abgerundetes Rechteck 108"/>
              <p:cNvSpPr/>
              <p:nvPr/>
            </p:nvSpPr>
            <p:spPr bwMode="gray">
              <a:xfrm>
                <a:off x="4378333" y="5222628"/>
                <a:ext cx="360000" cy="360000"/>
              </a:xfrm>
              <a:prstGeom prst="roundRect">
                <a:avLst/>
              </a:prstGeom>
              <a:solidFill>
                <a:srgbClr val="FFFFFF">
                  <a:alpha val="60000"/>
                </a:srgbClr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25400" dist="12700" dir="2700000" algn="tl" rotWithShape="0">
                  <a:prstClr val="black">
                    <a:alpha val="50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</a:pPr>
                <a:r>
                  <a:rPr lang="de-DE" sz="2000" b="1" noProof="1" smtClean="0">
                    <a:solidFill>
                      <a:srgbClr val="000000"/>
                    </a:solidFill>
                  </a:rPr>
                  <a:t>5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58034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Funnels - 3D 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noProof="1" smtClean="0"/>
              <a:t>6 </a:t>
            </a:r>
            <a:r>
              <a:rPr lang="en-US" noProof="1"/>
              <a:t>Step Divisions</a:t>
            </a:r>
          </a:p>
        </p:txBody>
      </p:sp>
      <p:grpSp>
        <p:nvGrpSpPr>
          <p:cNvPr id="31" name="Group 73"/>
          <p:cNvGrpSpPr>
            <a:grpSpLocks/>
          </p:cNvGrpSpPr>
          <p:nvPr/>
        </p:nvGrpSpPr>
        <p:grpSpPr bwMode="gray">
          <a:xfrm>
            <a:off x="2037957" y="1973779"/>
            <a:ext cx="1577617" cy="2919849"/>
            <a:chOff x="1491" y="1363"/>
            <a:chExt cx="878" cy="1625"/>
          </a:xfrm>
        </p:grpSpPr>
        <p:sp>
          <p:nvSpPr>
            <p:cNvPr id="32" name="Text Box 45"/>
            <p:cNvSpPr txBox="1">
              <a:spLocks noChangeArrowheads="1"/>
            </p:cNvSpPr>
            <p:nvPr/>
          </p:nvSpPr>
          <p:spPr bwMode="gray">
            <a:xfrm rot="3595528">
              <a:off x="1092" y="2114"/>
              <a:ext cx="1393" cy="2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>
              <a:spAutoFit/>
            </a:bodyPr>
            <a:lstStyle/>
            <a:p>
              <a:pPr marL="180000" indent="-180000" algn="ct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de-DE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nter your own text here</a:t>
              </a:r>
            </a:p>
          </p:txBody>
        </p:sp>
        <p:sp>
          <p:nvSpPr>
            <p:cNvPr id="33" name="Line 46"/>
            <p:cNvSpPr>
              <a:spLocks noChangeShapeType="1"/>
            </p:cNvSpPr>
            <p:nvPr/>
          </p:nvSpPr>
          <p:spPr bwMode="gray">
            <a:xfrm rot="21500941" flipH="1" flipV="1">
              <a:off x="1491" y="1363"/>
              <a:ext cx="878" cy="1625"/>
            </a:xfrm>
            <a:prstGeom prst="line">
              <a:avLst/>
            </a:prstGeom>
            <a:noFill/>
            <a:ln w="28575" cap="sq">
              <a:solidFill>
                <a:schemeClr val="tx1"/>
              </a:solidFill>
              <a:prstDash val="sysDot"/>
              <a:round/>
              <a:headEnd type="triangle" w="med" len="med"/>
              <a:tailEnd/>
            </a:ln>
          </p:spPr>
          <p:txBody>
            <a:bodyPr/>
            <a:lstStyle/>
            <a:p>
              <a:endParaRPr lang="de-DE" noProof="1"/>
            </a:p>
          </p:txBody>
        </p:sp>
      </p:grpSp>
      <p:pic>
        <p:nvPicPr>
          <p:cNvPr id="57" name="_effect" descr="C:\Users\marc.h\Desktop\Schatten-TES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01403" y="5843948"/>
            <a:ext cx="1898641" cy="361581"/>
          </a:xfrm>
          <a:prstGeom prst="rect">
            <a:avLst/>
          </a:prstGeom>
          <a:noFill/>
        </p:spPr>
      </p:pic>
      <p:grpSp>
        <p:nvGrpSpPr>
          <p:cNvPr id="9" name="Gruppieren 8"/>
          <p:cNvGrpSpPr/>
          <p:nvPr/>
        </p:nvGrpSpPr>
        <p:grpSpPr>
          <a:xfrm>
            <a:off x="5310187" y="1804877"/>
            <a:ext cx="3510754" cy="3934920"/>
            <a:chOff x="5310187" y="1804877"/>
            <a:chExt cx="3510754" cy="3934920"/>
          </a:xfrm>
        </p:grpSpPr>
        <p:sp>
          <p:nvSpPr>
            <p:cNvPr id="38" name="Text Box 9"/>
            <p:cNvSpPr txBox="1">
              <a:spLocks noChangeArrowheads="1"/>
            </p:cNvSpPr>
            <p:nvPr/>
          </p:nvSpPr>
          <p:spPr bwMode="gray">
            <a:xfrm>
              <a:off x="6910388" y="2008037"/>
              <a:ext cx="1898635" cy="2631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marL="180000" indent="-177800" algn="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US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laceholder text.</a:t>
              </a:r>
            </a:p>
          </p:txBody>
        </p:sp>
        <p:sp>
          <p:nvSpPr>
            <p:cNvPr id="40" name="Text Box 9"/>
            <p:cNvSpPr txBox="1">
              <a:spLocks noChangeArrowheads="1"/>
            </p:cNvSpPr>
            <p:nvPr/>
          </p:nvSpPr>
          <p:spPr bwMode="gray">
            <a:xfrm>
              <a:off x="6679948" y="2510591"/>
              <a:ext cx="2136620" cy="5262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marL="180000" indent="-177800" algn="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lace for </a:t>
              </a:r>
              <a:b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your own text.</a:t>
              </a:r>
              <a:endParaRPr lang="de-DE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1" name="Text Box 9"/>
            <p:cNvSpPr txBox="1">
              <a:spLocks noChangeArrowheads="1"/>
            </p:cNvSpPr>
            <p:nvPr/>
          </p:nvSpPr>
          <p:spPr bwMode="gray">
            <a:xfrm>
              <a:off x="6357938" y="3141112"/>
              <a:ext cx="2457121" cy="5262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marL="180000" indent="-177800" algn="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de-DE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his is a place </a:t>
              </a:r>
              <a: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/>
              </a:r>
              <a:b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or your own text.</a:t>
              </a:r>
              <a:endParaRPr lang="de-DE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2" name="Text Box 9"/>
            <p:cNvSpPr txBox="1">
              <a:spLocks noChangeArrowheads="1"/>
            </p:cNvSpPr>
            <p:nvPr/>
          </p:nvSpPr>
          <p:spPr bwMode="gray">
            <a:xfrm>
              <a:off x="6000749" y="3897265"/>
              <a:ext cx="2814310" cy="2631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marL="180000" indent="-177800" algn="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US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laceholder text.</a:t>
              </a:r>
            </a:p>
          </p:txBody>
        </p:sp>
        <p:sp>
          <p:nvSpPr>
            <p:cNvPr id="43" name="Text Box 9"/>
            <p:cNvSpPr txBox="1">
              <a:spLocks noChangeArrowheads="1"/>
            </p:cNvSpPr>
            <p:nvPr/>
          </p:nvSpPr>
          <p:spPr bwMode="gray">
            <a:xfrm>
              <a:off x="5310187" y="5078492"/>
              <a:ext cx="3504872" cy="5262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marL="180000" indent="-177800" algn="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lace for your </a:t>
              </a:r>
              <a:b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de-DE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own text.</a:t>
              </a:r>
              <a:endParaRPr lang="de-DE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5" name="Text Box 9"/>
            <p:cNvSpPr txBox="1">
              <a:spLocks noChangeArrowheads="1"/>
            </p:cNvSpPr>
            <p:nvPr/>
          </p:nvSpPr>
          <p:spPr bwMode="gray">
            <a:xfrm>
              <a:off x="5653088" y="4378199"/>
              <a:ext cx="3161971" cy="5262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marL="180000" indent="-177800" algn="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US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his is a </a:t>
              </a:r>
              <a:br>
                <a:rPr lang="en-US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laceholder text. </a:t>
              </a:r>
            </a:p>
          </p:txBody>
        </p:sp>
        <p:sp>
          <p:nvSpPr>
            <p:cNvPr id="47" name="Line 17"/>
            <p:cNvSpPr>
              <a:spLocks noChangeShapeType="1"/>
            </p:cNvSpPr>
            <p:nvPr/>
          </p:nvSpPr>
          <p:spPr bwMode="gray">
            <a:xfrm>
              <a:off x="6719887" y="2463863"/>
              <a:ext cx="2101053" cy="0"/>
            </a:xfrm>
            <a:prstGeom prst="line">
              <a:avLst/>
            </a:prstGeom>
            <a:noFill/>
            <a:ln w="19050" cap="sq">
              <a:solidFill>
                <a:srgbClr val="868282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8" name="Line 75"/>
            <p:cNvSpPr>
              <a:spLocks noChangeShapeType="1"/>
            </p:cNvSpPr>
            <p:nvPr/>
          </p:nvSpPr>
          <p:spPr bwMode="gray">
            <a:xfrm>
              <a:off x="6357938" y="3083617"/>
              <a:ext cx="2463003" cy="0"/>
            </a:xfrm>
            <a:prstGeom prst="line">
              <a:avLst/>
            </a:prstGeom>
            <a:noFill/>
            <a:ln w="19050" cap="sq">
              <a:solidFill>
                <a:srgbClr val="868282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9" name="Line 77"/>
            <p:cNvSpPr>
              <a:spLocks noChangeShapeType="1"/>
            </p:cNvSpPr>
            <p:nvPr/>
          </p:nvSpPr>
          <p:spPr bwMode="gray">
            <a:xfrm>
              <a:off x="5310187" y="4949920"/>
              <a:ext cx="3510754" cy="0"/>
            </a:xfrm>
            <a:prstGeom prst="line">
              <a:avLst/>
            </a:prstGeom>
            <a:noFill/>
            <a:ln w="19050" cap="sq">
              <a:solidFill>
                <a:srgbClr val="868282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0" name="Line 75"/>
            <p:cNvSpPr>
              <a:spLocks noChangeShapeType="1"/>
            </p:cNvSpPr>
            <p:nvPr/>
          </p:nvSpPr>
          <p:spPr bwMode="gray">
            <a:xfrm>
              <a:off x="6000749" y="3724905"/>
              <a:ext cx="2820191" cy="0"/>
            </a:xfrm>
            <a:prstGeom prst="line">
              <a:avLst/>
            </a:prstGeom>
            <a:noFill/>
            <a:ln w="19050" cap="sq">
              <a:solidFill>
                <a:srgbClr val="868282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1" name="Line 77"/>
            <p:cNvSpPr>
              <a:spLocks noChangeShapeType="1"/>
            </p:cNvSpPr>
            <p:nvPr/>
          </p:nvSpPr>
          <p:spPr bwMode="gray">
            <a:xfrm>
              <a:off x="5653088" y="4332775"/>
              <a:ext cx="3167853" cy="0"/>
            </a:xfrm>
            <a:prstGeom prst="line">
              <a:avLst/>
            </a:prstGeom>
            <a:noFill/>
            <a:ln w="19050" cap="sq">
              <a:solidFill>
                <a:srgbClr val="868282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3" name="Line 39"/>
            <p:cNvSpPr>
              <a:spLocks noChangeShapeType="1"/>
            </p:cNvSpPr>
            <p:nvPr/>
          </p:nvSpPr>
          <p:spPr bwMode="gray">
            <a:xfrm>
              <a:off x="5310187" y="5739797"/>
              <a:ext cx="3510754" cy="0"/>
            </a:xfrm>
            <a:prstGeom prst="line">
              <a:avLst/>
            </a:prstGeom>
            <a:noFill/>
            <a:ln w="19050" cap="sq">
              <a:solidFill>
                <a:srgbClr val="868282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  <p:sp>
          <p:nvSpPr>
            <p:cNvPr id="121" name="Line 11"/>
            <p:cNvSpPr>
              <a:spLocks noChangeShapeType="1"/>
            </p:cNvSpPr>
            <p:nvPr/>
          </p:nvSpPr>
          <p:spPr bwMode="gray">
            <a:xfrm>
              <a:off x="7094220" y="1804877"/>
              <a:ext cx="1719102" cy="0"/>
            </a:xfrm>
            <a:prstGeom prst="line">
              <a:avLst/>
            </a:prstGeom>
            <a:noFill/>
            <a:ln w="19050" cap="sq">
              <a:solidFill>
                <a:srgbClr val="868282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2201831" y="1561277"/>
            <a:ext cx="4694269" cy="4248666"/>
            <a:chOff x="2201831" y="1561277"/>
            <a:chExt cx="4694269" cy="4248666"/>
          </a:xfrm>
          <a:effectLst>
            <a:outerShdw blurRad="6604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110" name="_color1"/>
            <p:cNvSpPr>
              <a:spLocks noChangeAspect="1"/>
            </p:cNvSpPr>
            <p:nvPr/>
          </p:nvSpPr>
          <p:spPr bwMode="gray">
            <a:xfrm>
              <a:off x="3638985" y="4334071"/>
              <a:ext cx="1820186" cy="68145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4" y="127"/>
                </a:cxn>
                <a:cxn ang="0">
                  <a:pos x="74" y="127"/>
                </a:cxn>
                <a:cxn ang="0">
                  <a:pos x="188" y="141"/>
                </a:cxn>
                <a:cxn ang="0">
                  <a:pos x="302" y="128"/>
                </a:cxn>
                <a:cxn ang="0">
                  <a:pos x="302" y="127"/>
                </a:cxn>
                <a:cxn ang="0">
                  <a:pos x="302" y="127"/>
                </a:cxn>
                <a:cxn ang="0">
                  <a:pos x="303" y="126"/>
                </a:cxn>
                <a:cxn ang="0">
                  <a:pos x="375" y="0"/>
                </a:cxn>
                <a:cxn ang="0">
                  <a:pos x="188" y="21"/>
                </a:cxn>
                <a:cxn ang="0">
                  <a:pos x="0" y="0"/>
                </a:cxn>
              </a:cxnLst>
              <a:rect l="0" t="0" r="r" b="b"/>
              <a:pathLst>
                <a:path w="375" h="141">
                  <a:moveTo>
                    <a:pt x="0" y="0"/>
                  </a:moveTo>
                  <a:cubicBezTo>
                    <a:pt x="74" y="127"/>
                    <a:pt x="74" y="127"/>
                    <a:pt x="74" y="127"/>
                  </a:cubicBezTo>
                  <a:cubicBezTo>
                    <a:pt x="74" y="127"/>
                    <a:pt x="74" y="127"/>
                    <a:pt x="74" y="127"/>
                  </a:cubicBezTo>
                  <a:cubicBezTo>
                    <a:pt x="79" y="135"/>
                    <a:pt x="128" y="141"/>
                    <a:pt x="188" y="141"/>
                  </a:cubicBezTo>
                  <a:cubicBezTo>
                    <a:pt x="247" y="141"/>
                    <a:pt x="295" y="135"/>
                    <a:pt x="302" y="128"/>
                  </a:cubicBezTo>
                  <a:cubicBezTo>
                    <a:pt x="302" y="127"/>
                    <a:pt x="302" y="127"/>
                    <a:pt x="302" y="127"/>
                  </a:cubicBezTo>
                  <a:cubicBezTo>
                    <a:pt x="302" y="127"/>
                    <a:pt x="302" y="127"/>
                    <a:pt x="302" y="127"/>
                  </a:cubicBezTo>
                  <a:cubicBezTo>
                    <a:pt x="303" y="126"/>
                    <a:pt x="303" y="126"/>
                    <a:pt x="303" y="126"/>
                  </a:cubicBezTo>
                  <a:cubicBezTo>
                    <a:pt x="375" y="0"/>
                    <a:pt x="375" y="0"/>
                    <a:pt x="375" y="0"/>
                  </a:cubicBezTo>
                  <a:cubicBezTo>
                    <a:pt x="362" y="12"/>
                    <a:pt x="283" y="21"/>
                    <a:pt x="188" y="21"/>
                  </a:cubicBezTo>
                  <a:cubicBezTo>
                    <a:pt x="92" y="21"/>
                    <a:pt x="13" y="12"/>
                    <a:pt x="0" y="0"/>
                  </a:cubicBez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53000">
                  <a:schemeClr val="tx2">
                    <a:lumMod val="60000"/>
                    <a:lumOff val="40000"/>
                  </a:schemeClr>
                </a:gs>
                <a:gs pos="100000">
                  <a:schemeClr val="tx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  <p:sp>
          <p:nvSpPr>
            <p:cNvPr id="111" name="Freeform 146"/>
            <p:cNvSpPr>
              <a:spLocks noChangeAspect="1"/>
            </p:cNvSpPr>
            <p:nvPr/>
          </p:nvSpPr>
          <p:spPr bwMode="gray">
            <a:xfrm>
              <a:off x="2569393" y="2471182"/>
              <a:ext cx="3959374" cy="801265"/>
            </a:xfrm>
            <a:custGeom>
              <a:avLst/>
              <a:gdLst/>
              <a:ahLst/>
              <a:cxnLst>
                <a:cxn ang="0">
                  <a:pos x="407" y="45"/>
                </a:cxn>
                <a:cxn ang="0">
                  <a:pos x="0" y="1"/>
                </a:cxn>
                <a:cxn ang="0">
                  <a:pos x="69" y="121"/>
                </a:cxn>
                <a:cxn ang="0">
                  <a:pos x="74" y="129"/>
                </a:cxn>
                <a:cxn ang="0">
                  <a:pos x="407" y="165"/>
                </a:cxn>
                <a:cxn ang="0">
                  <a:pos x="741" y="128"/>
                </a:cxn>
                <a:cxn ang="0">
                  <a:pos x="745" y="122"/>
                </a:cxn>
                <a:cxn ang="0">
                  <a:pos x="815" y="0"/>
                </a:cxn>
                <a:cxn ang="0">
                  <a:pos x="407" y="45"/>
                </a:cxn>
              </a:cxnLst>
              <a:rect l="0" t="0" r="r" b="b"/>
              <a:pathLst>
                <a:path w="815" h="165">
                  <a:moveTo>
                    <a:pt x="407" y="45"/>
                  </a:moveTo>
                  <a:cubicBezTo>
                    <a:pt x="200" y="45"/>
                    <a:pt x="29" y="26"/>
                    <a:pt x="0" y="1"/>
                  </a:cubicBezTo>
                  <a:cubicBezTo>
                    <a:pt x="69" y="121"/>
                    <a:pt x="69" y="121"/>
                    <a:pt x="69" y="121"/>
                  </a:cubicBezTo>
                  <a:cubicBezTo>
                    <a:pt x="74" y="129"/>
                    <a:pt x="74" y="129"/>
                    <a:pt x="74" y="129"/>
                  </a:cubicBezTo>
                  <a:cubicBezTo>
                    <a:pt x="101" y="149"/>
                    <a:pt x="240" y="165"/>
                    <a:pt x="407" y="165"/>
                  </a:cubicBezTo>
                  <a:cubicBezTo>
                    <a:pt x="577" y="165"/>
                    <a:pt x="718" y="149"/>
                    <a:pt x="741" y="128"/>
                  </a:cubicBezTo>
                  <a:cubicBezTo>
                    <a:pt x="745" y="122"/>
                    <a:pt x="745" y="122"/>
                    <a:pt x="745" y="122"/>
                  </a:cubicBezTo>
                  <a:cubicBezTo>
                    <a:pt x="815" y="0"/>
                    <a:pt x="815" y="0"/>
                    <a:pt x="815" y="0"/>
                  </a:cubicBezTo>
                  <a:cubicBezTo>
                    <a:pt x="786" y="26"/>
                    <a:pt x="614" y="45"/>
                    <a:pt x="407" y="45"/>
                  </a:cubicBezTo>
                  <a:close/>
                </a:path>
              </a:pathLst>
            </a:custGeom>
            <a:gradFill rotWithShape="1">
              <a:gsLst>
                <a:gs pos="0">
                  <a:srgbClr val="969696"/>
                </a:gs>
                <a:gs pos="50000">
                  <a:srgbClr val="E6E6E6"/>
                </a:gs>
                <a:gs pos="100000">
                  <a:srgbClr val="969696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  <p:sp>
          <p:nvSpPr>
            <p:cNvPr id="112" name="Freeform 147"/>
            <p:cNvSpPr>
              <a:spLocks noChangeAspect="1"/>
            </p:cNvSpPr>
            <p:nvPr/>
          </p:nvSpPr>
          <p:spPr bwMode="gray">
            <a:xfrm>
              <a:off x="2929676" y="3102221"/>
              <a:ext cx="3238805" cy="748846"/>
            </a:xfrm>
            <a:custGeom>
              <a:avLst/>
              <a:gdLst/>
              <a:ahLst/>
              <a:cxnLst>
                <a:cxn ang="0">
                  <a:pos x="333" y="37"/>
                </a:cxn>
                <a:cxn ang="0">
                  <a:pos x="0" y="1"/>
                </a:cxn>
                <a:cxn ang="0">
                  <a:pos x="33" y="58"/>
                </a:cxn>
                <a:cxn ang="0">
                  <a:pos x="35" y="61"/>
                </a:cxn>
                <a:cxn ang="0">
                  <a:pos x="36" y="64"/>
                </a:cxn>
                <a:cxn ang="0">
                  <a:pos x="69" y="121"/>
                </a:cxn>
                <a:cxn ang="0">
                  <a:pos x="74" y="129"/>
                </a:cxn>
                <a:cxn ang="0">
                  <a:pos x="333" y="155"/>
                </a:cxn>
                <a:cxn ang="0">
                  <a:pos x="594" y="127"/>
                </a:cxn>
                <a:cxn ang="0">
                  <a:pos x="597" y="122"/>
                </a:cxn>
                <a:cxn ang="0">
                  <a:pos x="631" y="64"/>
                </a:cxn>
                <a:cxn ang="0">
                  <a:pos x="632" y="61"/>
                </a:cxn>
                <a:cxn ang="0">
                  <a:pos x="634" y="58"/>
                </a:cxn>
                <a:cxn ang="0">
                  <a:pos x="667" y="0"/>
                </a:cxn>
                <a:cxn ang="0">
                  <a:pos x="333" y="37"/>
                </a:cxn>
              </a:cxnLst>
              <a:rect l="0" t="0" r="r" b="b"/>
              <a:pathLst>
                <a:path w="667" h="155">
                  <a:moveTo>
                    <a:pt x="333" y="37"/>
                  </a:moveTo>
                  <a:cubicBezTo>
                    <a:pt x="166" y="37"/>
                    <a:pt x="27" y="21"/>
                    <a:pt x="0" y="1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69" y="121"/>
                    <a:pt x="69" y="121"/>
                    <a:pt x="69" y="121"/>
                  </a:cubicBezTo>
                  <a:cubicBezTo>
                    <a:pt x="74" y="129"/>
                    <a:pt x="74" y="129"/>
                    <a:pt x="74" y="129"/>
                  </a:cubicBezTo>
                  <a:cubicBezTo>
                    <a:pt x="98" y="144"/>
                    <a:pt x="205" y="155"/>
                    <a:pt x="333" y="155"/>
                  </a:cubicBezTo>
                  <a:cubicBezTo>
                    <a:pt x="466" y="155"/>
                    <a:pt x="577" y="143"/>
                    <a:pt x="594" y="127"/>
                  </a:cubicBezTo>
                  <a:cubicBezTo>
                    <a:pt x="597" y="122"/>
                    <a:pt x="597" y="122"/>
                    <a:pt x="597" y="122"/>
                  </a:cubicBezTo>
                  <a:cubicBezTo>
                    <a:pt x="631" y="64"/>
                    <a:pt x="631" y="64"/>
                    <a:pt x="631" y="64"/>
                  </a:cubicBezTo>
                  <a:cubicBezTo>
                    <a:pt x="632" y="61"/>
                    <a:pt x="632" y="61"/>
                    <a:pt x="632" y="61"/>
                  </a:cubicBezTo>
                  <a:cubicBezTo>
                    <a:pt x="634" y="58"/>
                    <a:pt x="634" y="58"/>
                    <a:pt x="634" y="58"/>
                  </a:cubicBezTo>
                  <a:cubicBezTo>
                    <a:pt x="667" y="0"/>
                    <a:pt x="667" y="0"/>
                    <a:pt x="667" y="0"/>
                  </a:cubicBezTo>
                  <a:cubicBezTo>
                    <a:pt x="644" y="21"/>
                    <a:pt x="503" y="37"/>
                    <a:pt x="333" y="37"/>
                  </a:cubicBezTo>
                  <a:close/>
                </a:path>
              </a:pathLst>
            </a:custGeom>
            <a:gradFill rotWithShape="1">
              <a:gsLst>
                <a:gs pos="0">
                  <a:srgbClr val="969696"/>
                </a:gs>
                <a:gs pos="50000">
                  <a:srgbClr val="E6E6E6"/>
                </a:gs>
                <a:gs pos="100000">
                  <a:srgbClr val="969696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  <p:sp>
          <p:nvSpPr>
            <p:cNvPr id="113" name="Freeform 148"/>
            <p:cNvSpPr>
              <a:spLocks noChangeAspect="1"/>
            </p:cNvSpPr>
            <p:nvPr/>
          </p:nvSpPr>
          <p:spPr bwMode="gray">
            <a:xfrm>
              <a:off x="2212860" y="1859135"/>
              <a:ext cx="4672436" cy="838707"/>
            </a:xfrm>
            <a:custGeom>
              <a:avLst/>
              <a:gdLst/>
              <a:ahLst/>
              <a:cxnLst>
                <a:cxn ang="0">
                  <a:pos x="481" y="45"/>
                </a:cxn>
                <a:cxn ang="0">
                  <a:pos x="0" y="0"/>
                </a:cxn>
                <a:cxn ang="0">
                  <a:pos x="69" y="121"/>
                </a:cxn>
                <a:cxn ang="0">
                  <a:pos x="74" y="129"/>
                </a:cxn>
                <a:cxn ang="0">
                  <a:pos x="481" y="173"/>
                </a:cxn>
                <a:cxn ang="0">
                  <a:pos x="889" y="128"/>
                </a:cxn>
                <a:cxn ang="0">
                  <a:pos x="893" y="121"/>
                </a:cxn>
                <a:cxn ang="0">
                  <a:pos x="963" y="0"/>
                </a:cxn>
                <a:cxn ang="0">
                  <a:pos x="481" y="45"/>
                </a:cxn>
              </a:cxnLst>
              <a:rect l="0" t="0" r="r" b="b"/>
              <a:pathLst>
                <a:path w="963" h="173">
                  <a:moveTo>
                    <a:pt x="481" y="45"/>
                  </a:moveTo>
                  <a:cubicBezTo>
                    <a:pt x="237" y="45"/>
                    <a:pt x="35" y="25"/>
                    <a:pt x="0" y="0"/>
                  </a:cubicBezTo>
                  <a:cubicBezTo>
                    <a:pt x="69" y="121"/>
                    <a:pt x="69" y="121"/>
                    <a:pt x="69" y="121"/>
                  </a:cubicBezTo>
                  <a:cubicBezTo>
                    <a:pt x="74" y="129"/>
                    <a:pt x="74" y="129"/>
                    <a:pt x="74" y="129"/>
                  </a:cubicBezTo>
                  <a:cubicBezTo>
                    <a:pt x="103" y="154"/>
                    <a:pt x="274" y="173"/>
                    <a:pt x="481" y="173"/>
                  </a:cubicBezTo>
                  <a:cubicBezTo>
                    <a:pt x="688" y="173"/>
                    <a:pt x="860" y="154"/>
                    <a:pt x="889" y="128"/>
                  </a:cubicBezTo>
                  <a:cubicBezTo>
                    <a:pt x="893" y="121"/>
                    <a:pt x="893" y="121"/>
                    <a:pt x="893" y="121"/>
                  </a:cubicBezTo>
                  <a:cubicBezTo>
                    <a:pt x="963" y="0"/>
                    <a:pt x="963" y="0"/>
                    <a:pt x="963" y="0"/>
                  </a:cubicBezTo>
                  <a:cubicBezTo>
                    <a:pt x="928" y="25"/>
                    <a:pt x="726" y="45"/>
                    <a:pt x="481" y="45"/>
                  </a:cubicBezTo>
                  <a:close/>
                </a:path>
              </a:pathLst>
            </a:custGeom>
            <a:gradFill rotWithShape="1">
              <a:gsLst>
                <a:gs pos="0">
                  <a:srgbClr val="969696"/>
                </a:gs>
                <a:gs pos="50000">
                  <a:srgbClr val="E3E3E3"/>
                </a:gs>
                <a:gs pos="100000">
                  <a:srgbClr val="969696"/>
                </a:gs>
              </a:gsLst>
              <a:lin ang="0" scaled="1"/>
            </a:gra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  <p:sp>
          <p:nvSpPr>
            <p:cNvPr id="114" name="Freeform 149"/>
            <p:cNvSpPr>
              <a:spLocks noChangeAspect="1"/>
            </p:cNvSpPr>
            <p:nvPr/>
          </p:nvSpPr>
          <p:spPr bwMode="gray">
            <a:xfrm>
              <a:off x="3289961" y="3716274"/>
              <a:ext cx="2525743" cy="718893"/>
            </a:xfrm>
            <a:custGeom>
              <a:avLst/>
              <a:gdLst/>
              <a:ahLst/>
              <a:cxnLst>
                <a:cxn ang="0">
                  <a:pos x="259" y="28"/>
                </a:cxn>
                <a:cxn ang="0">
                  <a:pos x="0" y="2"/>
                </a:cxn>
                <a:cxn ang="0">
                  <a:pos x="71" y="124"/>
                </a:cxn>
                <a:cxn ang="0">
                  <a:pos x="72" y="127"/>
                </a:cxn>
                <a:cxn ang="0">
                  <a:pos x="260" y="148"/>
                </a:cxn>
                <a:cxn ang="0">
                  <a:pos x="447" y="127"/>
                </a:cxn>
                <a:cxn ang="0">
                  <a:pos x="449" y="124"/>
                </a:cxn>
                <a:cxn ang="0">
                  <a:pos x="520" y="0"/>
                </a:cxn>
                <a:cxn ang="0">
                  <a:pos x="259" y="28"/>
                </a:cxn>
              </a:cxnLst>
              <a:rect l="0" t="0" r="r" b="b"/>
              <a:pathLst>
                <a:path w="520" h="148">
                  <a:moveTo>
                    <a:pt x="259" y="28"/>
                  </a:moveTo>
                  <a:cubicBezTo>
                    <a:pt x="131" y="28"/>
                    <a:pt x="24" y="17"/>
                    <a:pt x="0" y="2"/>
                  </a:cubicBezTo>
                  <a:cubicBezTo>
                    <a:pt x="71" y="124"/>
                    <a:pt x="71" y="124"/>
                    <a:pt x="71" y="124"/>
                  </a:cubicBezTo>
                  <a:cubicBezTo>
                    <a:pt x="72" y="127"/>
                    <a:pt x="72" y="127"/>
                    <a:pt x="72" y="127"/>
                  </a:cubicBezTo>
                  <a:cubicBezTo>
                    <a:pt x="85" y="139"/>
                    <a:pt x="164" y="148"/>
                    <a:pt x="260" y="148"/>
                  </a:cubicBezTo>
                  <a:cubicBezTo>
                    <a:pt x="355" y="148"/>
                    <a:pt x="434" y="139"/>
                    <a:pt x="447" y="127"/>
                  </a:cubicBezTo>
                  <a:cubicBezTo>
                    <a:pt x="449" y="124"/>
                    <a:pt x="449" y="124"/>
                    <a:pt x="449" y="124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503" y="16"/>
                    <a:pt x="392" y="28"/>
                    <a:pt x="259" y="28"/>
                  </a:cubicBezTo>
                  <a:close/>
                </a:path>
              </a:pathLst>
            </a:custGeom>
            <a:gradFill rotWithShape="1">
              <a:gsLst>
                <a:gs pos="0">
                  <a:srgbClr val="969696"/>
                </a:gs>
                <a:gs pos="50000">
                  <a:srgbClr val="E6E6E6"/>
                </a:gs>
                <a:gs pos="100000">
                  <a:srgbClr val="969696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  <p:sp>
          <p:nvSpPr>
            <p:cNvPr id="115" name="Oval 151"/>
            <p:cNvSpPr>
              <a:spLocks noChangeAspect="1" noChangeArrowheads="1"/>
            </p:cNvSpPr>
            <p:nvPr/>
          </p:nvSpPr>
          <p:spPr bwMode="gray">
            <a:xfrm>
              <a:off x="2929676" y="2877565"/>
              <a:ext cx="3238805" cy="404376"/>
            </a:xfrm>
            <a:prstGeom prst="ellipse">
              <a:avLst/>
            </a:prstGeom>
            <a:gradFill rotWithShape="1">
              <a:gsLst>
                <a:gs pos="0">
                  <a:srgbClr val="D7D7D7"/>
                </a:gs>
                <a:gs pos="100000">
                  <a:srgbClr val="969696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noProof="1"/>
            </a:p>
          </p:txBody>
        </p:sp>
        <p:sp>
          <p:nvSpPr>
            <p:cNvPr id="116" name="Oval 152"/>
            <p:cNvSpPr>
              <a:spLocks noChangeAspect="1" noChangeArrowheads="1"/>
            </p:cNvSpPr>
            <p:nvPr/>
          </p:nvSpPr>
          <p:spPr bwMode="gray">
            <a:xfrm>
              <a:off x="3289961" y="3551528"/>
              <a:ext cx="2525743" cy="314515"/>
            </a:xfrm>
            <a:prstGeom prst="ellipse">
              <a:avLst/>
            </a:prstGeom>
            <a:gradFill rotWithShape="1">
              <a:gsLst>
                <a:gs pos="0">
                  <a:srgbClr val="D7D7D7"/>
                </a:gs>
                <a:gs pos="100000">
                  <a:srgbClr val="969696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noProof="1"/>
            </a:p>
          </p:txBody>
        </p:sp>
        <p:sp>
          <p:nvSpPr>
            <p:cNvPr id="117" name="_color1"/>
            <p:cNvSpPr>
              <a:spLocks noChangeAspect="1" noChangeArrowheads="1"/>
            </p:cNvSpPr>
            <p:nvPr/>
          </p:nvSpPr>
          <p:spPr bwMode="gray">
            <a:xfrm>
              <a:off x="3642739" y="4219814"/>
              <a:ext cx="1816433" cy="224654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  <p:sp>
          <p:nvSpPr>
            <p:cNvPr id="118" name="Oval 154"/>
            <p:cNvSpPr>
              <a:spLocks noChangeAspect="1" noChangeArrowheads="1"/>
            </p:cNvSpPr>
            <p:nvPr/>
          </p:nvSpPr>
          <p:spPr bwMode="gray">
            <a:xfrm>
              <a:off x="2569393" y="2203604"/>
              <a:ext cx="3959374" cy="490494"/>
            </a:xfrm>
            <a:prstGeom prst="ellipse">
              <a:avLst/>
            </a:prstGeom>
            <a:gradFill rotWithShape="1">
              <a:gsLst>
                <a:gs pos="0">
                  <a:srgbClr val="D7D7D7"/>
                </a:gs>
                <a:gs pos="100000">
                  <a:srgbClr val="969696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noProof="1"/>
            </a:p>
          </p:txBody>
        </p:sp>
        <p:sp>
          <p:nvSpPr>
            <p:cNvPr id="119" name="_color1"/>
            <p:cNvSpPr>
              <a:spLocks noChangeAspect="1" noChangeArrowheads="1"/>
            </p:cNvSpPr>
            <p:nvPr/>
          </p:nvSpPr>
          <p:spPr bwMode="gray">
            <a:xfrm>
              <a:off x="3999270" y="4876986"/>
              <a:ext cx="1107124" cy="138536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  <p:sp>
          <p:nvSpPr>
            <p:cNvPr id="122" name="Freeform 33"/>
            <p:cNvSpPr>
              <a:spLocks/>
            </p:cNvSpPr>
            <p:nvPr/>
          </p:nvSpPr>
          <p:spPr bwMode="gray">
            <a:xfrm>
              <a:off x="4002267" y="4940276"/>
              <a:ext cx="1110441" cy="792402"/>
            </a:xfrm>
            <a:custGeom>
              <a:avLst/>
              <a:gdLst/>
              <a:ahLst/>
              <a:cxnLst>
                <a:cxn ang="0">
                  <a:pos x="115" y="14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63"/>
                </a:cxn>
                <a:cxn ang="0">
                  <a:pos x="229" y="163"/>
                </a:cxn>
                <a:cxn ang="0">
                  <a:pos x="229" y="1"/>
                </a:cxn>
                <a:cxn ang="0">
                  <a:pos x="115" y="14"/>
                </a:cxn>
              </a:cxnLst>
              <a:rect l="0" t="0" r="r" b="b"/>
              <a:pathLst>
                <a:path w="229" h="163">
                  <a:moveTo>
                    <a:pt x="115" y="14"/>
                  </a:moveTo>
                  <a:cubicBezTo>
                    <a:pt x="55" y="14"/>
                    <a:pt x="6" y="8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229" y="163"/>
                    <a:pt x="229" y="163"/>
                    <a:pt x="229" y="163"/>
                  </a:cubicBezTo>
                  <a:cubicBezTo>
                    <a:pt x="229" y="1"/>
                    <a:pt x="229" y="1"/>
                    <a:pt x="229" y="1"/>
                  </a:cubicBezTo>
                  <a:cubicBezTo>
                    <a:pt x="222" y="8"/>
                    <a:pt x="174" y="14"/>
                    <a:pt x="115" y="14"/>
                  </a:cubicBezTo>
                  <a:close/>
                </a:path>
              </a:pathLst>
            </a:custGeom>
            <a:gradFill rotWithShape="1">
              <a:gsLst>
                <a:gs pos="0">
                  <a:srgbClr val="969696"/>
                </a:gs>
                <a:gs pos="50000">
                  <a:srgbClr val="D7D7D7"/>
                </a:gs>
                <a:gs pos="100000">
                  <a:srgbClr val="969696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  <p:sp>
          <p:nvSpPr>
            <p:cNvPr id="123" name="Oval 36"/>
            <p:cNvSpPr>
              <a:spLocks noChangeArrowheads="1"/>
            </p:cNvSpPr>
            <p:nvPr/>
          </p:nvSpPr>
          <p:spPr bwMode="gray">
            <a:xfrm>
              <a:off x="4002267" y="5664399"/>
              <a:ext cx="1110441" cy="145544"/>
            </a:xfrm>
            <a:prstGeom prst="ellipse">
              <a:avLst/>
            </a:prstGeom>
            <a:gradFill rotWithShape="1">
              <a:gsLst>
                <a:gs pos="0">
                  <a:srgbClr val="AFAFAF"/>
                </a:gs>
                <a:gs pos="50000">
                  <a:srgbClr val="E6E6E6"/>
                </a:gs>
                <a:gs pos="100000">
                  <a:srgbClr val="AFAFAF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  <p:sp>
          <p:nvSpPr>
            <p:cNvPr id="124" name="Abgerundetes Rechteck 123"/>
            <p:cNvSpPr/>
            <p:nvPr/>
          </p:nvSpPr>
          <p:spPr bwMode="gray">
            <a:xfrm>
              <a:off x="4378333" y="5222628"/>
              <a:ext cx="360000" cy="360000"/>
            </a:xfrm>
            <a:prstGeom prst="roundRect">
              <a:avLst/>
            </a:prstGeom>
            <a:solidFill>
              <a:srgbClr val="FFFFFF">
                <a:alpha val="60000"/>
              </a:srgbClr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blurRad="25400" dist="12700" dir="2700000" algn="tl" rotWithShape="0">
                <a:prstClr val="black">
                  <a:alpha val="50000"/>
                </a:prstClr>
              </a:outerShdw>
            </a:effectLst>
          </p:spPr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</a:pPr>
              <a:r>
                <a:rPr lang="de-DE" sz="2000" b="1" noProof="1" smtClean="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125" name="Abgerundetes Rechteck 124"/>
            <p:cNvSpPr/>
            <p:nvPr/>
          </p:nvSpPr>
          <p:spPr bwMode="gray">
            <a:xfrm>
              <a:off x="4378333" y="4529965"/>
              <a:ext cx="360000" cy="360000"/>
            </a:xfrm>
            <a:prstGeom prst="roundRect">
              <a:avLst/>
            </a:prstGeom>
            <a:solidFill>
              <a:srgbClr val="FFFFFF">
                <a:alpha val="60000"/>
              </a:srgbClr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blurRad="25400" dist="12700" dir="2700000" algn="tl" rotWithShape="0">
                <a:prstClr val="black">
                  <a:alpha val="50000"/>
                </a:prstClr>
              </a:outerShdw>
            </a:effectLst>
          </p:spPr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</a:pPr>
              <a:r>
                <a:rPr lang="de-DE" sz="2000" b="1" noProof="1" smtClean="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126" name="Abgerundetes Rechteck 125"/>
            <p:cNvSpPr/>
            <p:nvPr/>
          </p:nvSpPr>
          <p:spPr bwMode="gray">
            <a:xfrm>
              <a:off x="4378333" y="3972775"/>
              <a:ext cx="360000" cy="360000"/>
            </a:xfrm>
            <a:prstGeom prst="roundRect">
              <a:avLst/>
            </a:prstGeom>
            <a:solidFill>
              <a:srgbClr val="FFFFFF">
                <a:alpha val="60000"/>
              </a:srgbClr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blurRad="25400" dist="12700" dir="2700000" algn="tl" rotWithShape="0">
                <a:prstClr val="black">
                  <a:alpha val="50000"/>
                </a:prstClr>
              </a:outerShdw>
            </a:effectLst>
          </p:spPr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</a:pPr>
              <a:r>
                <a:rPr lang="de-DE" sz="2000" b="1" noProof="1" smtClean="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127" name="Abgerundetes Rechteck 126"/>
            <p:cNvSpPr/>
            <p:nvPr/>
          </p:nvSpPr>
          <p:spPr bwMode="gray">
            <a:xfrm>
              <a:off x="4378333" y="3395026"/>
              <a:ext cx="360000" cy="360000"/>
            </a:xfrm>
            <a:prstGeom prst="roundRect">
              <a:avLst/>
            </a:prstGeom>
            <a:solidFill>
              <a:srgbClr val="FFFFFF">
                <a:alpha val="60000"/>
              </a:srgbClr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blurRad="25400" dist="12700" dir="2700000" algn="tl" rotWithShape="0">
                <a:prstClr val="black">
                  <a:alpha val="50000"/>
                </a:prstClr>
              </a:outerShdw>
            </a:effectLst>
          </p:spPr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</a:pPr>
              <a:r>
                <a:rPr lang="de-DE" sz="2000" b="1" noProof="1" smtClean="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128" name="Abgerundetes Rechteck 127"/>
            <p:cNvSpPr/>
            <p:nvPr/>
          </p:nvSpPr>
          <p:spPr bwMode="gray">
            <a:xfrm>
              <a:off x="4378333" y="2815948"/>
              <a:ext cx="360000" cy="360000"/>
            </a:xfrm>
            <a:prstGeom prst="roundRect">
              <a:avLst/>
            </a:prstGeom>
            <a:solidFill>
              <a:srgbClr val="FFFFFF">
                <a:alpha val="60000"/>
              </a:srgbClr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blurRad="25400" dist="12700" dir="2700000" algn="tl" rotWithShape="0">
                <a:prstClr val="black">
                  <a:alpha val="50000"/>
                </a:prstClr>
              </a:outerShdw>
            </a:effectLst>
          </p:spPr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</a:pPr>
              <a:r>
                <a:rPr lang="de-DE" sz="2000" b="1" noProof="1" smtClean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129" name="Abgerundetes Rechteck 128"/>
            <p:cNvSpPr/>
            <p:nvPr/>
          </p:nvSpPr>
          <p:spPr bwMode="gray">
            <a:xfrm>
              <a:off x="4378333" y="2203604"/>
              <a:ext cx="360000" cy="360000"/>
            </a:xfrm>
            <a:prstGeom prst="roundRect">
              <a:avLst/>
            </a:prstGeom>
            <a:solidFill>
              <a:srgbClr val="FFFFFF">
                <a:alpha val="60000"/>
              </a:srgbClr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blurRad="25400" dist="12700" dir="2700000" algn="tl" rotWithShape="0">
                <a:prstClr val="black">
                  <a:alpha val="50000"/>
                </a:prstClr>
              </a:outerShdw>
            </a:effectLst>
          </p:spPr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</a:pPr>
              <a:r>
                <a:rPr lang="de-DE" sz="2000" b="1" noProof="1" smtClean="0">
                  <a:solidFill>
                    <a:srgbClr val="000000"/>
                  </a:solidFill>
                </a:rPr>
                <a:t>1</a:t>
              </a:r>
            </a:p>
          </p:txBody>
        </p:sp>
        <p:pic>
          <p:nvPicPr>
            <p:cNvPr id="29" name="_effect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gray">
            <a:xfrm>
              <a:off x="2329591" y="1887691"/>
              <a:ext cx="2017710" cy="3365042"/>
            </a:xfrm>
            <a:prstGeom prst="rect">
              <a:avLst/>
            </a:prstGeom>
            <a:noFill/>
            <a:ln w="9525">
              <a:miter lim="800000"/>
              <a:headEnd/>
              <a:tailEnd/>
            </a:ln>
            <a:effectLst/>
          </p:spPr>
        </p:pic>
        <p:sp>
          <p:nvSpPr>
            <p:cNvPr id="120" name="Oval 143"/>
            <p:cNvSpPr>
              <a:spLocks noChangeAspect="1" noChangeArrowheads="1"/>
            </p:cNvSpPr>
            <p:nvPr/>
          </p:nvSpPr>
          <p:spPr bwMode="gray">
            <a:xfrm>
              <a:off x="2201831" y="1561277"/>
              <a:ext cx="4694269" cy="512960"/>
            </a:xfrm>
            <a:prstGeom prst="ellipse">
              <a:avLst/>
            </a:prstGeom>
            <a:gradFill rotWithShape="1">
              <a:gsLst>
                <a:gs pos="0">
                  <a:srgbClr val="969696"/>
                </a:gs>
                <a:gs pos="100000">
                  <a:srgbClr val="C0C0C0"/>
                </a:gs>
              </a:gsLst>
              <a:lin ang="5400000" scaled="1"/>
            </a:gradFill>
            <a:ln w="1270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 noProof="1"/>
            </a:p>
          </p:txBody>
        </p:sp>
      </p:grpSp>
    </p:spTree>
    <p:extLst>
      <p:ext uri="{BB962C8B-B14F-4D97-AF65-F5344CB8AC3E}">
        <p14:creationId xmlns:p14="http://schemas.microsoft.com/office/powerpoint/2010/main" val="3858034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/>
        </p:nvGrpSpPr>
        <p:grpSpPr>
          <a:xfrm>
            <a:off x="323895" y="1556864"/>
            <a:ext cx="4086540" cy="504000"/>
            <a:chOff x="323895" y="1556864"/>
            <a:chExt cx="4086540" cy="504000"/>
          </a:xfrm>
        </p:grpSpPr>
        <p:sp>
          <p:nvSpPr>
            <p:cNvPr id="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5" y="1556864"/>
              <a:ext cx="3683360" cy="503911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Agenda Slides</a:t>
              </a:r>
            </a:p>
          </p:txBody>
        </p:sp>
        <p:sp>
          <p:nvSpPr>
            <p:cNvPr id="3" name="Rechteck 2"/>
            <p:cNvSpPr/>
            <p:nvPr/>
          </p:nvSpPr>
          <p:spPr>
            <a:xfrm>
              <a:off x="323895" y="1556953"/>
              <a:ext cx="324000" cy="503911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323895" y="2180757"/>
            <a:ext cx="4086181" cy="504000"/>
            <a:chOff x="323895" y="2180757"/>
            <a:chExt cx="4086181" cy="504000"/>
          </a:xfrm>
        </p:grpSpPr>
        <p:sp>
          <p:nvSpPr>
            <p:cNvPr id="5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2180757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Gantt Charts</a:t>
              </a:r>
            </a:p>
          </p:txBody>
        </p:sp>
        <p:sp>
          <p:nvSpPr>
            <p:cNvPr id="92" name="Rechteck 91"/>
            <p:cNvSpPr/>
            <p:nvPr/>
          </p:nvSpPr>
          <p:spPr>
            <a:xfrm>
              <a:off x="323895" y="2180758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2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323895" y="2804650"/>
            <a:ext cx="4086181" cy="504000"/>
            <a:chOff x="323895" y="2804650"/>
            <a:chExt cx="4086181" cy="504000"/>
          </a:xfrm>
        </p:grpSpPr>
        <p:sp>
          <p:nvSpPr>
            <p:cNvPr id="93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2804650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Funnels 3D</a:t>
              </a:r>
            </a:p>
          </p:txBody>
        </p:sp>
        <p:sp>
          <p:nvSpPr>
            <p:cNvPr id="94" name="Rechteck 93"/>
            <p:cNvSpPr/>
            <p:nvPr/>
          </p:nvSpPr>
          <p:spPr>
            <a:xfrm>
              <a:off x="323895" y="2804651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3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9" name="Gruppieren 8"/>
          <p:cNvGrpSpPr/>
          <p:nvPr/>
        </p:nvGrpSpPr>
        <p:grpSpPr>
          <a:xfrm>
            <a:off x="323895" y="3428543"/>
            <a:ext cx="4086181" cy="504000"/>
            <a:chOff x="323895" y="3428543"/>
            <a:chExt cx="4086181" cy="504000"/>
          </a:xfrm>
        </p:grpSpPr>
        <p:sp>
          <p:nvSpPr>
            <p:cNvPr id="9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3428543"/>
              <a:ext cx="3682998" cy="503999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16200000" scaled="0"/>
              <a:tileRect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chemeClr val="bg1"/>
                  </a:solidFill>
                </a:rPr>
                <a:t>Pie </a:t>
              </a:r>
              <a:r>
                <a:rPr lang="en-US" sz="1600" b="1" noProof="1" smtClean="0">
                  <a:solidFill>
                    <a:schemeClr val="bg1"/>
                  </a:solidFill>
                </a:rPr>
                <a:t>/ Donut Charts</a:t>
              </a:r>
              <a:endParaRPr lang="en-US" sz="1600" b="1" noProof="1">
                <a:solidFill>
                  <a:schemeClr val="bg1"/>
                </a:solidFill>
              </a:endParaRPr>
            </a:p>
          </p:txBody>
        </p:sp>
        <p:sp>
          <p:nvSpPr>
            <p:cNvPr id="96" name="Rechteck 95"/>
            <p:cNvSpPr/>
            <p:nvPr/>
          </p:nvSpPr>
          <p:spPr>
            <a:xfrm>
              <a:off x="323895" y="3428544"/>
              <a:ext cx="324000" cy="503999"/>
            </a:xfrm>
            <a:prstGeom prst="rect">
              <a:avLst/>
            </a:pr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rgbClr val="0070C0"/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4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323895" y="4052436"/>
            <a:ext cx="4086181" cy="504000"/>
            <a:chOff x="323895" y="4052436"/>
            <a:chExt cx="4086181" cy="504000"/>
          </a:xfrm>
        </p:grpSpPr>
        <p:sp>
          <p:nvSpPr>
            <p:cNvPr id="9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4052436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Overlapping Text Boxes</a:t>
              </a:r>
            </a:p>
          </p:txBody>
        </p:sp>
        <p:sp>
          <p:nvSpPr>
            <p:cNvPr id="98" name="Rechteck 97"/>
            <p:cNvSpPr/>
            <p:nvPr/>
          </p:nvSpPr>
          <p:spPr>
            <a:xfrm>
              <a:off x="323895" y="4052437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5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2" name="Gruppieren 121"/>
          <p:cNvGrpSpPr/>
          <p:nvPr/>
        </p:nvGrpSpPr>
        <p:grpSpPr>
          <a:xfrm>
            <a:off x="323895" y="4676329"/>
            <a:ext cx="4086181" cy="504000"/>
            <a:chOff x="323895" y="4676329"/>
            <a:chExt cx="4086181" cy="504000"/>
          </a:xfrm>
        </p:grpSpPr>
        <p:sp>
          <p:nvSpPr>
            <p:cNvPr id="9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4676329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Timelines Arrows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323895" y="4676330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6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3" name="Gruppieren 122"/>
          <p:cNvGrpSpPr/>
          <p:nvPr/>
        </p:nvGrpSpPr>
        <p:grpSpPr>
          <a:xfrm>
            <a:off x="323895" y="5300224"/>
            <a:ext cx="4086181" cy="504000"/>
            <a:chOff x="323895" y="5300224"/>
            <a:chExt cx="4086181" cy="504000"/>
          </a:xfrm>
        </p:grpSpPr>
        <p:sp>
          <p:nvSpPr>
            <p:cNvPr id="101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5300224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Sphere with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Core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102" name="Rechteck 101"/>
            <p:cNvSpPr/>
            <p:nvPr/>
          </p:nvSpPr>
          <p:spPr>
            <a:xfrm>
              <a:off x="323895" y="5300225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7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4" name="Gruppieren 123"/>
          <p:cNvGrpSpPr/>
          <p:nvPr/>
        </p:nvGrpSpPr>
        <p:grpSpPr>
          <a:xfrm>
            <a:off x="4733970" y="1556862"/>
            <a:ext cx="4086181" cy="504000"/>
            <a:chOff x="4733970" y="1556862"/>
            <a:chExt cx="4086181" cy="504000"/>
          </a:xfrm>
        </p:grpSpPr>
        <p:sp>
          <p:nvSpPr>
            <p:cNvPr id="5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1556862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Step Process Chart</a:t>
              </a:r>
            </a:p>
          </p:txBody>
        </p:sp>
        <p:sp>
          <p:nvSpPr>
            <p:cNvPr id="58" name="Rechteck 57"/>
            <p:cNvSpPr/>
            <p:nvPr/>
          </p:nvSpPr>
          <p:spPr>
            <a:xfrm>
              <a:off x="4733970" y="1556863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8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5" name="Gruppieren 124"/>
          <p:cNvGrpSpPr/>
          <p:nvPr/>
        </p:nvGrpSpPr>
        <p:grpSpPr>
          <a:xfrm>
            <a:off x="4733970" y="2180756"/>
            <a:ext cx="4086181" cy="504000"/>
            <a:chOff x="4733970" y="2180756"/>
            <a:chExt cx="4086181" cy="504000"/>
          </a:xfrm>
        </p:grpSpPr>
        <p:sp>
          <p:nvSpPr>
            <p:cNvPr id="5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2180756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Curves and Trend Charts</a:t>
              </a:r>
            </a:p>
          </p:txBody>
        </p:sp>
        <p:sp>
          <p:nvSpPr>
            <p:cNvPr id="60" name="Rechteck 59"/>
            <p:cNvSpPr/>
            <p:nvPr/>
          </p:nvSpPr>
          <p:spPr>
            <a:xfrm>
              <a:off x="4733970" y="2180757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9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6" name="Gruppieren 125"/>
          <p:cNvGrpSpPr/>
          <p:nvPr/>
        </p:nvGrpSpPr>
        <p:grpSpPr>
          <a:xfrm>
            <a:off x="4733970" y="2804650"/>
            <a:ext cx="4086181" cy="504000"/>
            <a:chOff x="4733970" y="2804650"/>
            <a:chExt cx="4086181" cy="504000"/>
          </a:xfrm>
        </p:grpSpPr>
        <p:sp>
          <p:nvSpPr>
            <p:cNvPr id="61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2804650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3D Spheres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Fill </a:t>
              </a:r>
              <a:r>
                <a:rPr lang="en-US" sz="1600" b="1" noProof="1">
                  <a:solidFill>
                    <a:srgbClr val="5F5F5F"/>
                  </a:solidFill>
                </a:rPr>
                <a:t>L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evels</a:t>
              </a:r>
              <a:r>
                <a:rPr lang="en-US" sz="1600" b="1" noProof="1">
                  <a:solidFill>
                    <a:srgbClr val="5F5F5F"/>
                  </a:solidFill>
                </a:rPr>
                <a:t>	</a:t>
              </a:r>
            </a:p>
          </p:txBody>
        </p:sp>
        <p:sp>
          <p:nvSpPr>
            <p:cNvPr id="62" name="Rechteck 61"/>
            <p:cNvSpPr/>
            <p:nvPr/>
          </p:nvSpPr>
          <p:spPr>
            <a:xfrm>
              <a:off x="4733970" y="2804651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0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7" name="Gruppieren 126"/>
          <p:cNvGrpSpPr/>
          <p:nvPr/>
        </p:nvGrpSpPr>
        <p:grpSpPr>
          <a:xfrm>
            <a:off x="4733970" y="3428544"/>
            <a:ext cx="4086181" cy="504000"/>
            <a:chOff x="4733970" y="3428544"/>
            <a:chExt cx="4086181" cy="504000"/>
          </a:xfrm>
        </p:grpSpPr>
        <p:sp>
          <p:nvSpPr>
            <p:cNvPr id="63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3428544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Data-driven Diagrams	</a:t>
              </a:r>
            </a:p>
          </p:txBody>
        </p:sp>
        <p:sp>
          <p:nvSpPr>
            <p:cNvPr id="64" name="Rechteck 63"/>
            <p:cNvSpPr/>
            <p:nvPr/>
          </p:nvSpPr>
          <p:spPr>
            <a:xfrm>
              <a:off x="4733970" y="3428545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1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8" name="Gruppieren 127"/>
          <p:cNvGrpSpPr/>
          <p:nvPr/>
        </p:nvGrpSpPr>
        <p:grpSpPr>
          <a:xfrm>
            <a:off x="4733970" y="4052438"/>
            <a:ext cx="4086181" cy="504000"/>
            <a:chOff x="4733970" y="4052438"/>
            <a:chExt cx="4086181" cy="504000"/>
          </a:xfrm>
        </p:grpSpPr>
        <p:sp>
          <p:nvSpPr>
            <p:cNvPr id="6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4052438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Arrow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Process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66" name="Rechteck 65"/>
            <p:cNvSpPr/>
            <p:nvPr/>
          </p:nvSpPr>
          <p:spPr>
            <a:xfrm>
              <a:off x="4733970" y="4052439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2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9" name="Gruppieren 128"/>
          <p:cNvGrpSpPr/>
          <p:nvPr/>
        </p:nvGrpSpPr>
        <p:grpSpPr>
          <a:xfrm>
            <a:off x="4733970" y="4676332"/>
            <a:ext cx="4086181" cy="504000"/>
            <a:chOff x="4733970" y="4676332"/>
            <a:chExt cx="4086181" cy="504000"/>
          </a:xfrm>
        </p:grpSpPr>
        <p:sp>
          <p:nvSpPr>
            <p:cNvPr id="6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4676332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Circle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Diagram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68" name="Rechteck 67"/>
            <p:cNvSpPr/>
            <p:nvPr/>
          </p:nvSpPr>
          <p:spPr>
            <a:xfrm>
              <a:off x="4733970" y="4676333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3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30" name="Gruppieren 129"/>
          <p:cNvGrpSpPr/>
          <p:nvPr/>
        </p:nvGrpSpPr>
        <p:grpSpPr>
          <a:xfrm>
            <a:off x="4733970" y="5300225"/>
            <a:ext cx="4086181" cy="504000"/>
            <a:chOff x="4733970" y="5300225"/>
            <a:chExt cx="4086181" cy="504000"/>
          </a:xfrm>
        </p:grpSpPr>
        <p:sp>
          <p:nvSpPr>
            <p:cNvPr id="6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5300225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3D Arrows</a:t>
              </a:r>
            </a:p>
          </p:txBody>
        </p:sp>
        <p:sp>
          <p:nvSpPr>
            <p:cNvPr id="70" name="Rechteck 69"/>
            <p:cNvSpPr/>
            <p:nvPr/>
          </p:nvSpPr>
          <p:spPr>
            <a:xfrm>
              <a:off x="4733970" y="5300226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4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siness Starter Package</a:t>
            </a:r>
            <a:endParaRPr lang="en-US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laceholder for your own sub headline</a:t>
            </a:r>
          </a:p>
        </p:txBody>
      </p:sp>
    </p:spTree>
    <p:extLst>
      <p:ext uri="{BB962C8B-B14F-4D97-AF65-F5344CB8AC3E}">
        <p14:creationId xmlns:p14="http://schemas.microsoft.com/office/powerpoint/2010/main" val="2987258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Pie </a:t>
            </a:r>
            <a:r>
              <a:rPr lang="de-DE" noProof="1" smtClean="0"/>
              <a:t>Chart 2D</a:t>
            </a:r>
            <a:endParaRPr lang="de-DE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noProof="1" smtClean="0"/>
              <a:t>10 Sections</a:t>
            </a:r>
            <a:endParaRPr lang="en-US" noProof="1"/>
          </a:p>
        </p:txBody>
      </p:sp>
      <p:graphicFrame>
        <p:nvGraphicFramePr>
          <p:cNvPr id="15" name="Diagramm 14"/>
          <p:cNvGraphicFramePr/>
          <p:nvPr>
            <p:extLst>
              <p:ext uri="{D42A27DB-BD31-4B8C-83A1-F6EECF244321}">
                <p14:modId xmlns:p14="http://schemas.microsoft.com/office/powerpoint/2010/main" val="3755994676"/>
              </p:ext>
            </p:extLst>
          </p:nvPr>
        </p:nvGraphicFramePr>
        <p:xfrm>
          <a:off x="1154905" y="1409886"/>
          <a:ext cx="7666037" cy="4529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3" name="DataDriven_Label"/>
          <p:cNvGrpSpPr/>
          <p:nvPr/>
        </p:nvGrpSpPr>
        <p:grpSpPr>
          <a:xfrm>
            <a:off x="9161418" y="534489"/>
            <a:ext cx="323850" cy="1018902"/>
            <a:chOff x="9144000" y="543198"/>
            <a:chExt cx="323850" cy="101890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4" name="Rechteck 23"/>
            <p:cNvSpPr/>
            <p:nvPr/>
          </p:nvSpPr>
          <p:spPr bwMode="auto">
            <a:xfrm>
              <a:off x="9144000" y="543198"/>
              <a:ext cx="323850" cy="1018902"/>
            </a:xfrm>
            <a:prstGeom prst="rect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vert="vert270" rtlCol="0" anchor="ctr"/>
            <a:lstStyle/>
            <a:p>
              <a:pPr algn="ctr"/>
              <a:r>
                <a:rPr lang="de-DE" sz="1200" dirty="0" smtClean="0">
                  <a:solidFill>
                    <a:srgbClr val="FFFFFF"/>
                  </a:solidFill>
                </a:rPr>
                <a:t>DATADRIVEN</a:t>
              </a:r>
              <a:endParaRPr lang="de-DE" sz="1200" dirty="0">
                <a:solidFill>
                  <a:srgbClr val="FFFFFF"/>
                </a:solidFill>
              </a:endParaRPr>
            </a:p>
          </p:txBody>
        </p:sp>
        <p:grpSp>
          <p:nvGrpSpPr>
            <p:cNvPr id="25" name="Gruppieren 36"/>
            <p:cNvGrpSpPr/>
            <p:nvPr/>
          </p:nvGrpSpPr>
          <p:grpSpPr>
            <a:xfrm>
              <a:off x="9144000" y="569121"/>
              <a:ext cx="297657" cy="962022"/>
              <a:chOff x="9144000" y="569121"/>
              <a:chExt cx="297657" cy="962022"/>
            </a:xfrm>
          </p:grpSpPr>
          <p:cxnSp>
            <p:nvCxnSpPr>
              <p:cNvPr id="26" name="Gerade Verbindung 25"/>
              <p:cNvCxnSpPr/>
              <p:nvPr/>
            </p:nvCxnSpPr>
            <p:spPr>
              <a:xfrm>
                <a:off x="9144000" y="569121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/>
            </p:nvCxnSpPr>
            <p:spPr>
              <a:xfrm rot="5400000" flipH="1" flipV="1">
                <a:off x="8960646" y="1050133"/>
                <a:ext cx="962021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/>
            </p:nvCxnSpPr>
            <p:spPr>
              <a:xfrm>
                <a:off x="9144000" y="1531143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785790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4" name="Gruppieren 133"/>
          <p:cNvGrpSpPr/>
          <p:nvPr/>
        </p:nvGrpSpPr>
        <p:grpSpPr>
          <a:xfrm>
            <a:off x="323895" y="683888"/>
            <a:ext cx="8497048" cy="295275"/>
            <a:chOff x="323895" y="683888"/>
            <a:chExt cx="8497048" cy="295275"/>
          </a:xfrm>
        </p:grpSpPr>
        <p:sp>
          <p:nvSpPr>
            <p:cNvPr id="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2" y="683888"/>
              <a:ext cx="8093871" cy="295275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16200000" scaled="0"/>
              <a:tileRect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pPr>
                <a:defRPr/>
              </a:pPr>
              <a:r>
                <a:rPr lang="en-US" sz="1600" b="1" noProof="1">
                  <a:solidFill>
                    <a:schemeClr val="bg1"/>
                  </a:solidFill>
                </a:rPr>
                <a:t>Agenda Slides </a:t>
              </a:r>
              <a:r>
                <a:rPr lang="en-US" sz="1600" b="1" noProof="1" smtClean="0">
                  <a:solidFill>
                    <a:schemeClr val="bg1"/>
                  </a:solidFill>
                </a:rPr>
                <a:t>		</a:t>
              </a:r>
              <a:r>
                <a:rPr lang="en-US" sz="1600" noProof="1" smtClean="0">
                  <a:solidFill>
                    <a:schemeClr val="bg1"/>
                  </a:solidFill>
                </a:rPr>
                <a:t>to </a:t>
              </a:r>
              <a:r>
                <a:rPr lang="en-US" sz="1600" noProof="1">
                  <a:solidFill>
                    <a:schemeClr val="bg1"/>
                  </a:solidFill>
                </a:rPr>
                <a:t>structure your presentation </a:t>
              </a:r>
            </a:p>
          </p:txBody>
        </p:sp>
        <p:sp>
          <p:nvSpPr>
            <p:cNvPr id="3" name="Rechteck 2"/>
            <p:cNvSpPr/>
            <p:nvPr/>
          </p:nvSpPr>
          <p:spPr>
            <a:xfrm>
              <a:off x="323895" y="683963"/>
              <a:ext cx="295200" cy="295200"/>
            </a:xfrm>
            <a:prstGeom prst="rect">
              <a:avLst/>
            </a:prstGeom>
            <a:gradFill>
              <a:gsLst>
                <a:gs pos="0">
                  <a:srgbClr val="0070C0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35" name="Gruppieren 134"/>
          <p:cNvGrpSpPr/>
          <p:nvPr/>
        </p:nvGrpSpPr>
        <p:grpSpPr>
          <a:xfrm>
            <a:off x="323895" y="1083499"/>
            <a:ext cx="8496255" cy="295275"/>
            <a:chOff x="323895" y="1083499"/>
            <a:chExt cx="8496255" cy="295275"/>
          </a:xfrm>
        </p:grpSpPr>
        <p:sp>
          <p:nvSpPr>
            <p:cNvPr id="5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5" y="1083499"/>
              <a:ext cx="8093075" cy="295275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pPr>
                <a:defRPr/>
              </a:pPr>
              <a:r>
                <a:rPr lang="en-US" sz="1600" b="1" noProof="1" smtClean="0">
                  <a:solidFill>
                    <a:srgbClr val="5F5F5F"/>
                  </a:solidFill>
                </a:rPr>
                <a:t>Gantt Charts		</a:t>
              </a:r>
              <a:r>
                <a:rPr lang="en-US" sz="1600" noProof="1" smtClean="0">
                  <a:solidFill>
                    <a:srgbClr val="5F5F5F"/>
                  </a:solidFill>
                </a:rPr>
                <a:t>to create project schedules</a:t>
              </a:r>
              <a:endParaRPr lang="en-US" sz="1600" noProof="1">
                <a:solidFill>
                  <a:srgbClr val="5F5F5F"/>
                </a:solidFill>
              </a:endParaRPr>
            </a:p>
          </p:txBody>
        </p:sp>
        <p:sp>
          <p:nvSpPr>
            <p:cNvPr id="92" name="Rechteck 91"/>
            <p:cNvSpPr/>
            <p:nvPr/>
          </p:nvSpPr>
          <p:spPr>
            <a:xfrm>
              <a:off x="323895" y="1083499"/>
              <a:ext cx="295200" cy="295200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2</a:t>
              </a:r>
            </a:p>
          </p:txBody>
        </p:sp>
      </p:grpSp>
      <p:grpSp>
        <p:nvGrpSpPr>
          <p:cNvPr id="136" name="Gruppieren 135"/>
          <p:cNvGrpSpPr/>
          <p:nvPr/>
        </p:nvGrpSpPr>
        <p:grpSpPr>
          <a:xfrm>
            <a:off x="323895" y="1483110"/>
            <a:ext cx="8496255" cy="295275"/>
            <a:chOff x="323895" y="1483110"/>
            <a:chExt cx="8496255" cy="295275"/>
          </a:xfrm>
        </p:grpSpPr>
        <p:sp>
          <p:nvSpPr>
            <p:cNvPr id="93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5" y="1483110"/>
              <a:ext cx="8093075" cy="295275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pPr>
                <a:defRPr/>
              </a:pPr>
              <a:r>
                <a:rPr lang="en-US" sz="1600" b="1" noProof="1">
                  <a:solidFill>
                    <a:srgbClr val="5F5F5F"/>
                  </a:solidFill>
                </a:rPr>
                <a:t>Funnels 3D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		</a:t>
              </a:r>
              <a:r>
                <a:rPr lang="en-US" sz="1600" noProof="1" smtClean="0">
                  <a:solidFill>
                    <a:srgbClr val="5F5F5F"/>
                  </a:solidFill>
                </a:rPr>
                <a:t>to </a:t>
              </a:r>
              <a:r>
                <a:rPr lang="en-US" sz="1600" noProof="1">
                  <a:solidFill>
                    <a:srgbClr val="5F5F5F"/>
                  </a:solidFill>
                </a:rPr>
                <a:t>visualize project-related </a:t>
              </a:r>
              <a:r>
                <a:rPr lang="en-US" sz="1600" noProof="1" smtClean="0">
                  <a:solidFill>
                    <a:srgbClr val="5F5F5F"/>
                  </a:solidFill>
                </a:rPr>
                <a:t>objectives</a:t>
              </a:r>
              <a:endParaRPr lang="en-US" sz="1600" noProof="1">
                <a:solidFill>
                  <a:srgbClr val="5F5F5F"/>
                </a:solidFill>
              </a:endParaRPr>
            </a:p>
          </p:txBody>
        </p:sp>
        <p:sp>
          <p:nvSpPr>
            <p:cNvPr id="94" name="Rechteck 93"/>
            <p:cNvSpPr/>
            <p:nvPr/>
          </p:nvSpPr>
          <p:spPr>
            <a:xfrm>
              <a:off x="323895" y="1483110"/>
              <a:ext cx="295200" cy="295200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3</a:t>
              </a:r>
            </a:p>
          </p:txBody>
        </p:sp>
      </p:grpSp>
      <p:grpSp>
        <p:nvGrpSpPr>
          <p:cNvPr id="137" name="Gruppieren 136"/>
          <p:cNvGrpSpPr/>
          <p:nvPr/>
        </p:nvGrpSpPr>
        <p:grpSpPr>
          <a:xfrm>
            <a:off x="323895" y="1882721"/>
            <a:ext cx="8496255" cy="295275"/>
            <a:chOff x="323895" y="1882721"/>
            <a:chExt cx="8496255" cy="295275"/>
          </a:xfrm>
        </p:grpSpPr>
        <p:sp>
          <p:nvSpPr>
            <p:cNvPr id="9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5" y="1882721"/>
              <a:ext cx="8093075" cy="295275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Pie / Donut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Charts		</a:t>
              </a:r>
              <a:r>
                <a:rPr lang="en-US" sz="1600" noProof="1" smtClean="0">
                  <a:solidFill>
                    <a:srgbClr val="5F5F5F"/>
                  </a:solidFill>
                </a:rPr>
                <a:t>to visualize proportions and relations</a:t>
              </a:r>
              <a:endParaRPr lang="en-US" sz="1600" noProof="1">
                <a:solidFill>
                  <a:srgbClr val="5F5F5F"/>
                </a:solidFill>
              </a:endParaRPr>
            </a:p>
          </p:txBody>
        </p:sp>
        <p:sp>
          <p:nvSpPr>
            <p:cNvPr id="96" name="Rechteck 95"/>
            <p:cNvSpPr/>
            <p:nvPr/>
          </p:nvSpPr>
          <p:spPr>
            <a:xfrm>
              <a:off x="323895" y="1882721"/>
              <a:ext cx="295200" cy="295200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4</a:t>
              </a:r>
            </a:p>
          </p:txBody>
        </p:sp>
      </p:grpSp>
      <p:grpSp>
        <p:nvGrpSpPr>
          <p:cNvPr id="138" name="Gruppieren 137"/>
          <p:cNvGrpSpPr/>
          <p:nvPr/>
        </p:nvGrpSpPr>
        <p:grpSpPr>
          <a:xfrm>
            <a:off x="323895" y="2282332"/>
            <a:ext cx="8496255" cy="295275"/>
            <a:chOff x="323895" y="2282332"/>
            <a:chExt cx="8496255" cy="295275"/>
          </a:xfrm>
        </p:grpSpPr>
        <p:sp>
          <p:nvSpPr>
            <p:cNvPr id="9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5" y="2282332"/>
              <a:ext cx="8093075" cy="295275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pPr>
                <a:defRPr/>
              </a:pPr>
              <a:r>
                <a:rPr lang="en-US" sz="1600" b="1" noProof="1">
                  <a:solidFill>
                    <a:srgbClr val="5F5F5F"/>
                  </a:solidFill>
                </a:rPr>
                <a:t>Overlapping Text Boxes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	</a:t>
              </a:r>
              <a:r>
                <a:rPr lang="en-US" sz="1600" noProof="1" smtClean="0">
                  <a:solidFill>
                    <a:srgbClr val="5F5F5F"/>
                  </a:solidFill>
                </a:rPr>
                <a:t>to </a:t>
              </a:r>
              <a:r>
                <a:rPr lang="en-US" sz="1600" noProof="1">
                  <a:solidFill>
                    <a:srgbClr val="5F5F5F"/>
                  </a:solidFill>
                </a:rPr>
                <a:t>simplify structural coherences </a:t>
              </a:r>
            </a:p>
          </p:txBody>
        </p:sp>
        <p:sp>
          <p:nvSpPr>
            <p:cNvPr id="98" name="Rechteck 97"/>
            <p:cNvSpPr/>
            <p:nvPr/>
          </p:nvSpPr>
          <p:spPr>
            <a:xfrm>
              <a:off x="323895" y="2282332"/>
              <a:ext cx="295200" cy="295200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5</a:t>
              </a:r>
            </a:p>
          </p:txBody>
        </p:sp>
      </p:grpSp>
      <p:grpSp>
        <p:nvGrpSpPr>
          <p:cNvPr id="139" name="Gruppieren 138"/>
          <p:cNvGrpSpPr/>
          <p:nvPr/>
        </p:nvGrpSpPr>
        <p:grpSpPr>
          <a:xfrm>
            <a:off x="323895" y="2681943"/>
            <a:ext cx="8496255" cy="295275"/>
            <a:chOff x="323895" y="2681943"/>
            <a:chExt cx="8496255" cy="295275"/>
          </a:xfrm>
        </p:grpSpPr>
        <p:sp>
          <p:nvSpPr>
            <p:cNvPr id="9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5" y="2681943"/>
              <a:ext cx="8093075" cy="295275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pPr>
                <a:defRPr/>
              </a:pPr>
              <a:r>
                <a:rPr lang="en-US" sz="1600" b="1" noProof="1" smtClean="0">
                  <a:solidFill>
                    <a:srgbClr val="5F5F5F"/>
                  </a:solidFill>
                </a:rPr>
                <a:t>Timelines Arrows 		</a:t>
              </a:r>
              <a:r>
                <a:rPr lang="en-US" sz="1600" noProof="1" smtClean="0">
                  <a:solidFill>
                    <a:srgbClr val="5F5F5F"/>
                  </a:solidFill>
                </a:rPr>
                <a:t>for the structured display of sequences and  coherences</a:t>
              </a:r>
              <a:endParaRPr lang="en-US" sz="1600" noProof="1">
                <a:solidFill>
                  <a:srgbClr val="5F5F5F"/>
                </a:solidFill>
              </a:endParaRP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323895" y="2681943"/>
              <a:ext cx="295200" cy="295200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6</a:t>
              </a:r>
            </a:p>
          </p:txBody>
        </p:sp>
      </p:grpSp>
      <p:grpSp>
        <p:nvGrpSpPr>
          <p:cNvPr id="140" name="Gruppieren 139"/>
          <p:cNvGrpSpPr/>
          <p:nvPr/>
        </p:nvGrpSpPr>
        <p:grpSpPr>
          <a:xfrm>
            <a:off x="323895" y="3081554"/>
            <a:ext cx="8496255" cy="295275"/>
            <a:chOff x="323895" y="3081554"/>
            <a:chExt cx="8496255" cy="295275"/>
          </a:xfrm>
        </p:grpSpPr>
        <p:sp>
          <p:nvSpPr>
            <p:cNvPr id="101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5" y="3081554"/>
              <a:ext cx="8093075" cy="295275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pPr>
                <a:defRPr/>
              </a:pPr>
              <a:r>
                <a:rPr lang="en-US" sz="1600" b="1" noProof="1" smtClean="0">
                  <a:solidFill>
                    <a:srgbClr val="5F5F5F"/>
                  </a:solidFill>
                </a:rPr>
                <a:t>Sphere with Core		</a:t>
              </a:r>
              <a:r>
                <a:rPr lang="en-US" sz="1600" noProof="1" smtClean="0">
                  <a:solidFill>
                    <a:srgbClr val="5F5F5F"/>
                  </a:solidFill>
                </a:rPr>
                <a:t>to display company structures</a:t>
              </a:r>
              <a:endParaRPr lang="en-US" sz="1600" noProof="1">
                <a:solidFill>
                  <a:srgbClr val="5F5F5F"/>
                </a:solidFill>
              </a:endParaRPr>
            </a:p>
          </p:txBody>
        </p:sp>
        <p:sp>
          <p:nvSpPr>
            <p:cNvPr id="102" name="Rechteck 101"/>
            <p:cNvSpPr/>
            <p:nvPr/>
          </p:nvSpPr>
          <p:spPr>
            <a:xfrm>
              <a:off x="323895" y="3081554"/>
              <a:ext cx="295200" cy="295200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7</a:t>
              </a:r>
            </a:p>
          </p:txBody>
        </p:sp>
      </p:grpSp>
      <p:grpSp>
        <p:nvGrpSpPr>
          <p:cNvPr id="141" name="Gruppieren 140"/>
          <p:cNvGrpSpPr/>
          <p:nvPr/>
        </p:nvGrpSpPr>
        <p:grpSpPr>
          <a:xfrm>
            <a:off x="323895" y="3481165"/>
            <a:ext cx="8496255" cy="295275"/>
            <a:chOff x="323895" y="3481165"/>
            <a:chExt cx="8496255" cy="295275"/>
          </a:xfrm>
        </p:grpSpPr>
        <p:sp>
          <p:nvSpPr>
            <p:cNvPr id="103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5" y="3481165"/>
              <a:ext cx="8093075" cy="295275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pPr>
                <a:defRPr/>
              </a:pPr>
              <a:r>
                <a:rPr lang="en-US" sz="1600" b="1" noProof="1" smtClean="0">
                  <a:solidFill>
                    <a:srgbClr val="5F5F5F"/>
                  </a:solidFill>
                </a:rPr>
                <a:t>Step Process Chart 		</a:t>
              </a:r>
              <a:r>
                <a:rPr lang="en-US" sz="1600" noProof="1">
                  <a:solidFill>
                    <a:srgbClr val="5F5F5F"/>
                  </a:solidFill>
                </a:rPr>
                <a:t>for clear visualization of processes</a:t>
              </a:r>
            </a:p>
          </p:txBody>
        </p:sp>
        <p:sp>
          <p:nvSpPr>
            <p:cNvPr id="104" name="Rechteck 103"/>
            <p:cNvSpPr/>
            <p:nvPr/>
          </p:nvSpPr>
          <p:spPr>
            <a:xfrm>
              <a:off x="323895" y="3481165"/>
              <a:ext cx="295200" cy="295200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8</a:t>
              </a:r>
            </a:p>
          </p:txBody>
        </p:sp>
      </p:grpSp>
      <p:grpSp>
        <p:nvGrpSpPr>
          <p:cNvPr id="142" name="Gruppieren 141"/>
          <p:cNvGrpSpPr/>
          <p:nvPr/>
        </p:nvGrpSpPr>
        <p:grpSpPr>
          <a:xfrm>
            <a:off x="323895" y="3880776"/>
            <a:ext cx="8496255" cy="295275"/>
            <a:chOff x="323895" y="3880776"/>
            <a:chExt cx="8496255" cy="295275"/>
          </a:xfrm>
        </p:grpSpPr>
        <p:sp>
          <p:nvSpPr>
            <p:cNvPr id="10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5" y="3880776"/>
              <a:ext cx="8093075" cy="295275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pPr>
                <a:defRPr/>
              </a:pPr>
              <a:r>
                <a:rPr lang="en-US" sz="1600" b="1" noProof="1" smtClean="0">
                  <a:solidFill>
                    <a:srgbClr val="5F5F5F"/>
                  </a:solidFill>
                </a:rPr>
                <a:t>Curves and Trend Charts	</a:t>
              </a:r>
              <a:r>
                <a:rPr lang="en-US" sz="1600" noProof="1" smtClean="0">
                  <a:solidFill>
                    <a:srgbClr val="5F5F5F"/>
                  </a:solidFill>
                </a:rPr>
                <a:t>to display trend developments</a:t>
              </a:r>
              <a:endParaRPr lang="en-US" sz="1600" noProof="1">
                <a:solidFill>
                  <a:srgbClr val="5F5F5F"/>
                </a:solidFill>
              </a:endParaRPr>
            </a:p>
          </p:txBody>
        </p:sp>
        <p:sp>
          <p:nvSpPr>
            <p:cNvPr id="106" name="Rechteck 105"/>
            <p:cNvSpPr/>
            <p:nvPr/>
          </p:nvSpPr>
          <p:spPr>
            <a:xfrm>
              <a:off x="323895" y="3880776"/>
              <a:ext cx="295200" cy="295200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9</a:t>
              </a:r>
            </a:p>
          </p:txBody>
        </p:sp>
      </p:grpSp>
      <p:grpSp>
        <p:nvGrpSpPr>
          <p:cNvPr id="143" name="Gruppieren 142"/>
          <p:cNvGrpSpPr/>
          <p:nvPr/>
        </p:nvGrpSpPr>
        <p:grpSpPr>
          <a:xfrm>
            <a:off x="323895" y="4280387"/>
            <a:ext cx="8496255" cy="295275"/>
            <a:chOff x="323895" y="4280387"/>
            <a:chExt cx="8496255" cy="295275"/>
          </a:xfrm>
        </p:grpSpPr>
        <p:sp>
          <p:nvSpPr>
            <p:cNvPr id="10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5" y="4280387"/>
              <a:ext cx="8093075" cy="295275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pPr>
                <a:defRPr/>
              </a:pPr>
              <a:r>
                <a:rPr lang="en-US" sz="1600" b="1" noProof="1">
                  <a:solidFill>
                    <a:srgbClr val="5F5F5F"/>
                  </a:solidFill>
                </a:rPr>
                <a:t>3D Spheres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Fill </a:t>
              </a:r>
              <a:r>
                <a:rPr lang="en-US" sz="1600" b="1" noProof="1">
                  <a:solidFill>
                    <a:srgbClr val="5F5F5F"/>
                  </a:solidFill>
                </a:rPr>
                <a:t>L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evels		</a:t>
              </a:r>
              <a:r>
                <a:rPr lang="en-US" sz="1600" noProof="1" smtClean="0">
                  <a:solidFill>
                    <a:srgbClr val="5F5F5F"/>
                  </a:solidFill>
                </a:rPr>
                <a:t>to </a:t>
              </a:r>
              <a:r>
                <a:rPr lang="en-US" sz="1600" noProof="1">
                  <a:solidFill>
                    <a:srgbClr val="5F5F5F"/>
                  </a:solidFill>
                </a:rPr>
                <a:t>display partial aspects</a:t>
              </a:r>
            </a:p>
          </p:txBody>
        </p:sp>
        <p:sp>
          <p:nvSpPr>
            <p:cNvPr id="108" name="Rechteck 107"/>
            <p:cNvSpPr/>
            <p:nvPr/>
          </p:nvSpPr>
          <p:spPr>
            <a:xfrm>
              <a:off x="323895" y="4280387"/>
              <a:ext cx="295200" cy="295200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0</a:t>
              </a:r>
            </a:p>
          </p:txBody>
        </p:sp>
      </p:grpSp>
      <p:grpSp>
        <p:nvGrpSpPr>
          <p:cNvPr id="144" name="Gruppieren 143"/>
          <p:cNvGrpSpPr/>
          <p:nvPr/>
        </p:nvGrpSpPr>
        <p:grpSpPr>
          <a:xfrm>
            <a:off x="323895" y="4679998"/>
            <a:ext cx="8496255" cy="295275"/>
            <a:chOff x="323895" y="4679998"/>
            <a:chExt cx="8496255" cy="295275"/>
          </a:xfrm>
        </p:grpSpPr>
        <p:sp>
          <p:nvSpPr>
            <p:cNvPr id="10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5" y="4679998"/>
              <a:ext cx="8093075" cy="295275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pPr>
                <a:defRPr/>
              </a:pPr>
              <a:r>
                <a:rPr lang="en-US" sz="1600" b="1" noProof="1" smtClean="0">
                  <a:solidFill>
                    <a:srgbClr val="5F5F5F"/>
                  </a:solidFill>
                </a:rPr>
                <a:t>Data-driven Diagrams	</a:t>
              </a:r>
              <a:r>
                <a:rPr lang="en-US" sz="1600" noProof="1" smtClean="0">
                  <a:solidFill>
                    <a:srgbClr val="5F5F5F"/>
                  </a:solidFill>
                </a:rPr>
                <a:t>for the presentation of numbers and results	</a:t>
              </a:r>
              <a:endParaRPr lang="en-US" sz="1600" noProof="1">
                <a:solidFill>
                  <a:srgbClr val="5F5F5F"/>
                </a:solidFill>
              </a:endParaRPr>
            </a:p>
          </p:txBody>
        </p:sp>
        <p:sp>
          <p:nvSpPr>
            <p:cNvPr id="110" name="Rechteck 109"/>
            <p:cNvSpPr/>
            <p:nvPr/>
          </p:nvSpPr>
          <p:spPr>
            <a:xfrm>
              <a:off x="323895" y="4679998"/>
              <a:ext cx="295200" cy="295200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1</a:t>
              </a:r>
            </a:p>
          </p:txBody>
        </p:sp>
      </p:grpSp>
      <p:grpSp>
        <p:nvGrpSpPr>
          <p:cNvPr id="145" name="Gruppieren 144"/>
          <p:cNvGrpSpPr/>
          <p:nvPr/>
        </p:nvGrpSpPr>
        <p:grpSpPr>
          <a:xfrm>
            <a:off x="323895" y="5079609"/>
            <a:ext cx="8496255" cy="295275"/>
            <a:chOff x="323895" y="5079609"/>
            <a:chExt cx="8496255" cy="295275"/>
          </a:xfrm>
        </p:grpSpPr>
        <p:sp>
          <p:nvSpPr>
            <p:cNvPr id="111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5" y="5079609"/>
              <a:ext cx="8093075" cy="295275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pPr>
                <a:defRPr/>
              </a:pPr>
              <a:r>
                <a:rPr lang="en-US" sz="1600" b="1" noProof="1">
                  <a:solidFill>
                    <a:srgbClr val="5F5F5F"/>
                  </a:solidFill>
                </a:rPr>
                <a:t>Arrow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Process		</a:t>
              </a:r>
              <a:r>
                <a:rPr lang="en-US" sz="1600" noProof="1" smtClean="0">
                  <a:solidFill>
                    <a:srgbClr val="5F5F5F"/>
                  </a:solidFill>
                </a:rPr>
                <a:t>to visualize process steps</a:t>
              </a:r>
              <a:endParaRPr lang="en-US" sz="1600" noProof="1">
                <a:solidFill>
                  <a:srgbClr val="5F5F5F"/>
                </a:solidFill>
              </a:endParaRPr>
            </a:p>
          </p:txBody>
        </p:sp>
        <p:sp>
          <p:nvSpPr>
            <p:cNvPr id="112" name="Rechteck 111"/>
            <p:cNvSpPr/>
            <p:nvPr/>
          </p:nvSpPr>
          <p:spPr>
            <a:xfrm>
              <a:off x="323895" y="5079609"/>
              <a:ext cx="295200" cy="295200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2</a:t>
              </a:r>
            </a:p>
          </p:txBody>
        </p:sp>
      </p:grpSp>
      <p:grpSp>
        <p:nvGrpSpPr>
          <p:cNvPr id="146" name="Gruppieren 145"/>
          <p:cNvGrpSpPr/>
          <p:nvPr/>
        </p:nvGrpSpPr>
        <p:grpSpPr>
          <a:xfrm>
            <a:off x="323895" y="5479220"/>
            <a:ext cx="8496255" cy="295275"/>
            <a:chOff x="323895" y="5479220"/>
            <a:chExt cx="8496255" cy="295275"/>
          </a:xfrm>
        </p:grpSpPr>
        <p:sp>
          <p:nvSpPr>
            <p:cNvPr id="113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5" y="5479220"/>
              <a:ext cx="8093075" cy="295275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pPr>
                <a:defRPr/>
              </a:pPr>
              <a:r>
                <a:rPr lang="en-US" sz="1600" b="1" noProof="1" smtClean="0">
                  <a:solidFill>
                    <a:srgbClr val="5F5F5F"/>
                  </a:solidFill>
                </a:rPr>
                <a:t>Circle Diagram 		</a:t>
              </a:r>
              <a:r>
                <a:rPr lang="en-US" sz="1600" dirty="0" smtClean="0">
                  <a:solidFill>
                    <a:srgbClr val="5F5F5F"/>
                  </a:solidFill>
                </a:rPr>
                <a:t>to visualize coherences</a:t>
              </a:r>
              <a:endParaRPr lang="en-US" sz="1600" noProof="1">
                <a:solidFill>
                  <a:srgbClr val="5F5F5F"/>
                </a:solidFill>
              </a:endParaRPr>
            </a:p>
          </p:txBody>
        </p:sp>
        <p:sp>
          <p:nvSpPr>
            <p:cNvPr id="114" name="Rechteck 113"/>
            <p:cNvSpPr/>
            <p:nvPr/>
          </p:nvSpPr>
          <p:spPr>
            <a:xfrm>
              <a:off x="323895" y="5479220"/>
              <a:ext cx="295200" cy="295200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3</a:t>
              </a:r>
            </a:p>
          </p:txBody>
        </p:sp>
      </p:grpSp>
      <p:grpSp>
        <p:nvGrpSpPr>
          <p:cNvPr id="147" name="Gruppieren 146"/>
          <p:cNvGrpSpPr/>
          <p:nvPr/>
        </p:nvGrpSpPr>
        <p:grpSpPr>
          <a:xfrm>
            <a:off x="323895" y="5878836"/>
            <a:ext cx="8496255" cy="295275"/>
            <a:chOff x="323895" y="5878836"/>
            <a:chExt cx="8496255" cy="295275"/>
          </a:xfrm>
        </p:grpSpPr>
        <p:sp>
          <p:nvSpPr>
            <p:cNvPr id="11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5" y="5878836"/>
              <a:ext cx="8093075" cy="295275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pPr>
                <a:defRPr/>
              </a:pPr>
              <a:r>
                <a:rPr lang="en-US" sz="1600" b="1" noProof="1" smtClean="0">
                  <a:solidFill>
                    <a:srgbClr val="5F5F5F"/>
                  </a:solidFill>
                </a:rPr>
                <a:t>3D Arrows			</a:t>
              </a:r>
              <a:r>
                <a:rPr lang="en-US" sz="1600" dirty="0" smtClean="0">
                  <a:solidFill>
                    <a:srgbClr val="5F5F5F"/>
                  </a:solidFill>
                </a:rPr>
                <a:t>to display sequences</a:t>
              </a:r>
              <a:endParaRPr lang="en-US" sz="1600" noProof="1">
                <a:solidFill>
                  <a:srgbClr val="5F5F5F"/>
                </a:solidFill>
              </a:endParaRPr>
            </a:p>
          </p:txBody>
        </p:sp>
        <p:sp>
          <p:nvSpPr>
            <p:cNvPr id="116" name="Rechteck 115"/>
            <p:cNvSpPr/>
            <p:nvPr/>
          </p:nvSpPr>
          <p:spPr>
            <a:xfrm>
              <a:off x="323895" y="5878836"/>
              <a:ext cx="295200" cy="295200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72555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Pie </a:t>
            </a:r>
            <a:r>
              <a:rPr lang="de-DE" noProof="1" smtClean="0"/>
              <a:t>Chart </a:t>
            </a:r>
            <a:r>
              <a:rPr lang="de-DE" noProof="1"/>
              <a:t>2D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de-DE" dirty="0" smtClean="0"/>
              <a:t>5 </a:t>
            </a:r>
            <a:r>
              <a:rPr lang="en-US" dirty="0" smtClean="0"/>
              <a:t>Sections</a:t>
            </a:r>
            <a:endParaRPr lang="en-US" dirty="0"/>
          </a:p>
        </p:txBody>
      </p:sp>
      <p:graphicFrame>
        <p:nvGraphicFramePr>
          <p:cNvPr id="15" name="Diagramm 14"/>
          <p:cNvGraphicFramePr/>
          <p:nvPr>
            <p:extLst>
              <p:ext uri="{D42A27DB-BD31-4B8C-83A1-F6EECF244321}">
                <p14:modId xmlns:p14="http://schemas.microsoft.com/office/powerpoint/2010/main" val="2452752429"/>
              </p:ext>
            </p:extLst>
          </p:nvPr>
        </p:nvGraphicFramePr>
        <p:xfrm>
          <a:off x="3369228" y="1419498"/>
          <a:ext cx="5450922" cy="4524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6" name="DataDriven_Label"/>
          <p:cNvGrpSpPr/>
          <p:nvPr/>
        </p:nvGrpSpPr>
        <p:grpSpPr>
          <a:xfrm>
            <a:off x="9161418" y="534489"/>
            <a:ext cx="323850" cy="1018902"/>
            <a:chOff x="9144000" y="543198"/>
            <a:chExt cx="323850" cy="101890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" name="Rechteck 16"/>
            <p:cNvSpPr/>
            <p:nvPr/>
          </p:nvSpPr>
          <p:spPr bwMode="auto">
            <a:xfrm>
              <a:off x="9144000" y="543198"/>
              <a:ext cx="323850" cy="1018902"/>
            </a:xfrm>
            <a:prstGeom prst="rect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vert="vert270" rtlCol="0" anchor="ctr"/>
            <a:lstStyle/>
            <a:p>
              <a:pPr algn="ctr"/>
              <a:r>
                <a:rPr lang="de-DE" sz="1200" dirty="0" smtClean="0">
                  <a:solidFill>
                    <a:srgbClr val="FFFFFF"/>
                  </a:solidFill>
                </a:rPr>
                <a:t>DATADRIVEN</a:t>
              </a:r>
              <a:endParaRPr lang="de-DE" sz="1200" dirty="0">
                <a:solidFill>
                  <a:srgbClr val="FFFFFF"/>
                </a:solidFill>
              </a:endParaRPr>
            </a:p>
          </p:txBody>
        </p:sp>
        <p:grpSp>
          <p:nvGrpSpPr>
            <p:cNvPr id="18" name="Gruppieren 36"/>
            <p:cNvGrpSpPr/>
            <p:nvPr/>
          </p:nvGrpSpPr>
          <p:grpSpPr>
            <a:xfrm>
              <a:off x="9144000" y="569121"/>
              <a:ext cx="297657" cy="962022"/>
              <a:chOff x="9144000" y="569121"/>
              <a:chExt cx="297657" cy="962022"/>
            </a:xfrm>
          </p:grpSpPr>
          <p:cxnSp>
            <p:nvCxnSpPr>
              <p:cNvPr id="19" name="Gerade Verbindung 18"/>
              <p:cNvCxnSpPr/>
              <p:nvPr/>
            </p:nvCxnSpPr>
            <p:spPr>
              <a:xfrm>
                <a:off x="9144000" y="569121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19"/>
              <p:cNvCxnSpPr/>
              <p:nvPr/>
            </p:nvCxnSpPr>
            <p:spPr>
              <a:xfrm rot="5400000" flipH="1" flipV="1">
                <a:off x="8960646" y="1050133"/>
                <a:ext cx="962021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 Verbindung 20"/>
              <p:cNvCxnSpPr/>
              <p:nvPr/>
            </p:nvCxnSpPr>
            <p:spPr>
              <a:xfrm>
                <a:off x="9144000" y="1531143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" name="Gruppieren 4"/>
          <p:cNvGrpSpPr/>
          <p:nvPr/>
        </p:nvGrpSpPr>
        <p:grpSpPr>
          <a:xfrm>
            <a:off x="323850" y="1557661"/>
            <a:ext cx="2645773" cy="4245768"/>
            <a:chOff x="323850" y="1557661"/>
            <a:chExt cx="2645773" cy="424576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3" name="Rectangle 19"/>
            <p:cNvSpPr>
              <a:spLocks noChangeArrowheads="1"/>
            </p:cNvSpPr>
            <p:nvPr/>
          </p:nvSpPr>
          <p:spPr bwMode="gray">
            <a:xfrm>
              <a:off x="323850" y="1557661"/>
              <a:ext cx="2645773" cy="360363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/>
          </p:spPr>
          <p:txBody>
            <a:bodyPr lIns="216000" tIns="36000" rIns="36000" bIns="36000" anchor="ctr"/>
            <a:lstStyle/>
            <a:p>
              <a:r>
                <a:rPr lang="de-DE" sz="1600" b="1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escription 1</a:t>
              </a:r>
            </a:p>
          </p:txBody>
        </p:sp>
        <p:sp>
          <p:nvSpPr>
            <p:cNvPr id="24" name="Rectangle 5"/>
            <p:cNvSpPr>
              <a:spLocks noChangeArrowheads="1"/>
            </p:cNvSpPr>
            <p:nvPr/>
          </p:nvSpPr>
          <p:spPr bwMode="gray">
            <a:xfrm>
              <a:off x="323850" y="1918024"/>
              <a:ext cx="2645773" cy="3885405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 lIns="108000" tIns="108000" rIns="144000" bIns="72000"/>
            <a:lstStyle/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buFont typeface="Wingdings" pitchFamily="2" charset="2"/>
                <a:buChar char="§"/>
                <a:defRPr/>
              </a:pPr>
              <a:r>
                <a:rPr lang="en-US" sz="1400" noProof="1">
                  <a:solidFill>
                    <a:srgbClr val="000000"/>
                  </a:solidFill>
                  <a:cs typeface="Arial" charset="0"/>
                </a:rPr>
                <a:t>This is a placeholder text. This text can be replaced with your own text.</a:t>
              </a:r>
            </a:p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buFont typeface="Wingdings" pitchFamily="2" charset="2"/>
                <a:buChar char="§"/>
                <a:defRPr/>
              </a:pPr>
              <a:r>
                <a:rPr lang="en-US" sz="1400" noProof="1">
                  <a:solidFill>
                    <a:srgbClr val="000000"/>
                  </a:solidFill>
                  <a:cs typeface="Arial" charset="0"/>
                </a:rPr>
                <a:t>The text demonstrates how your own text will look when you replace the placeholder with your own text.</a:t>
              </a:r>
            </a:p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buFont typeface="Wingdings" pitchFamily="2" charset="2"/>
                <a:buChar char="§"/>
                <a:defRPr/>
              </a:pPr>
              <a:r>
                <a:rPr lang="en-US" sz="1400" noProof="1">
                  <a:solidFill>
                    <a:srgbClr val="000000"/>
                  </a:solidFill>
                  <a:cs typeface="Arial" charset="0"/>
                </a:rPr>
                <a:t>If you don’t want to use the style and size of the fonts as used in this placeholder it’s possible to replace it by selecting different option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1975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Pie </a:t>
            </a:r>
            <a:r>
              <a:rPr lang="de-DE" noProof="1" smtClean="0"/>
              <a:t>Chart 3D</a:t>
            </a:r>
            <a:endParaRPr lang="de-DE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de-DE" dirty="0" smtClean="0"/>
              <a:t>2 </a:t>
            </a:r>
            <a:r>
              <a:rPr lang="en-US" dirty="0"/>
              <a:t>Sections</a:t>
            </a:r>
          </a:p>
        </p:txBody>
      </p:sp>
      <p:grpSp>
        <p:nvGrpSpPr>
          <p:cNvPr id="15" name="DataDriven_Label"/>
          <p:cNvGrpSpPr/>
          <p:nvPr/>
        </p:nvGrpSpPr>
        <p:grpSpPr>
          <a:xfrm>
            <a:off x="9161418" y="534489"/>
            <a:ext cx="323850" cy="1018902"/>
            <a:chOff x="9144000" y="543198"/>
            <a:chExt cx="323850" cy="101890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" name="Rechteck 15"/>
            <p:cNvSpPr/>
            <p:nvPr/>
          </p:nvSpPr>
          <p:spPr bwMode="auto">
            <a:xfrm>
              <a:off x="9144000" y="543198"/>
              <a:ext cx="323850" cy="1018902"/>
            </a:xfrm>
            <a:prstGeom prst="rect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vert="vert270" rtlCol="0" anchor="ctr"/>
            <a:lstStyle/>
            <a:p>
              <a:pPr algn="ctr"/>
              <a:r>
                <a:rPr lang="de-DE" sz="1200" dirty="0" smtClean="0">
                  <a:solidFill>
                    <a:srgbClr val="FFFFFF"/>
                  </a:solidFill>
                </a:rPr>
                <a:t>DATADRIVEN</a:t>
              </a:r>
              <a:endParaRPr lang="de-DE" sz="1200" dirty="0">
                <a:solidFill>
                  <a:srgbClr val="FFFFFF"/>
                </a:solidFill>
              </a:endParaRPr>
            </a:p>
          </p:txBody>
        </p:sp>
        <p:grpSp>
          <p:nvGrpSpPr>
            <p:cNvPr id="17" name="Gruppieren 36"/>
            <p:cNvGrpSpPr/>
            <p:nvPr/>
          </p:nvGrpSpPr>
          <p:grpSpPr>
            <a:xfrm>
              <a:off x="9144000" y="569121"/>
              <a:ext cx="297657" cy="962022"/>
              <a:chOff x="9144000" y="569121"/>
              <a:chExt cx="297657" cy="962022"/>
            </a:xfrm>
          </p:grpSpPr>
          <p:cxnSp>
            <p:nvCxnSpPr>
              <p:cNvPr id="18" name="Gerade Verbindung 17"/>
              <p:cNvCxnSpPr/>
              <p:nvPr/>
            </p:nvCxnSpPr>
            <p:spPr>
              <a:xfrm>
                <a:off x="9144000" y="569121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 Verbindung 18"/>
              <p:cNvCxnSpPr/>
              <p:nvPr/>
            </p:nvCxnSpPr>
            <p:spPr>
              <a:xfrm rot="5400000" flipH="1" flipV="1">
                <a:off x="8960646" y="1050133"/>
                <a:ext cx="962021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19"/>
              <p:cNvCxnSpPr/>
              <p:nvPr/>
            </p:nvCxnSpPr>
            <p:spPr>
              <a:xfrm>
                <a:off x="9144000" y="1531143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aphicFrame>
        <p:nvGraphicFramePr>
          <p:cNvPr id="21" name="Diagramm 20"/>
          <p:cNvGraphicFramePr/>
          <p:nvPr>
            <p:extLst>
              <p:ext uri="{D42A27DB-BD31-4B8C-83A1-F6EECF244321}">
                <p14:modId xmlns:p14="http://schemas.microsoft.com/office/powerpoint/2010/main" val="909237943"/>
              </p:ext>
            </p:extLst>
          </p:nvPr>
        </p:nvGraphicFramePr>
        <p:xfrm>
          <a:off x="323850" y="1555752"/>
          <a:ext cx="8648700" cy="4246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2" name="Gruppieren 21"/>
          <p:cNvGrpSpPr/>
          <p:nvPr/>
        </p:nvGrpSpPr>
        <p:grpSpPr>
          <a:xfrm>
            <a:off x="323850" y="1765242"/>
            <a:ext cx="2751138" cy="618128"/>
            <a:chOff x="323850" y="1765242"/>
            <a:chExt cx="2751138" cy="618128"/>
          </a:xfrm>
        </p:grpSpPr>
        <p:cxnSp>
          <p:nvCxnSpPr>
            <p:cNvPr id="23" name="Gerade Verbindung 22"/>
            <p:cNvCxnSpPr/>
            <p:nvPr/>
          </p:nvCxnSpPr>
          <p:spPr>
            <a:xfrm>
              <a:off x="323850" y="2383370"/>
              <a:ext cx="2354035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</p:cxnSp>
        <p:sp>
          <p:nvSpPr>
            <p:cNvPr id="24" name="Text Box 15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323850" y="1765242"/>
              <a:ext cx="2751138" cy="6171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90000" anchor="b" anchorCtr="0">
              <a:spAutoFit/>
            </a:bodyPr>
            <a:lstStyle/>
            <a:p>
              <a:pPr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US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This is a placeholder </a:t>
              </a:r>
              <a:br>
                <a:rPr lang="en-US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</a:br>
              <a:r>
                <a:rPr lang="en-US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for your own text.</a:t>
              </a:r>
            </a:p>
          </p:txBody>
        </p:sp>
      </p:grpSp>
      <p:grpSp>
        <p:nvGrpSpPr>
          <p:cNvPr id="25" name="Gruppieren 24"/>
          <p:cNvGrpSpPr/>
          <p:nvPr/>
        </p:nvGrpSpPr>
        <p:grpSpPr>
          <a:xfrm>
            <a:off x="6069012" y="4331054"/>
            <a:ext cx="2751138" cy="617799"/>
            <a:chOff x="6069012" y="4467385"/>
            <a:chExt cx="2751138" cy="617799"/>
          </a:xfrm>
        </p:grpSpPr>
        <p:cxnSp>
          <p:nvCxnSpPr>
            <p:cNvPr id="26" name="Gerade Verbindung 25"/>
            <p:cNvCxnSpPr/>
            <p:nvPr/>
          </p:nvCxnSpPr>
          <p:spPr>
            <a:xfrm>
              <a:off x="6466115" y="5085184"/>
              <a:ext cx="2354035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</p:cxnSp>
        <p:sp>
          <p:nvSpPr>
            <p:cNvPr id="27" name="Text Box 15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6069012" y="4467385"/>
              <a:ext cx="2751138" cy="6171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90000" anchor="b" anchorCtr="0">
              <a:spAutoFit/>
            </a:bodyPr>
            <a:lstStyle/>
            <a:p>
              <a:pPr algn="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US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This is a place </a:t>
              </a:r>
              <a:br>
                <a:rPr lang="en-US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</a:br>
              <a:r>
                <a:rPr lang="en-US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for your own text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10930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Pie </a:t>
            </a:r>
            <a:r>
              <a:rPr lang="de-DE" noProof="1" smtClean="0"/>
              <a:t>Chart 3D</a:t>
            </a:r>
            <a:endParaRPr lang="de-DE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de-DE" dirty="0" smtClean="0"/>
              <a:t>3 </a:t>
            </a:r>
            <a:r>
              <a:rPr lang="en-US" dirty="0"/>
              <a:t>Sections</a:t>
            </a:r>
          </a:p>
        </p:txBody>
      </p:sp>
      <p:grpSp>
        <p:nvGrpSpPr>
          <p:cNvPr id="15" name="DataDriven_Label"/>
          <p:cNvGrpSpPr/>
          <p:nvPr/>
        </p:nvGrpSpPr>
        <p:grpSpPr>
          <a:xfrm>
            <a:off x="9161418" y="534489"/>
            <a:ext cx="323850" cy="1018902"/>
            <a:chOff x="9144000" y="543198"/>
            <a:chExt cx="323850" cy="101890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" name="Rechteck 15"/>
            <p:cNvSpPr/>
            <p:nvPr/>
          </p:nvSpPr>
          <p:spPr bwMode="auto">
            <a:xfrm>
              <a:off x="9144000" y="543198"/>
              <a:ext cx="323850" cy="1018902"/>
            </a:xfrm>
            <a:prstGeom prst="rect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vert="vert270" rtlCol="0" anchor="ctr"/>
            <a:lstStyle/>
            <a:p>
              <a:pPr algn="ctr"/>
              <a:r>
                <a:rPr lang="de-DE" sz="1200" dirty="0" smtClean="0">
                  <a:solidFill>
                    <a:srgbClr val="FFFFFF"/>
                  </a:solidFill>
                </a:rPr>
                <a:t>DATADRIVEN</a:t>
              </a:r>
              <a:endParaRPr lang="de-DE" sz="1200" dirty="0">
                <a:solidFill>
                  <a:srgbClr val="FFFFFF"/>
                </a:solidFill>
              </a:endParaRPr>
            </a:p>
          </p:txBody>
        </p:sp>
        <p:grpSp>
          <p:nvGrpSpPr>
            <p:cNvPr id="17" name="Gruppieren 36"/>
            <p:cNvGrpSpPr/>
            <p:nvPr/>
          </p:nvGrpSpPr>
          <p:grpSpPr>
            <a:xfrm>
              <a:off x="9144000" y="569121"/>
              <a:ext cx="297657" cy="962022"/>
              <a:chOff x="9144000" y="569121"/>
              <a:chExt cx="297657" cy="962022"/>
            </a:xfrm>
          </p:grpSpPr>
          <p:cxnSp>
            <p:nvCxnSpPr>
              <p:cNvPr id="18" name="Gerade Verbindung 17"/>
              <p:cNvCxnSpPr/>
              <p:nvPr/>
            </p:nvCxnSpPr>
            <p:spPr>
              <a:xfrm>
                <a:off x="9144000" y="569121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 Verbindung 18"/>
              <p:cNvCxnSpPr/>
              <p:nvPr/>
            </p:nvCxnSpPr>
            <p:spPr>
              <a:xfrm rot="5400000" flipH="1" flipV="1">
                <a:off x="8960646" y="1050133"/>
                <a:ext cx="962021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19"/>
              <p:cNvCxnSpPr/>
              <p:nvPr/>
            </p:nvCxnSpPr>
            <p:spPr>
              <a:xfrm>
                <a:off x="9144000" y="1531143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aphicFrame>
        <p:nvGraphicFramePr>
          <p:cNvPr id="21" name="Diagramm 20"/>
          <p:cNvGraphicFramePr/>
          <p:nvPr>
            <p:extLst>
              <p:ext uri="{D42A27DB-BD31-4B8C-83A1-F6EECF244321}">
                <p14:modId xmlns:p14="http://schemas.microsoft.com/office/powerpoint/2010/main" val="739564703"/>
              </p:ext>
            </p:extLst>
          </p:nvPr>
        </p:nvGraphicFramePr>
        <p:xfrm>
          <a:off x="323850" y="1518425"/>
          <a:ext cx="8497092" cy="4283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2" name="Gruppieren 15"/>
          <p:cNvGrpSpPr/>
          <p:nvPr/>
        </p:nvGrpSpPr>
        <p:grpSpPr>
          <a:xfrm>
            <a:off x="323850" y="1518425"/>
            <a:ext cx="2751138" cy="626508"/>
            <a:chOff x="6069012" y="4458676"/>
            <a:chExt cx="2751138" cy="626508"/>
          </a:xfrm>
        </p:grpSpPr>
        <p:cxnSp>
          <p:nvCxnSpPr>
            <p:cNvPr id="23" name="Gerade Verbindung 22"/>
            <p:cNvCxnSpPr/>
            <p:nvPr/>
          </p:nvCxnSpPr>
          <p:spPr>
            <a:xfrm>
              <a:off x="6083538" y="5085184"/>
              <a:ext cx="2479469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</p:cxnSp>
        <p:sp>
          <p:nvSpPr>
            <p:cNvPr id="24" name="Text Box 15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6069012" y="4458676"/>
              <a:ext cx="2751138" cy="6171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90000" anchor="b" anchorCtr="0">
              <a:spAutoFit/>
            </a:bodyPr>
            <a:lstStyle/>
            <a:p>
              <a:pPr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US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This is a place </a:t>
              </a:r>
              <a:br>
                <a:rPr lang="en-US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</a:br>
              <a:r>
                <a:rPr lang="en-US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for your own text.</a:t>
              </a:r>
            </a:p>
          </p:txBody>
        </p:sp>
      </p:grpSp>
      <p:grpSp>
        <p:nvGrpSpPr>
          <p:cNvPr id="26" name="Gruppieren 15"/>
          <p:cNvGrpSpPr/>
          <p:nvPr/>
        </p:nvGrpSpPr>
        <p:grpSpPr>
          <a:xfrm>
            <a:off x="323850" y="4762930"/>
            <a:ext cx="2751138" cy="617177"/>
            <a:chOff x="6069012" y="5081903"/>
            <a:chExt cx="2751138" cy="617177"/>
          </a:xfrm>
        </p:grpSpPr>
        <p:cxnSp>
          <p:nvCxnSpPr>
            <p:cNvPr id="27" name="Gerade Verbindung 26"/>
            <p:cNvCxnSpPr/>
            <p:nvPr/>
          </p:nvCxnSpPr>
          <p:spPr>
            <a:xfrm>
              <a:off x="6083538" y="5085184"/>
              <a:ext cx="2479469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</p:cxnSp>
        <p:sp>
          <p:nvSpPr>
            <p:cNvPr id="28" name="Text Box 15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6069012" y="5081903"/>
              <a:ext cx="2751138" cy="6171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90000" anchor="b" anchorCtr="0">
              <a:spAutoFit/>
            </a:bodyPr>
            <a:lstStyle/>
            <a:p>
              <a:pPr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US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This is a place </a:t>
              </a:r>
              <a:br>
                <a:rPr lang="en-US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</a:br>
              <a:r>
                <a:rPr lang="en-US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for your own text.</a:t>
              </a:r>
            </a:p>
          </p:txBody>
        </p:sp>
      </p:grpSp>
      <p:grpSp>
        <p:nvGrpSpPr>
          <p:cNvPr id="29" name="Gruppieren 15"/>
          <p:cNvGrpSpPr/>
          <p:nvPr/>
        </p:nvGrpSpPr>
        <p:grpSpPr>
          <a:xfrm flipH="1">
            <a:off x="6079605" y="4762930"/>
            <a:ext cx="2751138" cy="617177"/>
            <a:chOff x="6069012" y="5081903"/>
            <a:chExt cx="2751138" cy="617177"/>
          </a:xfrm>
        </p:grpSpPr>
        <p:cxnSp>
          <p:nvCxnSpPr>
            <p:cNvPr id="30" name="Gerade Verbindung 29"/>
            <p:cNvCxnSpPr/>
            <p:nvPr/>
          </p:nvCxnSpPr>
          <p:spPr>
            <a:xfrm>
              <a:off x="6083538" y="5085184"/>
              <a:ext cx="2479469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</p:cxnSp>
        <p:sp>
          <p:nvSpPr>
            <p:cNvPr id="31" name="Text Box 15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6069012" y="5081903"/>
              <a:ext cx="2751138" cy="6171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90000" anchor="b" anchorCtr="0">
              <a:spAutoFit/>
            </a:bodyPr>
            <a:lstStyle/>
            <a:p>
              <a:pPr algn="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US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This is a place </a:t>
              </a:r>
              <a:br>
                <a:rPr lang="en-US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</a:br>
              <a:r>
                <a:rPr lang="en-US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for your own text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88964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_effect" descr="C:\Users\marc.h\Desktop\Schatten-TES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20217" y="5385449"/>
            <a:ext cx="3113883" cy="469297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 smtClean="0"/>
              <a:t>Donut Chart 2D</a:t>
            </a:r>
            <a:endParaRPr lang="de-DE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de-DE" dirty="0" smtClean="0"/>
              <a:t>7 </a:t>
            </a:r>
            <a:r>
              <a:rPr lang="en-US" dirty="0"/>
              <a:t>Sections</a:t>
            </a:r>
          </a:p>
        </p:txBody>
      </p:sp>
      <p:graphicFrame>
        <p:nvGraphicFramePr>
          <p:cNvPr id="15" name="_color1"/>
          <p:cNvGraphicFramePr/>
          <p:nvPr>
            <p:extLst>
              <p:ext uri="{D42A27DB-BD31-4B8C-83A1-F6EECF244321}">
                <p14:modId xmlns:p14="http://schemas.microsoft.com/office/powerpoint/2010/main" val="3908418047"/>
              </p:ext>
            </p:extLst>
          </p:nvPr>
        </p:nvGraphicFramePr>
        <p:xfrm>
          <a:off x="321733" y="1379070"/>
          <a:ext cx="8500534" cy="50563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Ellipse 15"/>
          <p:cNvSpPr/>
          <p:nvPr/>
        </p:nvSpPr>
        <p:spPr bwMode="auto">
          <a:xfrm>
            <a:off x="3424517" y="2528046"/>
            <a:ext cx="2294965" cy="2294965"/>
          </a:xfrm>
          <a:prstGeom prst="ellipse">
            <a:avLst/>
          </a:prstGeom>
          <a:gradFill flip="none" rotWithShape="1">
            <a:gsLst>
              <a:gs pos="50000">
                <a:srgbClr val="FFFFFF">
                  <a:alpha val="50000"/>
                </a:srgbClr>
              </a:gs>
              <a:gs pos="100000">
                <a:schemeClr val="accent1">
                  <a:lumMod val="40000"/>
                  <a:lumOff val="60000"/>
                  <a:alpha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solidFill>
              <a:srgbClr val="FFFFFF"/>
            </a:solidFill>
            <a:round/>
            <a:headEnd/>
            <a:tailEnd/>
          </a:ln>
          <a:effectLst/>
        </p:spPr>
        <p:txBody>
          <a:bodyPr rtlCol="0" anchor="ctr"/>
          <a:lstStyle/>
          <a:p>
            <a:pPr algn="ctr"/>
            <a:r>
              <a:rPr lang="en-GB" dirty="0" smtClean="0">
                <a:solidFill>
                  <a:srgbClr val="000000"/>
                </a:solidFill>
              </a:rPr>
              <a:t>Placeholder</a:t>
            </a:r>
          </a:p>
          <a:p>
            <a:pPr algn="ctr"/>
            <a:r>
              <a:rPr lang="en-GB" dirty="0" smtClean="0">
                <a:solidFill>
                  <a:srgbClr val="000000"/>
                </a:solidFill>
              </a:rPr>
              <a:t>for own text</a:t>
            </a: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5282197" y="2088947"/>
            <a:ext cx="1886953" cy="3545366"/>
            <a:chOff x="5282197" y="2088947"/>
            <a:chExt cx="1886953" cy="3545366"/>
          </a:xfrm>
        </p:grpSpPr>
        <p:grpSp>
          <p:nvGrpSpPr>
            <p:cNvPr id="18" name="Gruppieren 17"/>
            <p:cNvGrpSpPr/>
            <p:nvPr/>
          </p:nvGrpSpPr>
          <p:grpSpPr>
            <a:xfrm>
              <a:off x="5800165" y="2088947"/>
              <a:ext cx="1368985" cy="295663"/>
              <a:chOff x="5800165" y="2088947"/>
              <a:chExt cx="1368985" cy="295663"/>
            </a:xfrm>
          </p:grpSpPr>
          <p:sp>
            <p:nvSpPr>
              <p:cNvPr id="19" name="Line 140" descr="© INSCALE GmbH, 26.05.2010&#10;http://www.presentationload.com/"/>
              <p:cNvSpPr>
                <a:spLocks noChangeShapeType="1"/>
              </p:cNvSpPr>
              <p:nvPr/>
            </p:nvSpPr>
            <p:spPr bwMode="gray">
              <a:xfrm rot="5400000" flipH="1" flipV="1">
                <a:off x="5968526" y="1920586"/>
                <a:ext cx="295663" cy="632385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GB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20" name="Line 140" descr="© INSCALE GmbH, 26.05.2010&#10;http://www.presentationload.com/"/>
              <p:cNvSpPr>
                <a:spLocks noChangeShapeType="1"/>
              </p:cNvSpPr>
              <p:nvPr/>
            </p:nvSpPr>
            <p:spPr bwMode="gray">
              <a:xfrm rot="16200000" flipV="1">
                <a:off x="6810153" y="1732016"/>
                <a:ext cx="0" cy="717994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GB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  <p:grpSp>
          <p:nvGrpSpPr>
            <p:cNvPr id="21" name="Gruppieren 20"/>
            <p:cNvGrpSpPr/>
            <p:nvPr/>
          </p:nvGrpSpPr>
          <p:grpSpPr>
            <a:xfrm>
              <a:off x="6308540" y="3225799"/>
              <a:ext cx="860610" cy="59870"/>
              <a:chOff x="6308540" y="3225799"/>
              <a:chExt cx="860610" cy="59870"/>
            </a:xfrm>
          </p:grpSpPr>
          <p:sp>
            <p:nvSpPr>
              <p:cNvPr id="22" name="Line 140" descr="© INSCALE GmbH, 26.05.2010&#10;http://www.presentationload.com/"/>
              <p:cNvSpPr>
                <a:spLocks noChangeShapeType="1"/>
              </p:cNvSpPr>
              <p:nvPr/>
            </p:nvSpPr>
            <p:spPr bwMode="gray">
              <a:xfrm rot="5400000" flipH="1" flipV="1">
                <a:off x="6342633" y="3191706"/>
                <a:ext cx="59870" cy="128055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GB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23" name="Line 140" descr="© INSCALE GmbH, 26.05.2010&#10;http://www.presentationload.com/"/>
              <p:cNvSpPr>
                <a:spLocks noChangeShapeType="1"/>
              </p:cNvSpPr>
              <p:nvPr/>
            </p:nvSpPr>
            <p:spPr bwMode="gray">
              <a:xfrm rot="16200000" flipV="1">
                <a:off x="6810153" y="2875016"/>
                <a:ext cx="0" cy="717994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GB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  <p:grpSp>
          <p:nvGrpSpPr>
            <p:cNvPr id="24" name="Gruppieren 23"/>
            <p:cNvGrpSpPr/>
            <p:nvPr/>
          </p:nvGrpSpPr>
          <p:grpSpPr>
            <a:xfrm>
              <a:off x="6241421" y="4276160"/>
              <a:ext cx="927729" cy="81803"/>
              <a:chOff x="6241421" y="4276160"/>
              <a:chExt cx="927729" cy="81803"/>
            </a:xfrm>
          </p:grpSpPr>
          <p:sp>
            <p:nvSpPr>
              <p:cNvPr id="25" name="Line 140" descr="© INSCALE GmbH, 26.05.2010&#10;http://www.presentationload.com/"/>
              <p:cNvSpPr>
                <a:spLocks noChangeShapeType="1"/>
              </p:cNvSpPr>
              <p:nvPr/>
            </p:nvSpPr>
            <p:spPr bwMode="gray">
              <a:xfrm rot="16200000" flipV="1">
                <a:off x="6286942" y="4230639"/>
                <a:ext cx="79940" cy="170982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GB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26" name="Line 140" descr="© INSCALE GmbH, 26.05.2010&#10;http://www.presentationload.com/"/>
              <p:cNvSpPr>
                <a:spLocks noChangeShapeType="1"/>
              </p:cNvSpPr>
              <p:nvPr/>
            </p:nvSpPr>
            <p:spPr bwMode="gray">
              <a:xfrm rot="16200000" flipV="1">
                <a:off x="6791325" y="3980138"/>
                <a:ext cx="0" cy="75565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GB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  <p:grpSp>
          <p:nvGrpSpPr>
            <p:cNvPr id="27" name="Gruppieren 26"/>
            <p:cNvGrpSpPr/>
            <p:nvPr/>
          </p:nvGrpSpPr>
          <p:grpSpPr>
            <a:xfrm>
              <a:off x="5802150" y="4975406"/>
              <a:ext cx="1367000" cy="131857"/>
              <a:chOff x="5802150" y="4975406"/>
              <a:chExt cx="1367000" cy="131857"/>
            </a:xfrm>
          </p:grpSpPr>
          <p:sp>
            <p:nvSpPr>
              <p:cNvPr id="28" name="Line 140" descr="© INSCALE GmbH, 26.05.2010&#10;http://www.presentationload.com/"/>
              <p:cNvSpPr>
                <a:spLocks noChangeShapeType="1"/>
              </p:cNvSpPr>
              <p:nvPr/>
            </p:nvSpPr>
            <p:spPr bwMode="gray">
              <a:xfrm rot="16200000" flipV="1">
                <a:off x="5875311" y="4902245"/>
                <a:ext cx="128478" cy="27480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GB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29" name="Line 140" descr="© INSCALE GmbH, 26.05.2010&#10;http://www.presentationload.com/"/>
              <p:cNvSpPr>
                <a:spLocks noChangeShapeType="1"/>
              </p:cNvSpPr>
              <p:nvPr/>
            </p:nvSpPr>
            <p:spPr bwMode="gray">
              <a:xfrm rot="16200000" flipV="1">
                <a:off x="6626225" y="4564338"/>
                <a:ext cx="0" cy="108585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GB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  <p:grpSp>
          <p:nvGrpSpPr>
            <p:cNvPr id="30" name="Gruppieren 29"/>
            <p:cNvGrpSpPr/>
            <p:nvPr/>
          </p:nvGrpSpPr>
          <p:grpSpPr>
            <a:xfrm>
              <a:off x="5282197" y="5325030"/>
              <a:ext cx="1886953" cy="309283"/>
              <a:chOff x="5282197" y="5325030"/>
              <a:chExt cx="1886953" cy="309283"/>
            </a:xfrm>
          </p:grpSpPr>
          <p:sp>
            <p:nvSpPr>
              <p:cNvPr id="31" name="Line 140" descr="© INSCALE GmbH, 26.05.2010&#10;http://www.presentationload.com/"/>
              <p:cNvSpPr>
                <a:spLocks noChangeShapeType="1"/>
              </p:cNvSpPr>
              <p:nvPr/>
            </p:nvSpPr>
            <p:spPr bwMode="gray">
              <a:xfrm rot="16200000" flipV="1">
                <a:off x="5457254" y="5149973"/>
                <a:ext cx="307420" cy="657534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GB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32" name="Line 140" descr="© INSCALE GmbH, 26.05.2010&#10;http://www.presentationload.com/"/>
              <p:cNvSpPr>
                <a:spLocks noChangeShapeType="1"/>
              </p:cNvSpPr>
              <p:nvPr/>
            </p:nvSpPr>
            <p:spPr bwMode="gray">
              <a:xfrm rot="16200000" flipV="1">
                <a:off x="6562725" y="5027888"/>
                <a:ext cx="0" cy="121285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GB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</p:grpSp>
      <p:grpSp>
        <p:nvGrpSpPr>
          <p:cNvPr id="33" name="Gruppieren 32"/>
          <p:cNvGrpSpPr/>
          <p:nvPr/>
        </p:nvGrpSpPr>
        <p:grpSpPr>
          <a:xfrm>
            <a:off x="2381250" y="5450537"/>
            <a:ext cx="2379007" cy="183776"/>
            <a:chOff x="2381250" y="5450537"/>
            <a:chExt cx="2379007" cy="183776"/>
          </a:xfrm>
        </p:grpSpPr>
        <p:sp>
          <p:nvSpPr>
            <p:cNvPr id="34" name="Line 140" descr="© INSCALE GmbH, 26.05.2010&#10;http://www.presentationload.com/"/>
            <p:cNvSpPr>
              <a:spLocks noChangeShapeType="1"/>
            </p:cNvSpPr>
            <p:nvPr/>
          </p:nvSpPr>
          <p:spPr bwMode="gray">
            <a:xfrm rot="5400000" flipH="1" flipV="1">
              <a:off x="4478861" y="5348438"/>
              <a:ext cx="179297" cy="383495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en-GB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35" name="Line 140" descr="© INSCALE GmbH, 26.05.2010&#10;http://www.presentationload.com/"/>
            <p:cNvSpPr>
              <a:spLocks noChangeShapeType="1"/>
            </p:cNvSpPr>
            <p:nvPr/>
          </p:nvSpPr>
          <p:spPr bwMode="gray">
            <a:xfrm rot="16200000" flipV="1">
              <a:off x="3368675" y="4646888"/>
              <a:ext cx="0" cy="197485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en-GB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grpSp>
        <p:nvGrpSpPr>
          <p:cNvPr id="36" name="Gruppieren 35"/>
          <p:cNvGrpSpPr/>
          <p:nvPr/>
        </p:nvGrpSpPr>
        <p:grpSpPr>
          <a:xfrm flipH="1">
            <a:off x="2394857" y="2088946"/>
            <a:ext cx="1111801" cy="171653"/>
            <a:chOff x="6065407" y="2088946"/>
            <a:chExt cx="1111801" cy="171653"/>
          </a:xfrm>
        </p:grpSpPr>
        <p:sp>
          <p:nvSpPr>
            <p:cNvPr id="37" name="Line 140" descr="© INSCALE GmbH, 26.05.2010&#10;http://www.presentationload.com/"/>
            <p:cNvSpPr>
              <a:spLocks noChangeShapeType="1"/>
            </p:cNvSpPr>
            <p:nvPr/>
          </p:nvSpPr>
          <p:spPr bwMode="gray">
            <a:xfrm rot="5400000" flipH="1" flipV="1">
              <a:off x="6163152" y="1991201"/>
              <a:ext cx="171653" cy="367144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en-GB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38" name="Line 140" descr="© INSCALE GmbH, 26.05.2010&#10;http://www.presentationload.com/"/>
            <p:cNvSpPr>
              <a:spLocks noChangeShapeType="1"/>
            </p:cNvSpPr>
            <p:nvPr/>
          </p:nvSpPr>
          <p:spPr bwMode="gray">
            <a:xfrm rot="16200000" flipV="1">
              <a:off x="6804880" y="1718684"/>
              <a:ext cx="0" cy="744657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en-GB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grpSp>
        <p:nvGrpSpPr>
          <p:cNvPr id="39" name="Gruppieren 12"/>
          <p:cNvGrpSpPr/>
          <p:nvPr/>
        </p:nvGrpSpPr>
        <p:grpSpPr>
          <a:xfrm>
            <a:off x="334244" y="3191433"/>
            <a:ext cx="2534466" cy="1012157"/>
            <a:chOff x="323850" y="3734929"/>
            <a:chExt cx="2534466" cy="1012157"/>
          </a:xfrm>
        </p:grpSpPr>
        <p:sp>
          <p:nvSpPr>
            <p:cNvPr id="40" name="Text Box 141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323850" y="3734929"/>
              <a:ext cx="2500831" cy="10121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90000" rIns="0" bIns="0">
              <a:spAutoFit/>
            </a:bodyPr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r>
                <a:rPr lang="en-GB" sz="14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Description 1</a:t>
              </a:r>
              <a:endParaRPr lang="en-GB" sz="14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ts val="800"/>
                </a:spcAft>
              </a:pPr>
              <a:r>
                <a:rPr lang="en-GB" sz="1400" noProof="1">
                  <a:cs typeface="Arial" charset="0"/>
                </a:rPr>
                <a:t>This is placeholder text. </a:t>
              </a:r>
              <a:r>
                <a:rPr lang="en-GB" sz="1400" noProof="1" smtClean="0">
                  <a:cs typeface="Arial" charset="0"/>
                </a:rPr>
                <a:t/>
              </a:r>
              <a:br>
                <a:rPr lang="en-GB" sz="1400" noProof="1" smtClean="0">
                  <a:cs typeface="Arial" charset="0"/>
                </a:rPr>
              </a:br>
              <a:r>
                <a:rPr lang="en-GB" sz="1400" noProof="1" smtClean="0">
                  <a:cs typeface="Arial" charset="0"/>
                </a:rPr>
                <a:t>All </a:t>
              </a:r>
              <a:r>
                <a:rPr lang="en-GB" sz="1400" noProof="1">
                  <a:cs typeface="Arial" charset="0"/>
                </a:rPr>
                <a:t>phrases can be replaced </a:t>
              </a:r>
              <a:r>
                <a:rPr lang="en-GB" sz="1400" noProof="1" smtClean="0">
                  <a:cs typeface="Arial" charset="0"/>
                </a:rPr>
                <a:t/>
              </a:r>
              <a:br>
                <a:rPr lang="en-GB" sz="1400" noProof="1" smtClean="0">
                  <a:cs typeface="Arial" charset="0"/>
                </a:rPr>
              </a:br>
              <a:r>
                <a:rPr lang="en-GB" sz="1400" noProof="1" smtClean="0">
                  <a:cs typeface="Arial" charset="0"/>
                </a:rPr>
                <a:t>with your </a:t>
              </a:r>
              <a:r>
                <a:rPr lang="en-GB" sz="1400" noProof="1">
                  <a:cs typeface="Arial" charset="0"/>
                </a:rPr>
                <a:t>own text.</a:t>
              </a:r>
            </a:p>
          </p:txBody>
        </p:sp>
        <p:sp>
          <p:nvSpPr>
            <p:cNvPr id="41" name="Line 140" descr="© INSCALE GmbH, 26.05.2010&#10;http://www.presentationload.com/"/>
            <p:cNvSpPr>
              <a:spLocks noChangeShapeType="1"/>
            </p:cNvSpPr>
            <p:nvPr/>
          </p:nvSpPr>
          <p:spPr bwMode="gray">
            <a:xfrm rot="5400000" flipH="1" flipV="1">
              <a:off x="1596281" y="2472901"/>
              <a:ext cx="0" cy="252407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en-GB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grpSp>
        <p:nvGrpSpPr>
          <p:cNvPr id="42" name="DataDriven_Label"/>
          <p:cNvGrpSpPr/>
          <p:nvPr/>
        </p:nvGrpSpPr>
        <p:grpSpPr>
          <a:xfrm>
            <a:off x="9161418" y="534489"/>
            <a:ext cx="323850" cy="1018902"/>
            <a:chOff x="9144000" y="543198"/>
            <a:chExt cx="323850" cy="101890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3" name="Rechteck 42"/>
            <p:cNvSpPr/>
            <p:nvPr/>
          </p:nvSpPr>
          <p:spPr bwMode="auto">
            <a:xfrm>
              <a:off x="9144000" y="543198"/>
              <a:ext cx="323850" cy="1018902"/>
            </a:xfrm>
            <a:prstGeom prst="rect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vert="vert270" rtlCol="0" anchor="ctr"/>
            <a:lstStyle/>
            <a:p>
              <a:pPr algn="ctr"/>
              <a:r>
                <a:rPr lang="de-DE" sz="1200" dirty="0" smtClean="0">
                  <a:solidFill>
                    <a:srgbClr val="FFFFFF"/>
                  </a:solidFill>
                </a:rPr>
                <a:t>DATADRIVEN</a:t>
              </a:r>
              <a:endParaRPr lang="de-DE" sz="1200" dirty="0">
                <a:solidFill>
                  <a:srgbClr val="FFFFFF"/>
                </a:solidFill>
              </a:endParaRPr>
            </a:p>
          </p:txBody>
        </p:sp>
        <p:grpSp>
          <p:nvGrpSpPr>
            <p:cNvPr id="44" name="Gruppieren 36"/>
            <p:cNvGrpSpPr/>
            <p:nvPr/>
          </p:nvGrpSpPr>
          <p:grpSpPr>
            <a:xfrm>
              <a:off x="9144000" y="569121"/>
              <a:ext cx="297657" cy="962022"/>
              <a:chOff x="9144000" y="569121"/>
              <a:chExt cx="297657" cy="962022"/>
            </a:xfrm>
          </p:grpSpPr>
          <p:cxnSp>
            <p:nvCxnSpPr>
              <p:cNvPr id="45" name="Gerade Verbindung 44"/>
              <p:cNvCxnSpPr/>
              <p:nvPr/>
            </p:nvCxnSpPr>
            <p:spPr>
              <a:xfrm>
                <a:off x="9144000" y="569121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/>
            </p:nvCxnSpPr>
            <p:spPr>
              <a:xfrm rot="5400000" flipH="1" flipV="1">
                <a:off x="8960646" y="1050133"/>
                <a:ext cx="962021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46"/>
              <p:cNvCxnSpPr/>
              <p:nvPr/>
            </p:nvCxnSpPr>
            <p:spPr>
              <a:xfrm>
                <a:off x="9144000" y="1531143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42333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Donut Charts 2D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de-DE" dirty="0" smtClean="0"/>
              <a:t>3x 4 </a:t>
            </a:r>
            <a:r>
              <a:rPr lang="en-US" dirty="0" smtClean="0"/>
              <a:t>Sections</a:t>
            </a:r>
            <a:endParaRPr lang="en-US" dirty="0"/>
          </a:p>
        </p:txBody>
      </p:sp>
      <p:grpSp>
        <p:nvGrpSpPr>
          <p:cNvPr id="15" name="DataDriven_Label"/>
          <p:cNvGrpSpPr/>
          <p:nvPr/>
        </p:nvGrpSpPr>
        <p:grpSpPr>
          <a:xfrm>
            <a:off x="9161418" y="534489"/>
            <a:ext cx="323850" cy="1018902"/>
            <a:chOff x="9144000" y="543198"/>
            <a:chExt cx="323850" cy="101890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" name="Rechteck 15"/>
            <p:cNvSpPr/>
            <p:nvPr/>
          </p:nvSpPr>
          <p:spPr bwMode="auto">
            <a:xfrm>
              <a:off x="9144000" y="543198"/>
              <a:ext cx="323850" cy="1018902"/>
            </a:xfrm>
            <a:prstGeom prst="rect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vert="vert270" rtlCol="0" anchor="ctr"/>
            <a:lstStyle/>
            <a:p>
              <a:pPr algn="ctr"/>
              <a:r>
                <a:rPr lang="de-DE" sz="1200" dirty="0" smtClean="0">
                  <a:solidFill>
                    <a:srgbClr val="FFFFFF"/>
                  </a:solidFill>
                </a:rPr>
                <a:t>DATADRIVEN</a:t>
              </a:r>
              <a:endParaRPr lang="de-DE" sz="1200" dirty="0">
                <a:solidFill>
                  <a:srgbClr val="FFFFFF"/>
                </a:solidFill>
              </a:endParaRPr>
            </a:p>
          </p:txBody>
        </p:sp>
        <p:grpSp>
          <p:nvGrpSpPr>
            <p:cNvPr id="17" name="Gruppieren 36"/>
            <p:cNvGrpSpPr/>
            <p:nvPr/>
          </p:nvGrpSpPr>
          <p:grpSpPr>
            <a:xfrm>
              <a:off x="9144000" y="569121"/>
              <a:ext cx="297657" cy="962022"/>
              <a:chOff x="9144000" y="569121"/>
              <a:chExt cx="297657" cy="962022"/>
            </a:xfrm>
          </p:grpSpPr>
          <p:cxnSp>
            <p:nvCxnSpPr>
              <p:cNvPr id="18" name="Gerade Verbindung 17"/>
              <p:cNvCxnSpPr/>
              <p:nvPr/>
            </p:nvCxnSpPr>
            <p:spPr>
              <a:xfrm>
                <a:off x="9144000" y="569121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 Verbindung 18"/>
              <p:cNvCxnSpPr/>
              <p:nvPr/>
            </p:nvCxnSpPr>
            <p:spPr>
              <a:xfrm rot="5400000" flipH="1" flipV="1">
                <a:off x="8960646" y="1050133"/>
                <a:ext cx="962021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19"/>
              <p:cNvCxnSpPr/>
              <p:nvPr/>
            </p:nvCxnSpPr>
            <p:spPr>
              <a:xfrm>
                <a:off x="9144000" y="1531143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aphicFrame>
        <p:nvGraphicFramePr>
          <p:cNvPr id="21" name="_color1"/>
          <p:cNvGraphicFramePr/>
          <p:nvPr>
            <p:extLst>
              <p:ext uri="{D42A27DB-BD31-4B8C-83A1-F6EECF244321}">
                <p14:modId xmlns:p14="http://schemas.microsoft.com/office/powerpoint/2010/main" val="3241576713"/>
              </p:ext>
            </p:extLst>
          </p:nvPr>
        </p:nvGraphicFramePr>
        <p:xfrm>
          <a:off x="323850" y="1563854"/>
          <a:ext cx="2219325" cy="42273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2" name="_color1"/>
          <p:cNvGraphicFramePr/>
          <p:nvPr>
            <p:extLst>
              <p:ext uri="{D42A27DB-BD31-4B8C-83A1-F6EECF244321}">
                <p14:modId xmlns:p14="http://schemas.microsoft.com/office/powerpoint/2010/main" val="595723879"/>
              </p:ext>
            </p:extLst>
          </p:nvPr>
        </p:nvGraphicFramePr>
        <p:xfrm>
          <a:off x="5619750" y="1552575"/>
          <a:ext cx="3209925" cy="4238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3" name="_color1"/>
          <p:cNvGraphicFramePr/>
          <p:nvPr>
            <p:extLst>
              <p:ext uri="{D42A27DB-BD31-4B8C-83A1-F6EECF244321}">
                <p14:modId xmlns:p14="http://schemas.microsoft.com/office/powerpoint/2010/main" val="1655257975"/>
              </p:ext>
            </p:extLst>
          </p:nvPr>
        </p:nvGraphicFramePr>
        <p:xfrm>
          <a:off x="2686050" y="1552575"/>
          <a:ext cx="3028951" cy="4248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4" name="Rectangle 19"/>
          <p:cNvSpPr>
            <a:spLocks noChangeArrowheads="1"/>
          </p:cNvSpPr>
          <p:nvPr/>
        </p:nvSpPr>
        <p:spPr bwMode="gray">
          <a:xfrm>
            <a:off x="704851" y="1555750"/>
            <a:ext cx="7751762" cy="360363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lIns="216000" tIns="36000" rIns="36000" bIns="36000" anchor="ctr"/>
          <a:lstStyle/>
          <a:p>
            <a:pPr algn="ctr"/>
            <a:r>
              <a:rPr lang="de-DE" b="1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</a:t>
            </a:r>
          </a:p>
        </p:txBody>
      </p:sp>
      <p:pic>
        <p:nvPicPr>
          <p:cNvPr id="25" name="_effect" descr="C:\Users\marc.h\Desktop\Schatten-TEST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845047" y="5128337"/>
            <a:ext cx="2399168" cy="361581"/>
          </a:xfrm>
          <a:prstGeom prst="rect">
            <a:avLst/>
          </a:prstGeom>
          <a:noFill/>
        </p:spPr>
      </p:pic>
      <p:pic>
        <p:nvPicPr>
          <p:cNvPr id="26" name="_effect" descr="C:\Users\marc.h\Desktop\Schatten-TEST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924174" y="4835654"/>
            <a:ext cx="2129165" cy="320889"/>
          </a:xfrm>
          <a:prstGeom prst="rect">
            <a:avLst/>
          </a:prstGeom>
          <a:noFill/>
        </p:spPr>
      </p:pic>
      <p:pic>
        <p:nvPicPr>
          <p:cNvPr id="27" name="_effect" descr="C:\Users\marc.h\Desktop\Schatten-TEST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71525" y="4519243"/>
            <a:ext cx="1447800" cy="2182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91975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Donut </a:t>
            </a:r>
            <a:r>
              <a:rPr lang="de-DE" noProof="1" smtClean="0"/>
              <a:t>Chart</a:t>
            </a:r>
            <a:endParaRPr lang="de-DE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smtClean="0"/>
              <a:t>Half Donut - 3 Sections</a:t>
            </a:r>
            <a:endParaRPr lang="en-US"/>
          </a:p>
        </p:txBody>
      </p:sp>
      <p:grpSp>
        <p:nvGrpSpPr>
          <p:cNvPr id="15" name="DataDriven_Label"/>
          <p:cNvGrpSpPr/>
          <p:nvPr/>
        </p:nvGrpSpPr>
        <p:grpSpPr>
          <a:xfrm>
            <a:off x="9161418" y="534489"/>
            <a:ext cx="323850" cy="1018902"/>
            <a:chOff x="9144000" y="543198"/>
            <a:chExt cx="323850" cy="101890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" name="Rechteck 15"/>
            <p:cNvSpPr/>
            <p:nvPr/>
          </p:nvSpPr>
          <p:spPr bwMode="auto">
            <a:xfrm>
              <a:off x="9144000" y="543198"/>
              <a:ext cx="323850" cy="1018902"/>
            </a:xfrm>
            <a:prstGeom prst="rect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vert="vert270" rtlCol="0" anchor="ctr"/>
            <a:lstStyle/>
            <a:p>
              <a:pPr algn="ctr"/>
              <a:r>
                <a:rPr lang="de-DE" sz="1200" dirty="0" smtClean="0">
                  <a:solidFill>
                    <a:srgbClr val="FFFFFF"/>
                  </a:solidFill>
                </a:rPr>
                <a:t>DATADRIVEN</a:t>
              </a:r>
              <a:endParaRPr lang="de-DE" sz="1200" dirty="0">
                <a:solidFill>
                  <a:srgbClr val="FFFFFF"/>
                </a:solidFill>
              </a:endParaRPr>
            </a:p>
          </p:txBody>
        </p:sp>
        <p:grpSp>
          <p:nvGrpSpPr>
            <p:cNvPr id="17" name="Gruppieren 36"/>
            <p:cNvGrpSpPr/>
            <p:nvPr/>
          </p:nvGrpSpPr>
          <p:grpSpPr>
            <a:xfrm>
              <a:off x="9144000" y="569121"/>
              <a:ext cx="297657" cy="962022"/>
              <a:chOff x="9144000" y="569121"/>
              <a:chExt cx="297657" cy="962022"/>
            </a:xfrm>
          </p:grpSpPr>
          <p:cxnSp>
            <p:nvCxnSpPr>
              <p:cNvPr id="18" name="Gerade Verbindung 17"/>
              <p:cNvCxnSpPr/>
              <p:nvPr/>
            </p:nvCxnSpPr>
            <p:spPr>
              <a:xfrm>
                <a:off x="9144000" y="569121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 Verbindung 18"/>
              <p:cNvCxnSpPr/>
              <p:nvPr/>
            </p:nvCxnSpPr>
            <p:spPr>
              <a:xfrm rot="5400000" flipH="1" flipV="1">
                <a:off x="8960646" y="1050133"/>
                <a:ext cx="962021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19"/>
              <p:cNvCxnSpPr/>
              <p:nvPr/>
            </p:nvCxnSpPr>
            <p:spPr>
              <a:xfrm>
                <a:off x="9144000" y="1531143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34" name="_effect" descr="C:\Users\marc.h\Desktop\Schatten-TES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50876" y="4775199"/>
            <a:ext cx="1769619" cy="266701"/>
          </a:xfrm>
          <a:prstGeom prst="rect">
            <a:avLst/>
          </a:prstGeom>
          <a:noFill/>
        </p:spPr>
      </p:pic>
      <p:pic>
        <p:nvPicPr>
          <p:cNvPr id="35" name="_effect" descr="C:\Users\marc.h\Desktop\Schatten-TES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13276" y="4775199"/>
            <a:ext cx="1769619" cy="266701"/>
          </a:xfrm>
          <a:prstGeom prst="rect">
            <a:avLst/>
          </a:prstGeom>
          <a:noFill/>
        </p:spPr>
      </p:pic>
      <p:graphicFrame>
        <p:nvGraphicFramePr>
          <p:cNvPr id="36" name="_color1"/>
          <p:cNvGraphicFramePr/>
          <p:nvPr>
            <p:extLst>
              <p:ext uri="{D42A27DB-BD31-4B8C-83A1-F6EECF244321}">
                <p14:modId xmlns:p14="http://schemas.microsoft.com/office/powerpoint/2010/main" val="373074910"/>
              </p:ext>
            </p:extLst>
          </p:nvPr>
        </p:nvGraphicFramePr>
        <p:xfrm>
          <a:off x="317500" y="1794566"/>
          <a:ext cx="8534400" cy="568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37" name="Gruppieren 33"/>
          <p:cNvGrpSpPr/>
          <p:nvPr/>
        </p:nvGrpSpPr>
        <p:grpSpPr>
          <a:xfrm>
            <a:off x="5943601" y="2275541"/>
            <a:ext cx="2888648" cy="1024588"/>
            <a:chOff x="5943601" y="3164541"/>
            <a:chExt cx="2888648" cy="1024588"/>
          </a:xfrm>
        </p:grpSpPr>
        <p:sp>
          <p:nvSpPr>
            <p:cNvPr id="38" name="Line 140" descr="© INSCALE GmbH, 26.05.2010&#10;http://www.presentationload.com/"/>
            <p:cNvSpPr>
              <a:spLocks noChangeShapeType="1"/>
            </p:cNvSpPr>
            <p:nvPr/>
          </p:nvSpPr>
          <p:spPr bwMode="gray">
            <a:xfrm rot="5400000" flipV="1">
              <a:off x="7387925" y="1732556"/>
              <a:ext cx="0" cy="2888648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en-GB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39" name="Text Box 141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6206127" y="3164541"/>
              <a:ext cx="2614023" cy="10245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90000" tIns="90000" rIns="0" bIns="0">
              <a:spAutoFit/>
            </a:bodyPr>
            <a:lstStyle/>
            <a:p>
              <a:pPr algn="r">
                <a:lnSpc>
                  <a:spcPct val="95000"/>
                </a:lnSpc>
                <a:spcAft>
                  <a:spcPts val="800"/>
                </a:spcAft>
              </a:pPr>
              <a:r>
                <a:rPr lang="en-GB" sz="14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Description 2</a:t>
              </a:r>
              <a:endParaRPr lang="en-GB" sz="14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endParaRPr>
            </a:p>
            <a:p>
              <a:pPr algn="r">
                <a:lnSpc>
                  <a:spcPct val="95000"/>
                </a:lnSpc>
                <a:spcAft>
                  <a:spcPts val="800"/>
                </a:spcAft>
              </a:pPr>
              <a:r>
                <a:rPr lang="en-GB" sz="1400" noProof="1">
                  <a:cs typeface="Arial" charset="0"/>
                </a:rPr>
                <a:t>This is placeholder text. </a:t>
              </a:r>
              <a:r>
                <a:rPr lang="en-GB" sz="1400" noProof="1" smtClean="0">
                  <a:cs typeface="Arial" charset="0"/>
                </a:rPr>
                <a:t/>
              </a:r>
              <a:br>
                <a:rPr lang="en-GB" sz="1400" noProof="1" smtClean="0">
                  <a:cs typeface="Arial" charset="0"/>
                </a:rPr>
              </a:br>
              <a:r>
                <a:rPr lang="en-GB" sz="1400" noProof="1" smtClean="0">
                  <a:cs typeface="Arial" charset="0"/>
                </a:rPr>
                <a:t>All </a:t>
              </a:r>
              <a:r>
                <a:rPr lang="en-GB" sz="1400" noProof="1">
                  <a:cs typeface="Arial" charset="0"/>
                </a:rPr>
                <a:t>phrases can be replaced </a:t>
              </a:r>
              <a:r>
                <a:rPr lang="en-GB" sz="1400" noProof="1" smtClean="0">
                  <a:cs typeface="Arial" charset="0"/>
                </a:rPr>
                <a:t/>
              </a:r>
              <a:br>
                <a:rPr lang="en-GB" sz="1400" noProof="1" smtClean="0">
                  <a:cs typeface="Arial" charset="0"/>
                </a:rPr>
              </a:br>
              <a:r>
                <a:rPr lang="en-GB" sz="1400" noProof="1" smtClean="0">
                  <a:cs typeface="Arial" charset="0"/>
                </a:rPr>
                <a:t>with your </a:t>
              </a:r>
              <a:r>
                <a:rPr lang="en-GB" sz="1400" noProof="1">
                  <a:cs typeface="Arial" charset="0"/>
                </a:rPr>
                <a:t>own text.</a:t>
              </a:r>
            </a:p>
          </p:txBody>
        </p:sp>
      </p:grpSp>
      <p:grpSp>
        <p:nvGrpSpPr>
          <p:cNvPr id="40" name="Gruppieren 12"/>
          <p:cNvGrpSpPr/>
          <p:nvPr/>
        </p:nvGrpSpPr>
        <p:grpSpPr>
          <a:xfrm>
            <a:off x="334244" y="2288241"/>
            <a:ext cx="2916956" cy="1012157"/>
            <a:chOff x="323850" y="3734929"/>
            <a:chExt cx="2916956" cy="1012157"/>
          </a:xfrm>
        </p:grpSpPr>
        <p:sp>
          <p:nvSpPr>
            <p:cNvPr id="41" name="Text Box 141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323850" y="3734929"/>
              <a:ext cx="2500831" cy="10121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90000" rIns="0" bIns="0">
              <a:spAutoFit/>
            </a:bodyPr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r>
                <a:rPr lang="en-GB" sz="14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Description 1</a:t>
              </a:r>
              <a:endParaRPr lang="en-GB" sz="14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ts val="800"/>
                </a:spcAft>
              </a:pPr>
              <a:r>
                <a:rPr lang="en-GB" sz="1400" noProof="1">
                  <a:cs typeface="Arial" charset="0"/>
                </a:rPr>
                <a:t>This is placeholder text. </a:t>
              </a:r>
              <a:r>
                <a:rPr lang="en-GB" sz="1400" noProof="1" smtClean="0">
                  <a:cs typeface="Arial" charset="0"/>
                </a:rPr>
                <a:t/>
              </a:r>
              <a:br>
                <a:rPr lang="en-GB" sz="1400" noProof="1" smtClean="0">
                  <a:cs typeface="Arial" charset="0"/>
                </a:rPr>
              </a:br>
              <a:r>
                <a:rPr lang="en-GB" sz="1400" noProof="1" smtClean="0">
                  <a:cs typeface="Arial" charset="0"/>
                </a:rPr>
                <a:t>All </a:t>
              </a:r>
              <a:r>
                <a:rPr lang="en-GB" sz="1400" noProof="1">
                  <a:cs typeface="Arial" charset="0"/>
                </a:rPr>
                <a:t>phrases can be replaced </a:t>
              </a:r>
              <a:r>
                <a:rPr lang="en-GB" sz="1400" noProof="1" smtClean="0">
                  <a:cs typeface="Arial" charset="0"/>
                </a:rPr>
                <a:t/>
              </a:r>
              <a:br>
                <a:rPr lang="en-GB" sz="1400" noProof="1" smtClean="0">
                  <a:cs typeface="Arial" charset="0"/>
                </a:rPr>
              </a:br>
              <a:r>
                <a:rPr lang="en-GB" sz="1400" noProof="1" smtClean="0">
                  <a:cs typeface="Arial" charset="0"/>
                </a:rPr>
                <a:t>with your </a:t>
              </a:r>
              <a:r>
                <a:rPr lang="en-GB" sz="1400" noProof="1">
                  <a:cs typeface="Arial" charset="0"/>
                </a:rPr>
                <a:t>own text.</a:t>
              </a:r>
            </a:p>
          </p:txBody>
        </p:sp>
        <p:sp>
          <p:nvSpPr>
            <p:cNvPr id="42" name="Line 140" descr="© INSCALE GmbH, 26.05.2010&#10;http://www.presentationload.com/"/>
            <p:cNvSpPr>
              <a:spLocks noChangeShapeType="1"/>
            </p:cNvSpPr>
            <p:nvPr/>
          </p:nvSpPr>
          <p:spPr bwMode="gray">
            <a:xfrm rot="5400000" flipH="1" flipV="1">
              <a:off x="1787526" y="2281656"/>
              <a:ext cx="0" cy="290656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en-GB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grpSp>
        <p:nvGrpSpPr>
          <p:cNvPr id="43" name="Gruppieren 33"/>
          <p:cNvGrpSpPr/>
          <p:nvPr/>
        </p:nvGrpSpPr>
        <p:grpSpPr>
          <a:xfrm>
            <a:off x="7213599" y="3901141"/>
            <a:ext cx="1618649" cy="1012157"/>
            <a:chOff x="7213599" y="3164541"/>
            <a:chExt cx="1618649" cy="1012157"/>
          </a:xfrm>
        </p:grpSpPr>
        <p:sp>
          <p:nvSpPr>
            <p:cNvPr id="44" name="Line 140" descr="© INSCALE GmbH, 26.05.2010&#10;http://www.presentationload.com/"/>
            <p:cNvSpPr>
              <a:spLocks noChangeShapeType="1"/>
            </p:cNvSpPr>
            <p:nvPr/>
          </p:nvSpPr>
          <p:spPr bwMode="gray">
            <a:xfrm rot="5400000" flipV="1">
              <a:off x="8022924" y="2367555"/>
              <a:ext cx="0" cy="1618649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en-GB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45" name="Text Box 141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7277100" y="3164541"/>
              <a:ext cx="1543050" cy="10121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90000" tIns="90000" rIns="0" bIns="0">
              <a:spAutoFit/>
            </a:bodyPr>
            <a:lstStyle/>
            <a:p>
              <a:pPr algn="r">
                <a:lnSpc>
                  <a:spcPct val="95000"/>
                </a:lnSpc>
                <a:spcAft>
                  <a:spcPts val="800"/>
                </a:spcAft>
              </a:pPr>
              <a:r>
                <a:rPr lang="en-GB" sz="14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Description 3</a:t>
              </a:r>
              <a:endParaRPr lang="en-GB" sz="14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endParaRPr>
            </a:p>
            <a:p>
              <a:pPr algn="r">
                <a:lnSpc>
                  <a:spcPct val="95000"/>
                </a:lnSpc>
                <a:spcAft>
                  <a:spcPts val="800"/>
                </a:spcAft>
              </a:pPr>
              <a:r>
                <a:rPr lang="en-GB" sz="1400" noProof="1">
                  <a:cs typeface="Arial" charset="0"/>
                </a:rPr>
                <a:t>This is </a:t>
              </a:r>
              <a:r>
                <a:rPr lang="en-GB" sz="1400" noProof="1" smtClean="0">
                  <a:cs typeface="Arial" charset="0"/>
                </a:rPr>
                <a:t>place for </a:t>
              </a:r>
              <a:br>
                <a:rPr lang="en-GB" sz="1400" noProof="1" smtClean="0">
                  <a:cs typeface="Arial" charset="0"/>
                </a:rPr>
              </a:br>
              <a:r>
                <a:rPr lang="en-GB" sz="1400" noProof="1" smtClean="0">
                  <a:cs typeface="Arial" charset="0"/>
                </a:rPr>
                <a:t>your own text</a:t>
              </a:r>
              <a:r>
                <a:rPr lang="en-GB" sz="1400" noProof="1">
                  <a:cs typeface="Arial" charset="0"/>
                </a:rPr>
                <a:t>. </a:t>
              </a:r>
              <a:r>
                <a:rPr lang="en-GB" sz="1400" noProof="1" smtClean="0">
                  <a:cs typeface="Arial" charset="0"/>
                </a:rPr>
                <a:t/>
              </a:r>
              <a:br>
                <a:rPr lang="en-GB" sz="1400" noProof="1" smtClean="0">
                  <a:cs typeface="Arial" charset="0"/>
                </a:rPr>
              </a:br>
              <a:endParaRPr lang="en-GB" sz="1400" noProof="1"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1975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Donut </a:t>
            </a:r>
            <a:r>
              <a:rPr lang="de-DE" noProof="1" smtClean="0"/>
              <a:t>Chart 3D</a:t>
            </a:r>
            <a:endParaRPr lang="de-DE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smtClean="0"/>
              <a:t>9 Sections</a:t>
            </a:r>
            <a:endParaRPr lang="en-US"/>
          </a:p>
        </p:txBody>
      </p:sp>
      <p:grpSp>
        <p:nvGrpSpPr>
          <p:cNvPr id="15" name="DataDriven_Label"/>
          <p:cNvGrpSpPr/>
          <p:nvPr/>
        </p:nvGrpSpPr>
        <p:grpSpPr>
          <a:xfrm>
            <a:off x="9161418" y="534489"/>
            <a:ext cx="323850" cy="1018902"/>
            <a:chOff x="9144000" y="543198"/>
            <a:chExt cx="323850" cy="101890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" name="Rechteck 15"/>
            <p:cNvSpPr/>
            <p:nvPr/>
          </p:nvSpPr>
          <p:spPr bwMode="auto">
            <a:xfrm>
              <a:off x="9144000" y="543198"/>
              <a:ext cx="323850" cy="1018902"/>
            </a:xfrm>
            <a:prstGeom prst="rect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vert="vert270" rtlCol="0" anchor="ctr"/>
            <a:lstStyle/>
            <a:p>
              <a:pPr algn="ctr"/>
              <a:r>
                <a:rPr lang="de-DE" sz="1200" dirty="0" smtClean="0">
                  <a:solidFill>
                    <a:srgbClr val="FFFFFF"/>
                  </a:solidFill>
                </a:rPr>
                <a:t>DATADRIVEN</a:t>
              </a:r>
              <a:endParaRPr lang="de-DE" sz="1200" dirty="0">
                <a:solidFill>
                  <a:srgbClr val="FFFFFF"/>
                </a:solidFill>
              </a:endParaRPr>
            </a:p>
          </p:txBody>
        </p:sp>
        <p:grpSp>
          <p:nvGrpSpPr>
            <p:cNvPr id="17" name="Gruppieren 36"/>
            <p:cNvGrpSpPr/>
            <p:nvPr/>
          </p:nvGrpSpPr>
          <p:grpSpPr>
            <a:xfrm>
              <a:off x="9144000" y="569121"/>
              <a:ext cx="297657" cy="962022"/>
              <a:chOff x="9144000" y="569121"/>
              <a:chExt cx="297657" cy="962022"/>
            </a:xfrm>
          </p:grpSpPr>
          <p:cxnSp>
            <p:nvCxnSpPr>
              <p:cNvPr id="18" name="Gerade Verbindung 17"/>
              <p:cNvCxnSpPr/>
              <p:nvPr/>
            </p:nvCxnSpPr>
            <p:spPr>
              <a:xfrm>
                <a:off x="9144000" y="569121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 Verbindung 18"/>
              <p:cNvCxnSpPr/>
              <p:nvPr/>
            </p:nvCxnSpPr>
            <p:spPr>
              <a:xfrm rot="5400000" flipH="1" flipV="1">
                <a:off x="8960646" y="1050133"/>
                <a:ext cx="962021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19"/>
              <p:cNvCxnSpPr/>
              <p:nvPr/>
            </p:nvCxnSpPr>
            <p:spPr>
              <a:xfrm>
                <a:off x="9144000" y="1531143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aphicFrame>
        <p:nvGraphicFramePr>
          <p:cNvPr id="23" name="Diagramm 22"/>
          <p:cNvGraphicFramePr/>
          <p:nvPr>
            <p:extLst>
              <p:ext uri="{D42A27DB-BD31-4B8C-83A1-F6EECF244321}">
                <p14:modId xmlns:p14="http://schemas.microsoft.com/office/powerpoint/2010/main" val="3744069727"/>
              </p:ext>
            </p:extLst>
          </p:nvPr>
        </p:nvGraphicFramePr>
        <p:xfrm>
          <a:off x="321733" y="1397000"/>
          <a:ext cx="8500534" cy="50563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4" name="_effect" descr="C:\Users\marc.h\Desktop\Schatten-TEST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20217" y="5385449"/>
            <a:ext cx="3113883" cy="469297"/>
          </a:xfrm>
          <a:prstGeom prst="rect">
            <a:avLst/>
          </a:prstGeom>
          <a:noFill/>
        </p:spPr>
      </p:pic>
      <p:sp>
        <p:nvSpPr>
          <p:cNvPr id="25" name="Line 140" descr="© INSCALE GmbH, 26.05.2010&#10;http://www.presentationload.com/"/>
          <p:cNvSpPr>
            <a:spLocks noChangeShapeType="1"/>
          </p:cNvSpPr>
          <p:nvPr/>
        </p:nvSpPr>
        <p:spPr bwMode="gray">
          <a:xfrm rot="5400000" flipV="1">
            <a:off x="2766982" y="2360837"/>
            <a:ext cx="251010" cy="370285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en-GB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Line 140" descr="© INSCALE GmbH, 26.05.2010&#10;http://www.presentationload.com/"/>
          <p:cNvSpPr>
            <a:spLocks noChangeShapeType="1"/>
          </p:cNvSpPr>
          <p:nvPr/>
        </p:nvSpPr>
        <p:spPr bwMode="gray">
          <a:xfrm rot="5400000" flipV="1">
            <a:off x="2346623" y="2969454"/>
            <a:ext cx="116542" cy="793593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en-GB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7" name="Line 140" descr="© INSCALE GmbH, 26.05.2010&#10;http://www.presentationload.com/"/>
          <p:cNvSpPr>
            <a:spLocks noChangeShapeType="1"/>
          </p:cNvSpPr>
          <p:nvPr/>
        </p:nvSpPr>
        <p:spPr bwMode="gray">
          <a:xfrm rot="5400000" flipH="1" flipV="1">
            <a:off x="6113761" y="2223075"/>
            <a:ext cx="358586" cy="520300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en-GB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Line 140" descr="© INSCALE GmbH, 26.05.2010&#10;http://www.presentationload.com/"/>
          <p:cNvSpPr>
            <a:spLocks noChangeShapeType="1"/>
          </p:cNvSpPr>
          <p:nvPr/>
        </p:nvSpPr>
        <p:spPr bwMode="gray">
          <a:xfrm rot="5400000" flipV="1">
            <a:off x="6537261" y="3847848"/>
            <a:ext cx="130490" cy="582706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en-GB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9" name="Line 140" descr="© INSCALE GmbH, 26.05.2010&#10;http://www.presentationload.com/"/>
          <p:cNvSpPr>
            <a:spLocks noChangeShapeType="1"/>
          </p:cNvSpPr>
          <p:nvPr/>
        </p:nvSpPr>
        <p:spPr bwMode="gray">
          <a:xfrm rot="5400000" flipV="1">
            <a:off x="5692988" y="5092351"/>
            <a:ext cx="312966" cy="259977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en-GB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Line 140" descr="© INSCALE GmbH, 26.05.2010&#10;http://www.presentationload.com/"/>
          <p:cNvSpPr>
            <a:spLocks noChangeShapeType="1"/>
          </p:cNvSpPr>
          <p:nvPr/>
        </p:nvSpPr>
        <p:spPr bwMode="gray">
          <a:xfrm rot="5400000">
            <a:off x="2566401" y="4780683"/>
            <a:ext cx="568750" cy="681317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en-GB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1" name="Line 140" descr="© INSCALE GmbH, 26.05.2010&#10;http://www.presentationload.com/"/>
          <p:cNvSpPr>
            <a:spLocks noChangeShapeType="1"/>
          </p:cNvSpPr>
          <p:nvPr/>
        </p:nvSpPr>
        <p:spPr bwMode="gray">
          <a:xfrm rot="5400000">
            <a:off x="2371809" y="3903484"/>
            <a:ext cx="206191" cy="736397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en-GB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2" name="Line 140" descr="© INSCALE GmbH, 26.05.2010&#10;http://www.presentationload.com/"/>
          <p:cNvSpPr>
            <a:spLocks noChangeShapeType="1"/>
          </p:cNvSpPr>
          <p:nvPr/>
        </p:nvSpPr>
        <p:spPr bwMode="gray">
          <a:xfrm rot="5400000" flipH="1">
            <a:off x="3527734" y="1950353"/>
            <a:ext cx="223874" cy="125505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en-GB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3" name="Line 140" descr="© INSCALE GmbH, 26.05.2010&#10;http://www.presentationload.com/"/>
          <p:cNvSpPr>
            <a:spLocks noChangeShapeType="1"/>
          </p:cNvSpPr>
          <p:nvPr/>
        </p:nvSpPr>
        <p:spPr bwMode="gray">
          <a:xfrm rot="5400000" flipH="1">
            <a:off x="4198129" y="1761158"/>
            <a:ext cx="272485" cy="26770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en-GB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1975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/>
        </p:nvGrpSpPr>
        <p:grpSpPr>
          <a:xfrm>
            <a:off x="323895" y="1556864"/>
            <a:ext cx="4086540" cy="504000"/>
            <a:chOff x="323895" y="1556864"/>
            <a:chExt cx="4086540" cy="504000"/>
          </a:xfrm>
        </p:grpSpPr>
        <p:sp>
          <p:nvSpPr>
            <p:cNvPr id="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5" y="1556864"/>
              <a:ext cx="3683360" cy="503911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Agenda Slides</a:t>
              </a:r>
            </a:p>
          </p:txBody>
        </p:sp>
        <p:sp>
          <p:nvSpPr>
            <p:cNvPr id="3" name="Rechteck 2"/>
            <p:cNvSpPr/>
            <p:nvPr/>
          </p:nvSpPr>
          <p:spPr>
            <a:xfrm>
              <a:off x="323895" y="1556953"/>
              <a:ext cx="324000" cy="503911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323895" y="2180757"/>
            <a:ext cx="4086181" cy="504000"/>
            <a:chOff x="323895" y="2180757"/>
            <a:chExt cx="4086181" cy="504000"/>
          </a:xfrm>
        </p:grpSpPr>
        <p:sp>
          <p:nvSpPr>
            <p:cNvPr id="5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2180757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Gantt Charts</a:t>
              </a:r>
            </a:p>
          </p:txBody>
        </p:sp>
        <p:sp>
          <p:nvSpPr>
            <p:cNvPr id="92" name="Rechteck 91"/>
            <p:cNvSpPr/>
            <p:nvPr/>
          </p:nvSpPr>
          <p:spPr>
            <a:xfrm>
              <a:off x="323895" y="2180758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2</a:t>
              </a:r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323895" y="2804650"/>
            <a:ext cx="4086181" cy="504000"/>
            <a:chOff x="323895" y="2804650"/>
            <a:chExt cx="4086181" cy="504000"/>
          </a:xfrm>
        </p:grpSpPr>
        <p:sp>
          <p:nvSpPr>
            <p:cNvPr id="93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2804650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Funnels 3D</a:t>
              </a:r>
            </a:p>
          </p:txBody>
        </p:sp>
        <p:sp>
          <p:nvSpPr>
            <p:cNvPr id="94" name="Rechteck 93"/>
            <p:cNvSpPr/>
            <p:nvPr/>
          </p:nvSpPr>
          <p:spPr>
            <a:xfrm>
              <a:off x="323895" y="2804651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3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323895" y="3428543"/>
            <a:ext cx="4086181" cy="504000"/>
            <a:chOff x="323895" y="3428543"/>
            <a:chExt cx="4086181" cy="504000"/>
          </a:xfrm>
        </p:grpSpPr>
        <p:sp>
          <p:nvSpPr>
            <p:cNvPr id="9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3428543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Pie / Donut Charts</a:t>
              </a:r>
            </a:p>
          </p:txBody>
        </p:sp>
        <p:sp>
          <p:nvSpPr>
            <p:cNvPr id="96" name="Rechteck 95"/>
            <p:cNvSpPr/>
            <p:nvPr/>
          </p:nvSpPr>
          <p:spPr>
            <a:xfrm>
              <a:off x="323895" y="3428544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4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" name="Gruppieren 11"/>
          <p:cNvGrpSpPr/>
          <p:nvPr/>
        </p:nvGrpSpPr>
        <p:grpSpPr>
          <a:xfrm>
            <a:off x="323895" y="4052436"/>
            <a:ext cx="4086181" cy="504000"/>
            <a:chOff x="323895" y="4052436"/>
            <a:chExt cx="4086181" cy="504000"/>
          </a:xfrm>
        </p:grpSpPr>
        <p:sp>
          <p:nvSpPr>
            <p:cNvPr id="9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4052436"/>
              <a:ext cx="3682998" cy="503999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16200000" scaled="0"/>
              <a:tileRect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chemeClr val="bg1"/>
                  </a:solidFill>
                </a:rPr>
                <a:t>Overlapping Text Boxes</a:t>
              </a:r>
            </a:p>
          </p:txBody>
        </p:sp>
        <p:sp>
          <p:nvSpPr>
            <p:cNvPr id="98" name="Rechteck 97"/>
            <p:cNvSpPr/>
            <p:nvPr/>
          </p:nvSpPr>
          <p:spPr>
            <a:xfrm>
              <a:off x="323895" y="4052437"/>
              <a:ext cx="324000" cy="503999"/>
            </a:xfrm>
            <a:prstGeom prst="rect">
              <a:avLst/>
            </a:pr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rgbClr val="0070C0"/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5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2" name="Gruppieren 121"/>
          <p:cNvGrpSpPr/>
          <p:nvPr/>
        </p:nvGrpSpPr>
        <p:grpSpPr>
          <a:xfrm>
            <a:off x="323895" y="4676329"/>
            <a:ext cx="4086181" cy="504000"/>
            <a:chOff x="323895" y="4676329"/>
            <a:chExt cx="4086181" cy="504000"/>
          </a:xfrm>
        </p:grpSpPr>
        <p:sp>
          <p:nvSpPr>
            <p:cNvPr id="9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4676329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Timelines Arrows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323895" y="4676330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6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3" name="Gruppieren 122"/>
          <p:cNvGrpSpPr/>
          <p:nvPr/>
        </p:nvGrpSpPr>
        <p:grpSpPr>
          <a:xfrm>
            <a:off x="323895" y="5300224"/>
            <a:ext cx="4086181" cy="504000"/>
            <a:chOff x="323895" y="5300224"/>
            <a:chExt cx="4086181" cy="504000"/>
          </a:xfrm>
        </p:grpSpPr>
        <p:sp>
          <p:nvSpPr>
            <p:cNvPr id="101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5300224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Sphere with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Core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102" name="Rechteck 101"/>
            <p:cNvSpPr/>
            <p:nvPr/>
          </p:nvSpPr>
          <p:spPr>
            <a:xfrm>
              <a:off x="323895" y="5300225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7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4" name="Gruppieren 123"/>
          <p:cNvGrpSpPr/>
          <p:nvPr/>
        </p:nvGrpSpPr>
        <p:grpSpPr>
          <a:xfrm>
            <a:off x="4733970" y="1556862"/>
            <a:ext cx="4086181" cy="504000"/>
            <a:chOff x="4733970" y="1556862"/>
            <a:chExt cx="4086181" cy="504000"/>
          </a:xfrm>
        </p:grpSpPr>
        <p:sp>
          <p:nvSpPr>
            <p:cNvPr id="5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1556862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Step Process Chart</a:t>
              </a:r>
            </a:p>
          </p:txBody>
        </p:sp>
        <p:sp>
          <p:nvSpPr>
            <p:cNvPr id="58" name="Rechteck 57"/>
            <p:cNvSpPr/>
            <p:nvPr/>
          </p:nvSpPr>
          <p:spPr>
            <a:xfrm>
              <a:off x="4733970" y="1556863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8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5" name="Gruppieren 124"/>
          <p:cNvGrpSpPr/>
          <p:nvPr/>
        </p:nvGrpSpPr>
        <p:grpSpPr>
          <a:xfrm>
            <a:off x="4733970" y="2180756"/>
            <a:ext cx="4086181" cy="504000"/>
            <a:chOff x="4733970" y="2180756"/>
            <a:chExt cx="4086181" cy="504000"/>
          </a:xfrm>
        </p:grpSpPr>
        <p:sp>
          <p:nvSpPr>
            <p:cNvPr id="5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2180756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Curves and Trend Charts</a:t>
              </a:r>
            </a:p>
          </p:txBody>
        </p:sp>
        <p:sp>
          <p:nvSpPr>
            <p:cNvPr id="60" name="Rechteck 59"/>
            <p:cNvSpPr/>
            <p:nvPr/>
          </p:nvSpPr>
          <p:spPr>
            <a:xfrm>
              <a:off x="4733970" y="2180757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9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6" name="Gruppieren 125"/>
          <p:cNvGrpSpPr/>
          <p:nvPr/>
        </p:nvGrpSpPr>
        <p:grpSpPr>
          <a:xfrm>
            <a:off x="4733970" y="2804650"/>
            <a:ext cx="4086181" cy="504000"/>
            <a:chOff x="4733970" y="2804650"/>
            <a:chExt cx="4086181" cy="504000"/>
          </a:xfrm>
        </p:grpSpPr>
        <p:sp>
          <p:nvSpPr>
            <p:cNvPr id="61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2804650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3D Spheres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Fill </a:t>
              </a:r>
              <a:r>
                <a:rPr lang="en-US" sz="1600" b="1" noProof="1">
                  <a:solidFill>
                    <a:srgbClr val="5F5F5F"/>
                  </a:solidFill>
                </a:rPr>
                <a:t>L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evels</a:t>
              </a:r>
              <a:r>
                <a:rPr lang="en-US" sz="1600" b="1" noProof="1">
                  <a:solidFill>
                    <a:srgbClr val="5F5F5F"/>
                  </a:solidFill>
                </a:rPr>
                <a:t>	</a:t>
              </a:r>
            </a:p>
          </p:txBody>
        </p:sp>
        <p:sp>
          <p:nvSpPr>
            <p:cNvPr id="62" name="Rechteck 61"/>
            <p:cNvSpPr/>
            <p:nvPr/>
          </p:nvSpPr>
          <p:spPr>
            <a:xfrm>
              <a:off x="4733970" y="2804651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0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7" name="Gruppieren 126"/>
          <p:cNvGrpSpPr/>
          <p:nvPr/>
        </p:nvGrpSpPr>
        <p:grpSpPr>
          <a:xfrm>
            <a:off x="4733970" y="3428544"/>
            <a:ext cx="4086181" cy="504000"/>
            <a:chOff x="4733970" y="3428544"/>
            <a:chExt cx="4086181" cy="504000"/>
          </a:xfrm>
        </p:grpSpPr>
        <p:sp>
          <p:nvSpPr>
            <p:cNvPr id="63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3428544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Data-driven Diagrams	</a:t>
              </a:r>
            </a:p>
          </p:txBody>
        </p:sp>
        <p:sp>
          <p:nvSpPr>
            <p:cNvPr id="64" name="Rechteck 63"/>
            <p:cNvSpPr/>
            <p:nvPr/>
          </p:nvSpPr>
          <p:spPr>
            <a:xfrm>
              <a:off x="4733970" y="3428545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1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8" name="Gruppieren 127"/>
          <p:cNvGrpSpPr/>
          <p:nvPr/>
        </p:nvGrpSpPr>
        <p:grpSpPr>
          <a:xfrm>
            <a:off x="4733970" y="4052438"/>
            <a:ext cx="4086181" cy="504000"/>
            <a:chOff x="4733970" y="4052438"/>
            <a:chExt cx="4086181" cy="504000"/>
          </a:xfrm>
        </p:grpSpPr>
        <p:sp>
          <p:nvSpPr>
            <p:cNvPr id="6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4052438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Arrow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Process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66" name="Rechteck 65"/>
            <p:cNvSpPr/>
            <p:nvPr/>
          </p:nvSpPr>
          <p:spPr>
            <a:xfrm>
              <a:off x="4733970" y="4052439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2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9" name="Gruppieren 128"/>
          <p:cNvGrpSpPr/>
          <p:nvPr/>
        </p:nvGrpSpPr>
        <p:grpSpPr>
          <a:xfrm>
            <a:off x="4733970" y="4676332"/>
            <a:ext cx="4086181" cy="504000"/>
            <a:chOff x="4733970" y="4676332"/>
            <a:chExt cx="4086181" cy="504000"/>
          </a:xfrm>
        </p:grpSpPr>
        <p:sp>
          <p:nvSpPr>
            <p:cNvPr id="6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4676332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Circle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Diagram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68" name="Rechteck 67"/>
            <p:cNvSpPr/>
            <p:nvPr/>
          </p:nvSpPr>
          <p:spPr>
            <a:xfrm>
              <a:off x="4733970" y="4676333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3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30" name="Gruppieren 129"/>
          <p:cNvGrpSpPr/>
          <p:nvPr/>
        </p:nvGrpSpPr>
        <p:grpSpPr>
          <a:xfrm>
            <a:off x="4733970" y="5300225"/>
            <a:ext cx="4086181" cy="504000"/>
            <a:chOff x="4733970" y="5300225"/>
            <a:chExt cx="4086181" cy="504000"/>
          </a:xfrm>
        </p:grpSpPr>
        <p:sp>
          <p:nvSpPr>
            <p:cNvPr id="6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5300225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3D Arrows</a:t>
              </a:r>
            </a:p>
          </p:txBody>
        </p:sp>
        <p:sp>
          <p:nvSpPr>
            <p:cNvPr id="70" name="Rechteck 69"/>
            <p:cNvSpPr/>
            <p:nvPr/>
          </p:nvSpPr>
          <p:spPr>
            <a:xfrm>
              <a:off x="4733970" y="5300226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4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siness Starter Package</a:t>
            </a:r>
            <a:endParaRPr lang="en-US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laceholder for your own sub headline</a:t>
            </a:r>
          </a:p>
        </p:txBody>
      </p:sp>
    </p:spTree>
    <p:extLst>
      <p:ext uri="{BB962C8B-B14F-4D97-AF65-F5344CB8AC3E}">
        <p14:creationId xmlns:p14="http://schemas.microsoft.com/office/powerpoint/2010/main" val="4255567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Overlapping Text Boxe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Placeholder for your own sub headline</a:t>
            </a:r>
          </a:p>
        </p:txBody>
      </p:sp>
      <p:grpSp>
        <p:nvGrpSpPr>
          <p:cNvPr id="4" name="Gruppieren 3"/>
          <p:cNvGrpSpPr/>
          <p:nvPr/>
        </p:nvGrpSpPr>
        <p:grpSpPr>
          <a:xfrm>
            <a:off x="323850" y="1555750"/>
            <a:ext cx="8610600" cy="4425950"/>
            <a:chOff x="323850" y="1555750"/>
            <a:chExt cx="8610600" cy="4425950"/>
          </a:xfrm>
        </p:grpSpPr>
        <p:sp>
          <p:nvSpPr>
            <p:cNvPr id="18" name="Rectangle 7"/>
            <p:cNvSpPr>
              <a:spLocks noChangeArrowheads="1"/>
            </p:cNvSpPr>
            <p:nvPr/>
          </p:nvSpPr>
          <p:spPr bwMode="gray">
            <a:xfrm>
              <a:off x="323850" y="2289175"/>
              <a:ext cx="8496300" cy="2781300"/>
            </a:xfrm>
            <a:prstGeom prst="rect">
              <a:avLst/>
            </a:prstGeom>
            <a:gradFill rotWithShape="1">
              <a:gsLst>
                <a:gs pos="0">
                  <a:srgbClr val="0070C0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0" tIns="108000" rIns="5328000" bIns="72000" anchor="ctr"/>
            <a:lstStyle/>
            <a:p>
              <a:pPr>
                <a:lnSpc>
                  <a:spcPct val="90000"/>
                </a:lnSpc>
                <a:spcAft>
                  <a:spcPct val="20000"/>
                </a:spcAft>
                <a:defRPr/>
              </a:pPr>
              <a:r>
                <a:rPr lang="de-DE" noProof="1">
                  <a:solidFill>
                    <a:schemeClr val="bg1"/>
                  </a:solidFill>
                </a:rPr>
                <a:t>This is a placeholder text. </a:t>
              </a:r>
            </a:p>
            <a:p>
              <a:pPr>
                <a:lnSpc>
                  <a:spcPct val="90000"/>
                </a:lnSpc>
                <a:spcAft>
                  <a:spcPct val="20000"/>
                </a:spcAft>
                <a:defRPr/>
              </a:pPr>
              <a:r>
                <a:rPr lang="de-DE" noProof="1">
                  <a:solidFill>
                    <a:schemeClr val="bg1"/>
                  </a:solidFill>
                </a:rPr>
                <a:t>This text can be replaced </a:t>
              </a:r>
              <a:br>
                <a:rPr lang="de-DE" noProof="1">
                  <a:solidFill>
                    <a:schemeClr val="bg1"/>
                  </a:solidFill>
                </a:rPr>
              </a:br>
              <a:r>
                <a:rPr lang="de-DE" noProof="1">
                  <a:solidFill>
                    <a:schemeClr val="bg1"/>
                  </a:solidFill>
                </a:rPr>
                <a:t>with your own text.</a:t>
              </a:r>
            </a:p>
          </p:txBody>
        </p:sp>
        <p:sp>
          <p:nvSpPr>
            <p:cNvPr id="19" name="Rectangle 8"/>
            <p:cNvSpPr>
              <a:spLocks noChangeArrowheads="1"/>
            </p:cNvSpPr>
            <p:nvPr/>
          </p:nvSpPr>
          <p:spPr bwMode="gray">
            <a:xfrm>
              <a:off x="3490913" y="1555750"/>
              <a:ext cx="1597025" cy="424656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/>
            <a:lstStyle/>
            <a:p>
              <a:pPr>
                <a:lnSpc>
                  <a:spcPct val="90000"/>
                </a:lnSpc>
                <a:spcAft>
                  <a:spcPct val="20000"/>
                </a:spcAft>
              </a:pPr>
              <a:r>
                <a:rPr lang="de-DE" sz="1400" noProof="1"/>
                <a:t>Placeholder text </a:t>
              </a:r>
            </a:p>
          </p:txBody>
        </p:sp>
        <p:sp>
          <p:nvSpPr>
            <p:cNvPr id="20" name="Rectangle 9"/>
            <p:cNvSpPr>
              <a:spLocks noChangeArrowheads="1"/>
            </p:cNvSpPr>
            <p:nvPr/>
          </p:nvSpPr>
          <p:spPr bwMode="gray">
            <a:xfrm>
              <a:off x="5232400" y="1555750"/>
              <a:ext cx="1631950" cy="424656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/>
            <a:lstStyle/>
            <a:p>
              <a:pPr>
                <a:lnSpc>
                  <a:spcPct val="90000"/>
                </a:lnSpc>
                <a:spcAft>
                  <a:spcPct val="20000"/>
                </a:spcAft>
              </a:pPr>
              <a:r>
                <a:rPr lang="de-DE" sz="1400" noProof="1"/>
                <a:t>Placeholder text</a:t>
              </a:r>
            </a:p>
            <a:p>
              <a:pPr>
                <a:lnSpc>
                  <a:spcPct val="90000"/>
                </a:lnSpc>
                <a:spcAft>
                  <a:spcPct val="20000"/>
                </a:spcAft>
              </a:pPr>
              <a:r>
                <a:rPr lang="de-DE" sz="1400" noProof="1"/>
                <a:t> </a:t>
              </a:r>
            </a:p>
          </p:txBody>
        </p:sp>
        <p:sp>
          <p:nvSpPr>
            <p:cNvPr id="21" name="Rectangle 10"/>
            <p:cNvSpPr>
              <a:spLocks noChangeArrowheads="1"/>
            </p:cNvSpPr>
            <p:nvPr/>
          </p:nvSpPr>
          <p:spPr bwMode="gray">
            <a:xfrm>
              <a:off x="7008813" y="1555750"/>
              <a:ext cx="1598612" cy="424656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/>
            <a:lstStyle/>
            <a:p>
              <a:pPr>
                <a:lnSpc>
                  <a:spcPct val="90000"/>
                </a:lnSpc>
                <a:spcAft>
                  <a:spcPct val="20000"/>
                </a:spcAft>
              </a:pPr>
              <a:r>
                <a:rPr lang="de-DE" sz="1400" noProof="1"/>
                <a:t>Placeholder text</a:t>
              </a:r>
            </a:p>
          </p:txBody>
        </p:sp>
        <p:sp>
          <p:nvSpPr>
            <p:cNvPr id="22" name="Rectangle 11"/>
            <p:cNvSpPr>
              <a:spLocks noChangeArrowheads="1"/>
            </p:cNvSpPr>
            <p:nvPr/>
          </p:nvSpPr>
          <p:spPr bwMode="gray">
            <a:xfrm>
              <a:off x="3490913" y="2289175"/>
              <a:ext cx="1597025" cy="2781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>
                <a:lnSpc>
                  <a:spcPct val="90000"/>
                </a:lnSpc>
                <a:spcAft>
                  <a:spcPct val="20000"/>
                </a:spcAft>
              </a:pPr>
              <a:r>
                <a:rPr lang="de-DE" sz="1400" noProof="1"/>
                <a:t>The text demonstrates how your own text will look when you replace the placeholder with your own text.</a:t>
              </a:r>
            </a:p>
          </p:txBody>
        </p:sp>
        <p:sp>
          <p:nvSpPr>
            <p:cNvPr id="23" name="Rectangle 12"/>
            <p:cNvSpPr>
              <a:spLocks noChangeArrowheads="1"/>
            </p:cNvSpPr>
            <p:nvPr/>
          </p:nvSpPr>
          <p:spPr bwMode="gray">
            <a:xfrm>
              <a:off x="5232400" y="2289175"/>
              <a:ext cx="1631950" cy="2781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>
                <a:lnSpc>
                  <a:spcPct val="90000"/>
                </a:lnSpc>
                <a:spcAft>
                  <a:spcPct val="20000"/>
                </a:spcAft>
              </a:pPr>
              <a:r>
                <a:rPr lang="de-DE" sz="1400" noProof="1"/>
                <a:t>If you don’t want to use the size </a:t>
              </a:r>
              <a:br>
                <a:rPr lang="de-DE" sz="1400" noProof="1"/>
              </a:br>
              <a:r>
                <a:rPr lang="de-DE" sz="1400" noProof="1"/>
                <a:t>of the fonts as used in this placeholder it is possible to replace it by selecting different options.</a:t>
              </a:r>
            </a:p>
          </p:txBody>
        </p:sp>
        <p:sp>
          <p:nvSpPr>
            <p:cNvPr id="24" name="Rectangle 13"/>
            <p:cNvSpPr>
              <a:spLocks noChangeArrowheads="1"/>
            </p:cNvSpPr>
            <p:nvPr/>
          </p:nvSpPr>
          <p:spPr bwMode="gray">
            <a:xfrm>
              <a:off x="7008813" y="2289175"/>
              <a:ext cx="1598612" cy="2781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>
                <a:lnSpc>
                  <a:spcPct val="90000"/>
                </a:lnSpc>
                <a:spcAft>
                  <a:spcPct val="20000"/>
                </a:spcAft>
              </a:pPr>
              <a:r>
                <a:rPr lang="de-DE" sz="1400" noProof="1"/>
                <a:t>For replacing the placeholder </a:t>
              </a:r>
              <a:br>
                <a:rPr lang="de-DE" sz="1400" noProof="1"/>
              </a:br>
              <a:r>
                <a:rPr lang="de-DE" sz="1400" noProof="1"/>
                <a:t>text you need to click on the placeholder text  and insert your own text.</a:t>
              </a:r>
            </a:p>
          </p:txBody>
        </p:sp>
        <p:pic>
          <p:nvPicPr>
            <p:cNvPr id="25" name="Picture 14"/>
            <p:cNvPicPr>
              <a:picLocks noChangeAspect="1" noChangeArrowheads="1"/>
            </p:cNvPicPr>
            <p:nvPr/>
          </p:nvPicPr>
          <p:blipFill>
            <a:blip r:embed="rId3" cstate="print">
              <a:lum bright="1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167063" y="5821363"/>
              <a:ext cx="2185987" cy="1603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Picture 15"/>
            <p:cNvPicPr>
              <a:picLocks noChangeAspect="1" noChangeArrowheads="1"/>
            </p:cNvPicPr>
            <p:nvPr/>
          </p:nvPicPr>
          <p:blipFill>
            <a:blip r:embed="rId3" cstate="print">
              <a:lum bright="1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945063" y="5821363"/>
              <a:ext cx="2185987" cy="1603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" name="Picture 16"/>
            <p:cNvPicPr>
              <a:picLocks noChangeAspect="1" noChangeArrowheads="1"/>
            </p:cNvPicPr>
            <p:nvPr/>
          </p:nvPicPr>
          <p:blipFill>
            <a:blip r:embed="rId3" cstate="print">
              <a:lum bright="1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748463" y="5821363"/>
              <a:ext cx="2185987" cy="1603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42026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Overlapping Text Boxe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Placeholder for your own sub headline</a:t>
            </a:r>
          </a:p>
        </p:txBody>
      </p:sp>
      <p:grpSp>
        <p:nvGrpSpPr>
          <p:cNvPr id="8" name="Gruppieren 7"/>
          <p:cNvGrpSpPr/>
          <p:nvPr/>
        </p:nvGrpSpPr>
        <p:grpSpPr>
          <a:xfrm>
            <a:off x="323850" y="1555750"/>
            <a:ext cx="8496300" cy="4416425"/>
            <a:chOff x="323850" y="1555750"/>
            <a:chExt cx="8496300" cy="4416425"/>
          </a:xfrm>
        </p:grpSpPr>
        <p:sp>
          <p:nvSpPr>
            <p:cNvPr id="18" name="Rectangle 5"/>
            <p:cNvSpPr>
              <a:spLocks noChangeArrowheads="1"/>
            </p:cNvSpPr>
            <p:nvPr/>
          </p:nvSpPr>
          <p:spPr bwMode="gray">
            <a:xfrm>
              <a:off x="323850" y="2287588"/>
              <a:ext cx="8496300" cy="2771775"/>
            </a:xfrm>
            <a:prstGeom prst="rect">
              <a:avLst/>
            </a:prstGeom>
            <a:gradFill rotWithShape="1">
              <a:gsLst>
                <a:gs pos="0">
                  <a:srgbClr val="EAEAEA"/>
                </a:gs>
                <a:gs pos="100000">
                  <a:srgbClr val="EAEAEA">
                    <a:gamma/>
                    <a:tint val="0"/>
                    <a:invGamma/>
                  </a:srgbClr>
                </a:gs>
              </a:gsLst>
              <a:lin ang="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08000" bIns="72000" anchor="ctr"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19" name="Rectangle 8"/>
            <p:cNvSpPr>
              <a:spLocks noChangeArrowheads="1"/>
            </p:cNvSpPr>
            <p:nvPr/>
          </p:nvSpPr>
          <p:spPr bwMode="gray">
            <a:xfrm>
              <a:off x="3819525" y="1555750"/>
              <a:ext cx="1000125" cy="3514725"/>
            </a:xfrm>
            <a:prstGeom prst="rect">
              <a:avLst/>
            </a:prstGeom>
            <a:gradFill rotWithShape="1">
              <a:gsLst>
                <a:gs pos="0">
                  <a:srgbClr val="808080">
                    <a:alpha val="50000"/>
                  </a:srgbClr>
                </a:gs>
                <a:gs pos="100000">
                  <a:srgbClr val="FFFFFF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1400" noProof="1"/>
                <a:t>Place for</a:t>
              </a:r>
              <a:br>
                <a:rPr lang="de-DE" sz="1400" noProof="1"/>
              </a:br>
              <a:r>
                <a:rPr lang="de-DE" sz="1400" noProof="1"/>
                <a:t>text</a:t>
              </a:r>
            </a:p>
          </p:txBody>
        </p:sp>
        <p:sp>
          <p:nvSpPr>
            <p:cNvPr id="20" name="Rectangle 9"/>
            <p:cNvSpPr>
              <a:spLocks noChangeArrowheads="1"/>
            </p:cNvSpPr>
            <p:nvPr/>
          </p:nvSpPr>
          <p:spPr bwMode="gray">
            <a:xfrm>
              <a:off x="5819775" y="1555750"/>
              <a:ext cx="1000125" cy="3514725"/>
            </a:xfrm>
            <a:prstGeom prst="rect">
              <a:avLst/>
            </a:prstGeom>
            <a:gradFill rotWithShape="1">
              <a:gsLst>
                <a:gs pos="0">
                  <a:srgbClr val="808080">
                    <a:alpha val="50000"/>
                  </a:srgbClr>
                </a:gs>
                <a:gs pos="100000">
                  <a:srgbClr val="FFFFFF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1400" noProof="1"/>
                <a:t>Place for </a:t>
              </a:r>
              <a:br>
                <a:rPr lang="de-DE" sz="1400" noProof="1"/>
              </a:br>
              <a:r>
                <a:rPr lang="de-DE" sz="1400" noProof="1"/>
                <a:t>text</a:t>
              </a:r>
            </a:p>
          </p:txBody>
        </p:sp>
        <p:sp>
          <p:nvSpPr>
            <p:cNvPr id="21" name="Rectangle 10"/>
            <p:cNvSpPr>
              <a:spLocks noChangeArrowheads="1"/>
            </p:cNvSpPr>
            <p:nvPr/>
          </p:nvSpPr>
          <p:spPr bwMode="gray">
            <a:xfrm>
              <a:off x="7820025" y="1555750"/>
              <a:ext cx="1000125" cy="3514725"/>
            </a:xfrm>
            <a:prstGeom prst="rect">
              <a:avLst/>
            </a:prstGeom>
            <a:gradFill rotWithShape="1">
              <a:gsLst>
                <a:gs pos="0">
                  <a:srgbClr val="808080">
                    <a:alpha val="50000"/>
                  </a:srgbClr>
                </a:gs>
                <a:gs pos="100000">
                  <a:srgbClr val="FFFFFF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1400" noProof="1"/>
                <a:t>Place for</a:t>
              </a:r>
              <a:br>
                <a:rPr lang="de-DE" sz="1400" noProof="1"/>
              </a:br>
              <a:r>
                <a:rPr lang="de-DE" sz="1400" noProof="1"/>
                <a:t>text</a:t>
              </a:r>
            </a:p>
          </p:txBody>
        </p:sp>
        <p:sp>
          <p:nvSpPr>
            <p:cNvPr id="24" name="Text Box 13"/>
            <p:cNvSpPr txBox="1">
              <a:spLocks noChangeArrowheads="1"/>
            </p:cNvSpPr>
            <p:nvPr/>
          </p:nvSpPr>
          <p:spPr bwMode="gray">
            <a:xfrm>
              <a:off x="323850" y="2854325"/>
              <a:ext cx="2495550" cy="549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sz="1600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laceholder text</a:t>
              </a:r>
            </a:p>
          </p:txBody>
        </p:sp>
        <p:sp>
          <p:nvSpPr>
            <p:cNvPr id="25" name="Text Box 14"/>
            <p:cNvSpPr txBox="1">
              <a:spLocks noChangeArrowheads="1"/>
            </p:cNvSpPr>
            <p:nvPr/>
          </p:nvSpPr>
          <p:spPr bwMode="gray">
            <a:xfrm>
              <a:off x="323850" y="3427413"/>
              <a:ext cx="2495550" cy="549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sz="1600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laceholder text</a:t>
              </a:r>
            </a:p>
          </p:txBody>
        </p:sp>
        <p:sp>
          <p:nvSpPr>
            <p:cNvPr id="26" name="Text Box 15"/>
            <p:cNvSpPr txBox="1">
              <a:spLocks noChangeArrowheads="1"/>
            </p:cNvSpPr>
            <p:nvPr/>
          </p:nvSpPr>
          <p:spPr bwMode="gray">
            <a:xfrm>
              <a:off x="323850" y="3976688"/>
              <a:ext cx="2495550" cy="549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sz="1600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laceholder text</a:t>
              </a:r>
            </a:p>
          </p:txBody>
        </p:sp>
        <p:sp>
          <p:nvSpPr>
            <p:cNvPr id="27" name="Text Box 16"/>
            <p:cNvSpPr txBox="1">
              <a:spLocks noChangeArrowheads="1"/>
            </p:cNvSpPr>
            <p:nvPr/>
          </p:nvSpPr>
          <p:spPr bwMode="gray">
            <a:xfrm>
              <a:off x="323850" y="4525963"/>
              <a:ext cx="2495550" cy="533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sz="1600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laceholder text</a:t>
              </a:r>
            </a:p>
          </p:txBody>
        </p:sp>
        <p:sp>
          <p:nvSpPr>
            <p:cNvPr id="28" name="Text Box 17"/>
            <p:cNvSpPr txBox="1">
              <a:spLocks noChangeArrowheads="1"/>
            </p:cNvSpPr>
            <p:nvPr/>
          </p:nvSpPr>
          <p:spPr bwMode="gray">
            <a:xfrm>
              <a:off x="323850" y="1738313"/>
              <a:ext cx="2495550" cy="549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b="1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laceholder</a:t>
              </a:r>
            </a:p>
          </p:txBody>
        </p:sp>
        <p:sp>
          <p:nvSpPr>
            <p:cNvPr id="30" name="Rectangle 19"/>
            <p:cNvSpPr>
              <a:spLocks noChangeArrowheads="1"/>
            </p:cNvSpPr>
            <p:nvPr/>
          </p:nvSpPr>
          <p:spPr bwMode="gray">
            <a:xfrm>
              <a:off x="4819650" y="2287588"/>
              <a:ext cx="1000125" cy="557212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32" name="Rectangle 21"/>
            <p:cNvSpPr>
              <a:spLocks noChangeArrowheads="1"/>
            </p:cNvSpPr>
            <p:nvPr/>
          </p:nvSpPr>
          <p:spPr bwMode="gray">
            <a:xfrm>
              <a:off x="6819900" y="2287588"/>
              <a:ext cx="1000125" cy="557212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34" name="Rectangle 23"/>
            <p:cNvSpPr>
              <a:spLocks noChangeArrowheads="1"/>
            </p:cNvSpPr>
            <p:nvPr/>
          </p:nvSpPr>
          <p:spPr bwMode="gray">
            <a:xfrm>
              <a:off x="2819400" y="2287588"/>
              <a:ext cx="1000125" cy="557212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36" name="Rectangle 25"/>
            <p:cNvSpPr>
              <a:spLocks noChangeArrowheads="1"/>
            </p:cNvSpPr>
            <p:nvPr/>
          </p:nvSpPr>
          <p:spPr bwMode="gray">
            <a:xfrm>
              <a:off x="2819400" y="2836863"/>
              <a:ext cx="1000125" cy="557212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37" name="Rectangle 26"/>
            <p:cNvSpPr>
              <a:spLocks noChangeArrowheads="1"/>
            </p:cNvSpPr>
            <p:nvPr/>
          </p:nvSpPr>
          <p:spPr bwMode="gray">
            <a:xfrm>
              <a:off x="4819650" y="2836863"/>
              <a:ext cx="1000125" cy="557212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45" name="Rectangle 34"/>
            <p:cNvSpPr>
              <a:spLocks noChangeArrowheads="1"/>
            </p:cNvSpPr>
            <p:nvPr/>
          </p:nvSpPr>
          <p:spPr bwMode="gray">
            <a:xfrm>
              <a:off x="2819400" y="3948113"/>
              <a:ext cx="1000125" cy="557212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grpSp>
          <p:nvGrpSpPr>
            <p:cNvPr id="4" name="Gruppieren 3"/>
            <p:cNvGrpSpPr/>
            <p:nvPr/>
          </p:nvGrpSpPr>
          <p:grpSpPr>
            <a:xfrm>
              <a:off x="3819525" y="2297113"/>
              <a:ext cx="1000125" cy="2773362"/>
              <a:chOff x="3819525" y="2287588"/>
              <a:chExt cx="1000125" cy="2773362"/>
            </a:xfrm>
            <a:gradFill>
              <a:gsLst>
                <a:gs pos="0">
                  <a:schemeClr val="tx2">
                    <a:lumMod val="40000"/>
                    <a:lumOff val="60000"/>
                  </a:schemeClr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1"/>
            </a:gradFill>
          </p:grpSpPr>
          <p:sp>
            <p:nvSpPr>
              <p:cNvPr id="29" name="Rectangle 18"/>
              <p:cNvSpPr>
                <a:spLocks noChangeArrowheads="1"/>
              </p:cNvSpPr>
              <p:nvPr/>
            </p:nvSpPr>
            <p:spPr bwMode="gray">
              <a:xfrm>
                <a:off x="3819525" y="2287588"/>
                <a:ext cx="1000125" cy="557212"/>
              </a:xfrm>
              <a:prstGeom prst="rect">
                <a:avLst/>
              </a:prstGeom>
              <a:grpFill/>
              <a:ln w="12700">
                <a:solidFill>
                  <a:srgbClr val="DDDDDD"/>
                </a:solidFill>
                <a:miter lim="800000"/>
                <a:headEnd/>
                <a:tailEnd/>
              </a:ln>
            </p:spPr>
            <p:txBody>
              <a:bodyPr lIns="108000" tIns="108000" rIns="108000" bIns="72000" anchor="ctr"/>
              <a:lstStyle/>
              <a:p>
                <a:endParaRPr lang="de-DE"/>
              </a:p>
            </p:txBody>
          </p:sp>
          <p:sp>
            <p:nvSpPr>
              <p:cNvPr id="35" name="Rectangle 24"/>
              <p:cNvSpPr>
                <a:spLocks noChangeArrowheads="1"/>
              </p:cNvSpPr>
              <p:nvPr/>
            </p:nvSpPr>
            <p:spPr bwMode="gray">
              <a:xfrm>
                <a:off x="3819525" y="2836863"/>
                <a:ext cx="1000125" cy="555625"/>
              </a:xfrm>
              <a:prstGeom prst="rect">
                <a:avLst/>
              </a:prstGeom>
              <a:grpFill/>
              <a:ln w="12700">
                <a:solidFill>
                  <a:srgbClr val="DDDDDD"/>
                </a:solidFill>
                <a:miter lim="800000"/>
                <a:headEnd/>
                <a:tailEnd/>
              </a:ln>
            </p:spPr>
            <p:txBody>
              <a:bodyPr lIns="108000" tIns="108000" rIns="108000" bIns="72000" anchor="ctr"/>
              <a:lstStyle/>
              <a:p>
                <a:pPr algn="ctr">
                  <a:lnSpc>
                    <a:spcPct val="90000"/>
                  </a:lnSpc>
                  <a:spcAft>
                    <a:spcPct val="20000"/>
                  </a:spcAft>
                </a:pPr>
                <a:r>
                  <a:rPr lang="de-DE" sz="4400" noProof="1">
                    <a:solidFill>
                      <a:schemeClr val="bg1"/>
                    </a:solidFill>
                    <a:effectLst>
                      <a:innerShdw blurRad="63500" dist="50800" dir="13500000">
                        <a:prstClr val="black">
                          <a:alpha val="50000"/>
                        </a:prstClr>
                      </a:innerShdw>
                    </a:effectLst>
                    <a:latin typeface="Wingdings" pitchFamily="2" charset="2"/>
                  </a:rPr>
                  <a:t>û</a:t>
                </a:r>
              </a:p>
            </p:txBody>
          </p:sp>
          <p:sp>
            <p:nvSpPr>
              <p:cNvPr id="40" name="Rectangle 29"/>
              <p:cNvSpPr>
                <a:spLocks noChangeArrowheads="1"/>
              </p:cNvSpPr>
              <p:nvPr/>
            </p:nvSpPr>
            <p:spPr bwMode="gray">
              <a:xfrm>
                <a:off x="3819525" y="3392488"/>
                <a:ext cx="1000125" cy="557212"/>
              </a:xfrm>
              <a:prstGeom prst="rect">
                <a:avLst/>
              </a:prstGeom>
              <a:grpFill/>
              <a:ln w="12700">
                <a:solidFill>
                  <a:srgbClr val="DDDDDD"/>
                </a:solidFill>
                <a:miter lim="800000"/>
                <a:headEnd/>
                <a:tailEnd/>
              </a:ln>
            </p:spPr>
            <p:txBody>
              <a:bodyPr lIns="108000" tIns="108000" rIns="108000" bIns="72000" anchor="ctr"/>
              <a:lstStyle/>
              <a:p>
                <a:endParaRPr lang="de-DE"/>
              </a:p>
            </p:txBody>
          </p:sp>
          <p:sp>
            <p:nvSpPr>
              <p:cNvPr id="42" name="Rectangle 31"/>
              <p:cNvSpPr>
                <a:spLocks noChangeArrowheads="1"/>
              </p:cNvSpPr>
              <p:nvPr/>
            </p:nvSpPr>
            <p:spPr bwMode="gray">
              <a:xfrm>
                <a:off x="3819525" y="3948113"/>
                <a:ext cx="1000125" cy="555625"/>
              </a:xfrm>
              <a:prstGeom prst="rect">
                <a:avLst/>
              </a:prstGeom>
              <a:grpFill/>
              <a:ln w="12700">
                <a:solidFill>
                  <a:srgbClr val="DDDDDD"/>
                </a:solidFill>
                <a:miter lim="800000"/>
                <a:headEnd/>
                <a:tailEnd/>
              </a:ln>
            </p:spPr>
            <p:txBody>
              <a:bodyPr lIns="108000" tIns="108000" rIns="108000" bIns="72000" anchor="ctr"/>
              <a:lstStyle/>
              <a:p>
                <a:pPr algn="ctr">
                  <a:lnSpc>
                    <a:spcPct val="90000"/>
                  </a:lnSpc>
                  <a:spcAft>
                    <a:spcPct val="20000"/>
                  </a:spcAft>
                </a:pPr>
                <a:r>
                  <a:rPr lang="de-DE" sz="4400" noProof="1">
                    <a:solidFill>
                      <a:schemeClr val="bg1"/>
                    </a:solidFill>
                    <a:effectLst>
                      <a:innerShdw blurRad="63500" dist="50800" dir="13500000">
                        <a:prstClr val="black">
                          <a:alpha val="50000"/>
                        </a:prstClr>
                      </a:innerShdw>
                    </a:effectLst>
                    <a:latin typeface="Wingdings" pitchFamily="2" charset="2"/>
                  </a:rPr>
                  <a:t>ü</a:t>
                </a:r>
              </a:p>
            </p:txBody>
          </p:sp>
          <p:sp>
            <p:nvSpPr>
              <p:cNvPr id="46" name="Rectangle 35"/>
              <p:cNvSpPr>
                <a:spLocks noChangeArrowheads="1"/>
              </p:cNvSpPr>
              <p:nvPr/>
            </p:nvSpPr>
            <p:spPr bwMode="gray">
              <a:xfrm>
                <a:off x="3819525" y="4503738"/>
                <a:ext cx="1000125" cy="557212"/>
              </a:xfrm>
              <a:prstGeom prst="rect">
                <a:avLst/>
              </a:prstGeom>
              <a:grpFill/>
              <a:ln w="12700">
                <a:solidFill>
                  <a:srgbClr val="DDDDDD"/>
                </a:solidFill>
                <a:miter lim="800000"/>
                <a:headEnd/>
                <a:tailEnd/>
              </a:ln>
            </p:spPr>
            <p:txBody>
              <a:bodyPr lIns="108000" tIns="108000" rIns="108000" bIns="72000" anchor="ctr"/>
              <a:lstStyle/>
              <a:p>
                <a:endParaRPr lang="de-DE"/>
              </a:p>
            </p:txBody>
          </p:sp>
        </p:grpSp>
        <p:grpSp>
          <p:nvGrpSpPr>
            <p:cNvPr id="5" name="Gruppieren 4"/>
            <p:cNvGrpSpPr/>
            <p:nvPr/>
          </p:nvGrpSpPr>
          <p:grpSpPr>
            <a:xfrm>
              <a:off x="5819775" y="2297113"/>
              <a:ext cx="1000125" cy="2773362"/>
              <a:chOff x="5819775" y="2287588"/>
              <a:chExt cx="1000125" cy="2773362"/>
            </a:xfrm>
            <a:gradFill>
              <a:gsLst>
                <a:gs pos="0">
                  <a:schemeClr val="tx2">
                    <a:lumMod val="40000"/>
                    <a:lumOff val="60000"/>
                  </a:schemeClr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1"/>
            </a:gradFill>
          </p:grpSpPr>
          <p:sp>
            <p:nvSpPr>
              <p:cNvPr id="22" name="Rectangle 11"/>
              <p:cNvSpPr>
                <a:spLocks noChangeArrowheads="1"/>
              </p:cNvSpPr>
              <p:nvPr/>
            </p:nvSpPr>
            <p:spPr bwMode="gray">
              <a:xfrm>
                <a:off x="5819775" y="3400425"/>
                <a:ext cx="1000125" cy="557213"/>
              </a:xfrm>
              <a:prstGeom prst="rect">
                <a:avLst/>
              </a:prstGeom>
              <a:grpFill/>
              <a:ln w="12700">
                <a:solidFill>
                  <a:srgbClr val="DDDDDD"/>
                </a:solidFill>
                <a:miter lim="800000"/>
                <a:headEnd/>
                <a:tailEnd/>
              </a:ln>
            </p:spPr>
            <p:txBody>
              <a:bodyPr lIns="108000" tIns="108000" rIns="108000" bIns="72000" anchor="ctr"/>
              <a:lstStyle/>
              <a:p>
                <a:endParaRPr lang="de-DE"/>
              </a:p>
            </p:txBody>
          </p:sp>
          <p:sp>
            <p:nvSpPr>
              <p:cNvPr id="31" name="Rectangle 20"/>
              <p:cNvSpPr>
                <a:spLocks noChangeArrowheads="1"/>
              </p:cNvSpPr>
              <p:nvPr/>
            </p:nvSpPr>
            <p:spPr bwMode="gray">
              <a:xfrm>
                <a:off x="5819775" y="2287588"/>
                <a:ext cx="1000125" cy="557212"/>
              </a:xfrm>
              <a:prstGeom prst="rect">
                <a:avLst/>
              </a:prstGeom>
              <a:grpFill/>
              <a:ln w="12700">
                <a:solidFill>
                  <a:srgbClr val="DDDDDD"/>
                </a:solidFill>
                <a:miter lim="800000"/>
                <a:headEnd/>
                <a:tailEnd/>
              </a:ln>
            </p:spPr>
            <p:txBody>
              <a:bodyPr lIns="108000" tIns="108000" rIns="108000" bIns="72000" anchor="ctr"/>
              <a:lstStyle/>
              <a:p>
                <a:endParaRPr lang="de-DE"/>
              </a:p>
            </p:txBody>
          </p:sp>
          <p:sp>
            <p:nvSpPr>
              <p:cNvPr id="38" name="Rectangle 27"/>
              <p:cNvSpPr>
                <a:spLocks noChangeArrowheads="1"/>
              </p:cNvSpPr>
              <p:nvPr/>
            </p:nvSpPr>
            <p:spPr bwMode="gray">
              <a:xfrm>
                <a:off x="5819775" y="2846388"/>
                <a:ext cx="1000125" cy="555625"/>
              </a:xfrm>
              <a:prstGeom prst="rect">
                <a:avLst/>
              </a:prstGeom>
              <a:grpFill/>
              <a:ln w="12700">
                <a:solidFill>
                  <a:srgbClr val="DDDDDD"/>
                </a:solidFill>
                <a:miter lim="800000"/>
                <a:headEnd/>
                <a:tailEnd/>
              </a:ln>
            </p:spPr>
            <p:txBody>
              <a:bodyPr lIns="108000" tIns="108000" rIns="108000" bIns="72000" anchor="ctr"/>
              <a:lstStyle/>
              <a:p>
                <a:pPr algn="ctr">
                  <a:lnSpc>
                    <a:spcPct val="90000"/>
                  </a:lnSpc>
                  <a:spcAft>
                    <a:spcPct val="20000"/>
                  </a:spcAft>
                </a:pPr>
                <a:r>
                  <a:rPr lang="de-DE" sz="4400" noProof="1">
                    <a:solidFill>
                      <a:schemeClr val="bg1"/>
                    </a:solidFill>
                    <a:effectLst>
                      <a:innerShdw blurRad="63500" dist="50800" dir="13500000">
                        <a:prstClr val="black">
                          <a:alpha val="50000"/>
                        </a:prstClr>
                      </a:innerShdw>
                    </a:effectLst>
                    <a:latin typeface="Wingdings" pitchFamily="2" charset="2"/>
                  </a:rPr>
                  <a:t>û</a:t>
                </a:r>
              </a:p>
            </p:txBody>
          </p:sp>
          <p:sp>
            <p:nvSpPr>
              <p:cNvPr id="43" name="Rectangle 32"/>
              <p:cNvSpPr>
                <a:spLocks noChangeArrowheads="1"/>
              </p:cNvSpPr>
              <p:nvPr/>
            </p:nvSpPr>
            <p:spPr bwMode="gray">
              <a:xfrm>
                <a:off x="5819775" y="3948113"/>
                <a:ext cx="1000125" cy="555625"/>
              </a:xfrm>
              <a:prstGeom prst="rect">
                <a:avLst/>
              </a:prstGeom>
              <a:grpFill/>
              <a:ln w="12700">
                <a:solidFill>
                  <a:srgbClr val="DDDDDD"/>
                </a:solidFill>
                <a:miter lim="800000"/>
                <a:headEnd/>
                <a:tailEnd/>
              </a:ln>
            </p:spPr>
            <p:txBody>
              <a:bodyPr lIns="108000" tIns="108000" rIns="108000" bIns="72000" anchor="ctr"/>
              <a:lstStyle/>
              <a:p>
                <a:pPr algn="ctr">
                  <a:lnSpc>
                    <a:spcPct val="90000"/>
                  </a:lnSpc>
                  <a:spcAft>
                    <a:spcPct val="20000"/>
                  </a:spcAft>
                </a:pPr>
                <a:r>
                  <a:rPr lang="de-DE" sz="4400" noProof="1">
                    <a:solidFill>
                      <a:schemeClr val="bg1"/>
                    </a:solidFill>
                    <a:effectLst>
                      <a:innerShdw blurRad="63500" dist="50800" dir="13500000">
                        <a:prstClr val="black">
                          <a:alpha val="50000"/>
                        </a:prstClr>
                      </a:innerShdw>
                    </a:effectLst>
                    <a:latin typeface="Wingdings" pitchFamily="2" charset="2"/>
                  </a:rPr>
                  <a:t>û</a:t>
                </a:r>
              </a:p>
            </p:txBody>
          </p:sp>
          <p:sp>
            <p:nvSpPr>
              <p:cNvPr id="47" name="Rectangle 36"/>
              <p:cNvSpPr>
                <a:spLocks noChangeArrowheads="1"/>
              </p:cNvSpPr>
              <p:nvPr/>
            </p:nvSpPr>
            <p:spPr bwMode="gray">
              <a:xfrm>
                <a:off x="5819775" y="4503738"/>
                <a:ext cx="1000125" cy="557212"/>
              </a:xfrm>
              <a:prstGeom prst="rect">
                <a:avLst/>
              </a:prstGeom>
              <a:grpFill/>
              <a:ln w="12700">
                <a:solidFill>
                  <a:srgbClr val="DDDDDD"/>
                </a:solidFill>
                <a:miter lim="800000"/>
                <a:headEnd/>
                <a:tailEnd/>
              </a:ln>
            </p:spPr>
            <p:txBody>
              <a:bodyPr lIns="108000" tIns="108000" rIns="108000" bIns="72000" anchor="ctr"/>
              <a:lstStyle/>
              <a:p>
                <a:endParaRPr lang="de-DE"/>
              </a:p>
            </p:txBody>
          </p:sp>
        </p:grpSp>
        <p:grpSp>
          <p:nvGrpSpPr>
            <p:cNvPr id="6" name="Gruppieren 5"/>
            <p:cNvGrpSpPr/>
            <p:nvPr/>
          </p:nvGrpSpPr>
          <p:grpSpPr>
            <a:xfrm>
              <a:off x="7820025" y="2297113"/>
              <a:ext cx="1000125" cy="2771775"/>
              <a:chOff x="7820025" y="2287588"/>
              <a:chExt cx="1000125" cy="2771775"/>
            </a:xfrm>
            <a:gradFill>
              <a:gsLst>
                <a:gs pos="0">
                  <a:schemeClr val="tx2">
                    <a:lumMod val="40000"/>
                    <a:lumOff val="60000"/>
                  </a:schemeClr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1"/>
            </a:gradFill>
          </p:grpSpPr>
          <p:sp>
            <p:nvSpPr>
              <p:cNvPr id="33" name="Rectangle 22"/>
              <p:cNvSpPr>
                <a:spLocks noChangeArrowheads="1"/>
              </p:cNvSpPr>
              <p:nvPr/>
            </p:nvSpPr>
            <p:spPr bwMode="gray">
              <a:xfrm>
                <a:off x="7820025" y="2287588"/>
                <a:ext cx="1000125" cy="557212"/>
              </a:xfrm>
              <a:prstGeom prst="rect">
                <a:avLst/>
              </a:prstGeom>
              <a:grpFill/>
              <a:ln w="12700">
                <a:solidFill>
                  <a:srgbClr val="DDDDDD"/>
                </a:solidFill>
                <a:miter lim="800000"/>
                <a:headEnd/>
                <a:tailEnd/>
              </a:ln>
            </p:spPr>
            <p:txBody>
              <a:bodyPr lIns="108000" tIns="108000" rIns="108000" bIns="72000" anchor="ctr"/>
              <a:lstStyle/>
              <a:p>
                <a:endParaRPr lang="de-DE"/>
              </a:p>
            </p:txBody>
          </p:sp>
          <p:sp>
            <p:nvSpPr>
              <p:cNvPr id="39" name="Rectangle 28"/>
              <p:cNvSpPr>
                <a:spLocks noChangeArrowheads="1"/>
              </p:cNvSpPr>
              <p:nvPr/>
            </p:nvSpPr>
            <p:spPr bwMode="gray">
              <a:xfrm>
                <a:off x="7820025" y="2836863"/>
                <a:ext cx="1000125" cy="557212"/>
              </a:xfrm>
              <a:prstGeom prst="rect">
                <a:avLst/>
              </a:prstGeom>
              <a:grpFill/>
              <a:ln w="12700">
                <a:solidFill>
                  <a:srgbClr val="DDDDDD"/>
                </a:solidFill>
                <a:miter lim="800000"/>
                <a:headEnd/>
                <a:tailEnd/>
              </a:ln>
            </p:spPr>
            <p:txBody>
              <a:bodyPr lIns="108000" tIns="108000" rIns="108000" bIns="72000" anchor="ctr"/>
              <a:lstStyle/>
              <a:p>
                <a:endParaRPr lang="de-DE"/>
              </a:p>
            </p:txBody>
          </p:sp>
          <p:sp>
            <p:nvSpPr>
              <p:cNvPr id="41" name="Rectangle 30"/>
              <p:cNvSpPr>
                <a:spLocks noChangeArrowheads="1"/>
              </p:cNvSpPr>
              <p:nvPr/>
            </p:nvSpPr>
            <p:spPr bwMode="gray">
              <a:xfrm>
                <a:off x="7820025" y="3392488"/>
                <a:ext cx="1000125" cy="555625"/>
              </a:xfrm>
              <a:prstGeom prst="rect">
                <a:avLst/>
              </a:prstGeom>
              <a:grpFill/>
              <a:ln w="12700">
                <a:solidFill>
                  <a:srgbClr val="DDDDDD"/>
                </a:solidFill>
                <a:miter lim="800000"/>
                <a:headEnd/>
                <a:tailEnd/>
              </a:ln>
            </p:spPr>
            <p:txBody>
              <a:bodyPr lIns="108000" tIns="108000" rIns="108000" bIns="72000" anchor="ctr"/>
              <a:lstStyle/>
              <a:p>
                <a:pPr algn="ctr">
                  <a:lnSpc>
                    <a:spcPct val="90000"/>
                  </a:lnSpc>
                  <a:spcAft>
                    <a:spcPct val="20000"/>
                  </a:spcAft>
                </a:pPr>
                <a:r>
                  <a:rPr lang="de-DE" sz="4400" noProof="1">
                    <a:solidFill>
                      <a:schemeClr val="bg1"/>
                    </a:solidFill>
                    <a:effectLst>
                      <a:innerShdw blurRad="63500" dist="50800" dir="13500000">
                        <a:prstClr val="black">
                          <a:alpha val="50000"/>
                        </a:prstClr>
                      </a:innerShdw>
                    </a:effectLst>
                    <a:latin typeface="Wingdings" pitchFamily="2" charset="2"/>
                  </a:rPr>
                  <a:t>û</a:t>
                </a:r>
              </a:p>
            </p:txBody>
          </p:sp>
          <p:sp>
            <p:nvSpPr>
              <p:cNvPr id="44" name="Rectangle 33"/>
              <p:cNvSpPr>
                <a:spLocks noChangeArrowheads="1"/>
              </p:cNvSpPr>
              <p:nvPr/>
            </p:nvSpPr>
            <p:spPr bwMode="gray">
              <a:xfrm>
                <a:off x="7820025" y="3948113"/>
                <a:ext cx="1000125" cy="557212"/>
              </a:xfrm>
              <a:prstGeom prst="rect">
                <a:avLst/>
              </a:prstGeom>
              <a:grpFill/>
              <a:ln w="12700">
                <a:solidFill>
                  <a:srgbClr val="DDDDDD"/>
                </a:solidFill>
                <a:miter lim="800000"/>
                <a:headEnd/>
                <a:tailEnd/>
              </a:ln>
            </p:spPr>
            <p:txBody>
              <a:bodyPr lIns="108000" tIns="108000" rIns="108000" bIns="72000" anchor="ctr"/>
              <a:lstStyle/>
              <a:p>
                <a:endParaRPr lang="de-DE"/>
              </a:p>
            </p:txBody>
          </p:sp>
          <p:sp>
            <p:nvSpPr>
              <p:cNvPr id="48" name="Rectangle 37"/>
              <p:cNvSpPr>
                <a:spLocks noChangeArrowheads="1"/>
              </p:cNvSpPr>
              <p:nvPr/>
            </p:nvSpPr>
            <p:spPr bwMode="gray">
              <a:xfrm>
                <a:off x="7820025" y="4503738"/>
                <a:ext cx="1000125" cy="555625"/>
              </a:xfrm>
              <a:prstGeom prst="rect">
                <a:avLst/>
              </a:prstGeom>
              <a:grpFill/>
              <a:ln w="12700">
                <a:solidFill>
                  <a:srgbClr val="DDDDDD"/>
                </a:solidFill>
                <a:miter lim="800000"/>
                <a:headEnd/>
                <a:tailEnd/>
              </a:ln>
            </p:spPr>
            <p:txBody>
              <a:bodyPr lIns="108000" tIns="108000" rIns="108000" bIns="72000" anchor="ctr"/>
              <a:lstStyle/>
              <a:p>
                <a:pPr algn="ctr">
                  <a:lnSpc>
                    <a:spcPct val="90000"/>
                  </a:lnSpc>
                  <a:spcAft>
                    <a:spcPct val="20000"/>
                  </a:spcAft>
                </a:pPr>
                <a:r>
                  <a:rPr lang="de-DE" sz="4400" noProof="1">
                    <a:solidFill>
                      <a:schemeClr val="bg1"/>
                    </a:solidFill>
                    <a:effectLst>
                      <a:innerShdw blurRad="63500" dist="50800" dir="13500000">
                        <a:prstClr val="black">
                          <a:alpha val="50000"/>
                        </a:prstClr>
                      </a:innerShdw>
                    </a:effectLst>
                    <a:latin typeface="Wingdings" pitchFamily="2" charset="2"/>
                  </a:rPr>
                  <a:t>ü</a:t>
                </a:r>
              </a:p>
            </p:txBody>
          </p:sp>
        </p:grpSp>
        <p:sp>
          <p:nvSpPr>
            <p:cNvPr id="49" name="Rectangle 38"/>
            <p:cNvSpPr>
              <a:spLocks noChangeArrowheads="1"/>
            </p:cNvSpPr>
            <p:nvPr/>
          </p:nvSpPr>
          <p:spPr bwMode="gray">
            <a:xfrm>
              <a:off x="2819400" y="2289175"/>
              <a:ext cx="1000125" cy="3513138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808080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b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1400" noProof="1"/>
                <a:t>Place for</a:t>
              </a:r>
              <a:br>
                <a:rPr lang="de-DE" sz="1400" noProof="1"/>
              </a:br>
              <a:r>
                <a:rPr lang="de-DE" sz="1400" noProof="1"/>
                <a:t>text</a:t>
              </a:r>
            </a:p>
          </p:txBody>
        </p:sp>
        <p:sp>
          <p:nvSpPr>
            <p:cNvPr id="50" name="Rectangle 39"/>
            <p:cNvSpPr>
              <a:spLocks noChangeArrowheads="1"/>
            </p:cNvSpPr>
            <p:nvPr/>
          </p:nvSpPr>
          <p:spPr bwMode="gray">
            <a:xfrm>
              <a:off x="2819400" y="3392488"/>
              <a:ext cx="1000125" cy="555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tIns="108000" rIns="108000" bIns="72000" anchor="ctr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4400" noProof="1">
                  <a:solidFill>
                    <a:schemeClr val="tx1">
                      <a:lumMod val="50000"/>
                      <a:lumOff val="50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Wingdings" pitchFamily="2" charset="2"/>
                </a:rPr>
                <a:t>û</a:t>
              </a:r>
            </a:p>
          </p:txBody>
        </p:sp>
        <p:sp>
          <p:nvSpPr>
            <p:cNvPr id="51" name="Rectangle 40"/>
            <p:cNvSpPr>
              <a:spLocks noChangeArrowheads="1"/>
            </p:cNvSpPr>
            <p:nvPr/>
          </p:nvSpPr>
          <p:spPr bwMode="gray">
            <a:xfrm>
              <a:off x="6819900" y="3948113"/>
              <a:ext cx="1000125" cy="557212"/>
            </a:xfrm>
            <a:prstGeom prst="rect">
              <a:avLst/>
            </a:prstGeom>
            <a:noFill/>
            <a:ln w="12700">
              <a:solidFill>
                <a:srgbClr val="DDDDDD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52" name="Rectangle 41"/>
            <p:cNvSpPr>
              <a:spLocks noChangeArrowheads="1"/>
            </p:cNvSpPr>
            <p:nvPr/>
          </p:nvSpPr>
          <p:spPr bwMode="gray">
            <a:xfrm>
              <a:off x="4819650" y="339090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53" name="Rectangle 42"/>
            <p:cNvSpPr>
              <a:spLocks noChangeArrowheads="1"/>
            </p:cNvSpPr>
            <p:nvPr/>
          </p:nvSpPr>
          <p:spPr bwMode="gray">
            <a:xfrm>
              <a:off x="4819650" y="3946525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54" name="Rectangle 43"/>
            <p:cNvSpPr>
              <a:spLocks noChangeArrowheads="1"/>
            </p:cNvSpPr>
            <p:nvPr/>
          </p:nvSpPr>
          <p:spPr bwMode="gray">
            <a:xfrm>
              <a:off x="4819650" y="45021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55" name="Rectangle 44"/>
            <p:cNvSpPr>
              <a:spLocks noChangeArrowheads="1"/>
            </p:cNvSpPr>
            <p:nvPr/>
          </p:nvSpPr>
          <p:spPr bwMode="gray">
            <a:xfrm>
              <a:off x="4819650" y="2289175"/>
              <a:ext cx="1000125" cy="3513138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808080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b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1400" noProof="1"/>
                <a:t>Place for</a:t>
              </a:r>
              <a:br>
                <a:rPr lang="de-DE" sz="1400" noProof="1"/>
              </a:br>
              <a:r>
                <a:rPr lang="de-DE" sz="1400" noProof="1"/>
                <a:t>text</a:t>
              </a:r>
            </a:p>
          </p:txBody>
        </p:sp>
        <p:sp>
          <p:nvSpPr>
            <p:cNvPr id="56" name="Rectangle 45"/>
            <p:cNvSpPr>
              <a:spLocks noChangeArrowheads="1"/>
            </p:cNvSpPr>
            <p:nvPr/>
          </p:nvSpPr>
          <p:spPr bwMode="gray">
            <a:xfrm>
              <a:off x="6823075" y="2289175"/>
              <a:ext cx="1000125" cy="3513138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808080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b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1400" noProof="1"/>
                <a:t>Place for text</a:t>
              </a:r>
            </a:p>
          </p:txBody>
        </p:sp>
        <p:sp>
          <p:nvSpPr>
            <p:cNvPr id="57" name="Rectangle 46"/>
            <p:cNvSpPr>
              <a:spLocks noChangeArrowheads="1"/>
            </p:cNvSpPr>
            <p:nvPr/>
          </p:nvSpPr>
          <p:spPr bwMode="gray">
            <a:xfrm>
              <a:off x="6819900" y="2836863"/>
              <a:ext cx="1000125" cy="555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tIns="108000" rIns="108000" bIns="72000" anchor="ctr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4400" noProof="1">
                  <a:solidFill>
                    <a:schemeClr val="tx1">
                      <a:lumMod val="50000"/>
                      <a:lumOff val="50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Wingdings" pitchFamily="2" charset="2"/>
                </a:rPr>
                <a:t>ü</a:t>
              </a:r>
            </a:p>
          </p:txBody>
        </p:sp>
        <p:sp>
          <p:nvSpPr>
            <p:cNvPr id="58" name="Rectangle 47"/>
            <p:cNvSpPr>
              <a:spLocks noChangeArrowheads="1"/>
            </p:cNvSpPr>
            <p:nvPr/>
          </p:nvSpPr>
          <p:spPr bwMode="gray">
            <a:xfrm>
              <a:off x="6819900" y="3392488"/>
              <a:ext cx="1000125" cy="555625"/>
            </a:xfrm>
            <a:prstGeom prst="rect">
              <a:avLst/>
            </a:prstGeom>
            <a:noFill/>
            <a:ln w="12700">
              <a:solidFill>
                <a:srgbClr val="DDDDDD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108000" tIns="108000" rIns="108000" bIns="72000" anchor="ctr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4400" noProof="1">
                  <a:solidFill>
                    <a:schemeClr val="tx1">
                      <a:lumMod val="50000"/>
                      <a:lumOff val="50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Wingdings" pitchFamily="2" charset="2"/>
                </a:rPr>
                <a:t>û</a:t>
              </a:r>
            </a:p>
          </p:txBody>
        </p:sp>
        <p:sp>
          <p:nvSpPr>
            <p:cNvPr id="60" name="Rectangle 48"/>
            <p:cNvSpPr>
              <a:spLocks noChangeArrowheads="1"/>
            </p:cNvSpPr>
            <p:nvPr/>
          </p:nvSpPr>
          <p:spPr bwMode="gray">
            <a:xfrm>
              <a:off x="4819650" y="3394075"/>
              <a:ext cx="1000125" cy="555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tIns="108000" rIns="108000" bIns="72000" anchor="ctr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4400" noProof="1">
                  <a:solidFill>
                    <a:schemeClr val="tx1">
                      <a:lumMod val="50000"/>
                      <a:lumOff val="50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Wingdings" pitchFamily="2" charset="2"/>
                </a:rPr>
                <a:t>ü</a:t>
              </a:r>
            </a:p>
          </p:txBody>
        </p:sp>
        <p:sp>
          <p:nvSpPr>
            <p:cNvPr id="61" name="Rectangle 49"/>
            <p:cNvSpPr>
              <a:spLocks noChangeArrowheads="1"/>
            </p:cNvSpPr>
            <p:nvPr/>
          </p:nvSpPr>
          <p:spPr bwMode="gray">
            <a:xfrm>
              <a:off x="4819650" y="3946525"/>
              <a:ext cx="1000125" cy="555625"/>
            </a:xfrm>
            <a:prstGeom prst="rect">
              <a:avLst/>
            </a:prstGeom>
            <a:noFill/>
            <a:ln w="12700">
              <a:solidFill>
                <a:srgbClr val="DDDDDD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108000" tIns="108000" rIns="108000" bIns="72000" anchor="ctr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4400" noProof="1">
                  <a:solidFill>
                    <a:schemeClr val="tx1">
                      <a:lumMod val="50000"/>
                      <a:lumOff val="50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Wingdings" pitchFamily="2" charset="2"/>
                </a:rPr>
                <a:t>û</a:t>
              </a:r>
            </a:p>
          </p:txBody>
        </p:sp>
        <p:sp>
          <p:nvSpPr>
            <p:cNvPr id="62" name="Rectangle 50"/>
            <p:cNvSpPr>
              <a:spLocks noChangeArrowheads="1"/>
            </p:cNvSpPr>
            <p:nvPr/>
          </p:nvSpPr>
          <p:spPr bwMode="gray">
            <a:xfrm>
              <a:off x="4819650" y="4502150"/>
              <a:ext cx="1000125" cy="555625"/>
            </a:xfrm>
            <a:prstGeom prst="rect">
              <a:avLst/>
            </a:prstGeom>
            <a:noFill/>
            <a:ln w="12700">
              <a:solidFill>
                <a:srgbClr val="DDDDDD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108000" tIns="108000" rIns="108000" bIns="72000" anchor="ctr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4400" noProof="1">
                  <a:solidFill>
                    <a:schemeClr val="tx1">
                      <a:lumMod val="50000"/>
                      <a:lumOff val="50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Wingdings" pitchFamily="2" charset="2"/>
                </a:rPr>
                <a:t>û</a:t>
              </a:r>
            </a:p>
          </p:txBody>
        </p:sp>
        <p:sp>
          <p:nvSpPr>
            <p:cNvPr id="64" name="Rectangle 51"/>
            <p:cNvSpPr>
              <a:spLocks noChangeArrowheads="1"/>
            </p:cNvSpPr>
            <p:nvPr/>
          </p:nvSpPr>
          <p:spPr bwMode="gray">
            <a:xfrm>
              <a:off x="2819400" y="4502150"/>
              <a:ext cx="1000125" cy="555625"/>
            </a:xfrm>
            <a:prstGeom prst="rect">
              <a:avLst/>
            </a:prstGeom>
            <a:noFill/>
            <a:ln w="12700">
              <a:solidFill>
                <a:srgbClr val="DDDDDD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108000" tIns="108000" rIns="108000" bIns="72000" anchor="ctr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4400" noProof="1">
                  <a:solidFill>
                    <a:schemeClr val="tx1">
                      <a:lumMod val="50000"/>
                      <a:lumOff val="50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Wingdings" pitchFamily="2" charset="2"/>
                </a:rPr>
                <a:t>û</a:t>
              </a:r>
            </a:p>
          </p:txBody>
        </p:sp>
        <p:pic>
          <p:nvPicPr>
            <p:cNvPr id="65" name="Picture 52"/>
            <p:cNvPicPr>
              <a:picLocks noChangeAspect="1" noChangeArrowheads="1"/>
            </p:cNvPicPr>
            <p:nvPr/>
          </p:nvPicPr>
          <p:blipFill>
            <a:blip r:embed="rId3" cstate="print">
              <a:lum bright="1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624138" y="5802313"/>
              <a:ext cx="1404937" cy="1698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6" name="Picture 53"/>
            <p:cNvPicPr>
              <a:picLocks noChangeAspect="1" noChangeArrowheads="1"/>
            </p:cNvPicPr>
            <p:nvPr/>
          </p:nvPicPr>
          <p:blipFill>
            <a:blip r:embed="rId3" cstate="print">
              <a:lum bright="1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633913" y="5802313"/>
              <a:ext cx="1404937" cy="1698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8" name="Picture 54"/>
            <p:cNvPicPr>
              <a:picLocks noChangeAspect="1" noChangeArrowheads="1"/>
            </p:cNvPicPr>
            <p:nvPr/>
          </p:nvPicPr>
          <p:blipFill>
            <a:blip r:embed="rId3" cstate="print">
              <a:lum bright="1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621463" y="5802313"/>
              <a:ext cx="1404937" cy="1698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" name="Text Box 12"/>
            <p:cNvSpPr txBox="1">
              <a:spLocks noChangeArrowheads="1"/>
            </p:cNvSpPr>
            <p:nvPr/>
          </p:nvSpPr>
          <p:spPr bwMode="gray">
            <a:xfrm>
              <a:off x="323850" y="2287588"/>
              <a:ext cx="2495550" cy="549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defPPr>
                <a:defRPr lang="de-DE"/>
              </a:defPPr>
              <a:lvl1pPr>
                <a:spcBef>
                  <a:spcPct val="50000"/>
                </a:spcBef>
                <a:defRPr sz="1600"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cs typeface="Arial" charset="0"/>
                </a:defRPr>
              </a:lvl9pPr>
            </a:lstStyle>
            <a:p>
              <a:r>
                <a:rPr lang="de-DE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laceholder 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21731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" name="Gruppieren 89"/>
          <p:cNvGrpSpPr/>
          <p:nvPr/>
        </p:nvGrpSpPr>
        <p:grpSpPr>
          <a:xfrm>
            <a:off x="323895" y="1556864"/>
            <a:ext cx="4086540" cy="504000"/>
            <a:chOff x="323895" y="1556864"/>
            <a:chExt cx="4086540" cy="504000"/>
          </a:xfrm>
        </p:grpSpPr>
        <p:sp>
          <p:nvSpPr>
            <p:cNvPr id="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5" y="1556864"/>
              <a:ext cx="3683360" cy="503911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16200000" scaled="0"/>
              <a:tileRect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pPr>
                <a:defRPr/>
              </a:pPr>
              <a:r>
                <a:rPr lang="en-US" sz="1600" b="1" noProof="1">
                  <a:solidFill>
                    <a:schemeClr val="bg1"/>
                  </a:solidFill>
                </a:rPr>
                <a:t>Agenda </a:t>
              </a:r>
              <a:r>
                <a:rPr lang="en-US" sz="1600" b="1" noProof="1" smtClean="0">
                  <a:solidFill>
                    <a:schemeClr val="bg1"/>
                  </a:solidFill>
                </a:rPr>
                <a:t>Slides</a:t>
              </a:r>
              <a:endParaRPr lang="en-US" sz="1600" noProof="1">
                <a:solidFill>
                  <a:schemeClr val="bg1"/>
                </a:solidFill>
              </a:endParaRPr>
            </a:p>
          </p:txBody>
        </p:sp>
        <p:sp>
          <p:nvSpPr>
            <p:cNvPr id="3" name="Rechteck 2"/>
            <p:cNvSpPr/>
            <p:nvPr/>
          </p:nvSpPr>
          <p:spPr>
            <a:xfrm>
              <a:off x="323895" y="1556953"/>
              <a:ext cx="324000" cy="503911"/>
            </a:xfrm>
            <a:prstGeom prst="rect">
              <a:avLst/>
            </a:pr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rgbClr val="0070C0"/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91" name="Gruppieren 90"/>
          <p:cNvGrpSpPr/>
          <p:nvPr/>
        </p:nvGrpSpPr>
        <p:grpSpPr>
          <a:xfrm>
            <a:off x="323895" y="2180757"/>
            <a:ext cx="4086181" cy="504000"/>
            <a:chOff x="323895" y="2180757"/>
            <a:chExt cx="4086181" cy="504000"/>
          </a:xfrm>
        </p:grpSpPr>
        <p:sp>
          <p:nvSpPr>
            <p:cNvPr id="5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2180757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Gantt Charts</a:t>
              </a:r>
            </a:p>
          </p:txBody>
        </p:sp>
        <p:sp>
          <p:nvSpPr>
            <p:cNvPr id="92" name="Rechteck 91"/>
            <p:cNvSpPr/>
            <p:nvPr/>
          </p:nvSpPr>
          <p:spPr>
            <a:xfrm>
              <a:off x="323895" y="2180758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2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19" name="Gruppieren 118"/>
          <p:cNvGrpSpPr/>
          <p:nvPr/>
        </p:nvGrpSpPr>
        <p:grpSpPr>
          <a:xfrm>
            <a:off x="323895" y="2804650"/>
            <a:ext cx="4086181" cy="504000"/>
            <a:chOff x="323895" y="2804650"/>
            <a:chExt cx="4086181" cy="504000"/>
          </a:xfrm>
        </p:grpSpPr>
        <p:sp>
          <p:nvSpPr>
            <p:cNvPr id="93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2804650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Funnels 3D</a:t>
              </a:r>
            </a:p>
          </p:txBody>
        </p:sp>
        <p:sp>
          <p:nvSpPr>
            <p:cNvPr id="94" name="Rechteck 93"/>
            <p:cNvSpPr/>
            <p:nvPr/>
          </p:nvSpPr>
          <p:spPr>
            <a:xfrm>
              <a:off x="323895" y="2804651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3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0" name="Gruppieren 119"/>
          <p:cNvGrpSpPr/>
          <p:nvPr/>
        </p:nvGrpSpPr>
        <p:grpSpPr>
          <a:xfrm>
            <a:off x="323895" y="3428543"/>
            <a:ext cx="4086181" cy="504000"/>
            <a:chOff x="323895" y="3428543"/>
            <a:chExt cx="4086181" cy="504000"/>
          </a:xfrm>
        </p:grpSpPr>
        <p:sp>
          <p:nvSpPr>
            <p:cNvPr id="9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3428543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Pie / Donut Charts</a:t>
              </a:r>
            </a:p>
          </p:txBody>
        </p:sp>
        <p:sp>
          <p:nvSpPr>
            <p:cNvPr id="96" name="Rechteck 95"/>
            <p:cNvSpPr/>
            <p:nvPr/>
          </p:nvSpPr>
          <p:spPr>
            <a:xfrm>
              <a:off x="323895" y="3428544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4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1" name="Gruppieren 120"/>
          <p:cNvGrpSpPr/>
          <p:nvPr/>
        </p:nvGrpSpPr>
        <p:grpSpPr>
          <a:xfrm>
            <a:off x="323895" y="4052436"/>
            <a:ext cx="4086181" cy="504000"/>
            <a:chOff x="323895" y="4052436"/>
            <a:chExt cx="4086181" cy="504000"/>
          </a:xfrm>
        </p:grpSpPr>
        <p:sp>
          <p:nvSpPr>
            <p:cNvPr id="9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4052436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Overlapping Text Boxes</a:t>
              </a:r>
            </a:p>
          </p:txBody>
        </p:sp>
        <p:sp>
          <p:nvSpPr>
            <p:cNvPr id="98" name="Rechteck 97"/>
            <p:cNvSpPr/>
            <p:nvPr/>
          </p:nvSpPr>
          <p:spPr>
            <a:xfrm>
              <a:off x="323895" y="4052437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5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2" name="Gruppieren 121"/>
          <p:cNvGrpSpPr/>
          <p:nvPr/>
        </p:nvGrpSpPr>
        <p:grpSpPr>
          <a:xfrm>
            <a:off x="323895" y="4676329"/>
            <a:ext cx="4086181" cy="504000"/>
            <a:chOff x="323895" y="4676329"/>
            <a:chExt cx="4086181" cy="504000"/>
          </a:xfrm>
        </p:grpSpPr>
        <p:sp>
          <p:nvSpPr>
            <p:cNvPr id="9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4676329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Timelines Arrows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323895" y="4676330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6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3" name="Gruppieren 122"/>
          <p:cNvGrpSpPr/>
          <p:nvPr/>
        </p:nvGrpSpPr>
        <p:grpSpPr>
          <a:xfrm>
            <a:off x="323895" y="5300224"/>
            <a:ext cx="4086181" cy="504000"/>
            <a:chOff x="323895" y="5300224"/>
            <a:chExt cx="4086181" cy="504000"/>
          </a:xfrm>
        </p:grpSpPr>
        <p:sp>
          <p:nvSpPr>
            <p:cNvPr id="101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5300224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Sphere with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Core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102" name="Rechteck 101"/>
            <p:cNvSpPr/>
            <p:nvPr/>
          </p:nvSpPr>
          <p:spPr>
            <a:xfrm>
              <a:off x="323895" y="5300225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7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4" name="Gruppieren 123"/>
          <p:cNvGrpSpPr/>
          <p:nvPr/>
        </p:nvGrpSpPr>
        <p:grpSpPr>
          <a:xfrm>
            <a:off x="4733970" y="1556862"/>
            <a:ext cx="4086181" cy="504000"/>
            <a:chOff x="4733970" y="1556862"/>
            <a:chExt cx="4086181" cy="504000"/>
          </a:xfrm>
        </p:grpSpPr>
        <p:sp>
          <p:nvSpPr>
            <p:cNvPr id="5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1556862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Step Process Chart</a:t>
              </a:r>
            </a:p>
          </p:txBody>
        </p:sp>
        <p:sp>
          <p:nvSpPr>
            <p:cNvPr id="58" name="Rechteck 57"/>
            <p:cNvSpPr/>
            <p:nvPr/>
          </p:nvSpPr>
          <p:spPr>
            <a:xfrm>
              <a:off x="4733970" y="1556863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8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5" name="Gruppieren 124"/>
          <p:cNvGrpSpPr/>
          <p:nvPr/>
        </p:nvGrpSpPr>
        <p:grpSpPr>
          <a:xfrm>
            <a:off x="4733970" y="2180756"/>
            <a:ext cx="4086181" cy="504000"/>
            <a:chOff x="4733970" y="2180756"/>
            <a:chExt cx="4086181" cy="504000"/>
          </a:xfrm>
        </p:grpSpPr>
        <p:sp>
          <p:nvSpPr>
            <p:cNvPr id="5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2180756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Curves and Trend Charts</a:t>
              </a:r>
            </a:p>
          </p:txBody>
        </p:sp>
        <p:sp>
          <p:nvSpPr>
            <p:cNvPr id="60" name="Rechteck 59"/>
            <p:cNvSpPr/>
            <p:nvPr/>
          </p:nvSpPr>
          <p:spPr>
            <a:xfrm>
              <a:off x="4733970" y="2180757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9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6" name="Gruppieren 125"/>
          <p:cNvGrpSpPr/>
          <p:nvPr/>
        </p:nvGrpSpPr>
        <p:grpSpPr>
          <a:xfrm>
            <a:off x="4733970" y="2804650"/>
            <a:ext cx="4086181" cy="504000"/>
            <a:chOff x="4733970" y="2804650"/>
            <a:chExt cx="4086181" cy="504000"/>
          </a:xfrm>
        </p:grpSpPr>
        <p:sp>
          <p:nvSpPr>
            <p:cNvPr id="61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2804650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3D Spheres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Fill </a:t>
              </a:r>
              <a:r>
                <a:rPr lang="en-US" sz="1600" b="1" noProof="1">
                  <a:solidFill>
                    <a:srgbClr val="5F5F5F"/>
                  </a:solidFill>
                </a:rPr>
                <a:t>L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evels</a:t>
              </a:r>
              <a:r>
                <a:rPr lang="en-US" sz="1600" b="1" noProof="1">
                  <a:solidFill>
                    <a:srgbClr val="5F5F5F"/>
                  </a:solidFill>
                </a:rPr>
                <a:t>	</a:t>
              </a:r>
            </a:p>
          </p:txBody>
        </p:sp>
        <p:sp>
          <p:nvSpPr>
            <p:cNvPr id="62" name="Rechteck 61"/>
            <p:cNvSpPr/>
            <p:nvPr/>
          </p:nvSpPr>
          <p:spPr>
            <a:xfrm>
              <a:off x="4733970" y="2804651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0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7" name="Gruppieren 126"/>
          <p:cNvGrpSpPr/>
          <p:nvPr/>
        </p:nvGrpSpPr>
        <p:grpSpPr>
          <a:xfrm>
            <a:off x="4733970" y="3428544"/>
            <a:ext cx="4086181" cy="504000"/>
            <a:chOff x="4733970" y="3428544"/>
            <a:chExt cx="4086181" cy="504000"/>
          </a:xfrm>
        </p:grpSpPr>
        <p:sp>
          <p:nvSpPr>
            <p:cNvPr id="63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3428544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Data-driven Diagrams	</a:t>
              </a:r>
            </a:p>
          </p:txBody>
        </p:sp>
        <p:sp>
          <p:nvSpPr>
            <p:cNvPr id="64" name="Rechteck 63"/>
            <p:cNvSpPr/>
            <p:nvPr/>
          </p:nvSpPr>
          <p:spPr>
            <a:xfrm>
              <a:off x="4733970" y="3428545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1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8" name="Gruppieren 127"/>
          <p:cNvGrpSpPr/>
          <p:nvPr/>
        </p:nvGrpSpPr>
        <p:grpSpPr>
          <a:xfrm>
            <a:off x="4733970" y="4052438"/>
            <a:ext cx="4086181" cy="504000"/>
            <a:chOff x="4733970" y="4052438"/>
            <a:chExt cx="4086181" cy="504000"/>
          </a:xfrm>
        </p:grpSpPr>
        <p:sp>
          <p:nvSpPr>
            <p:cNvPr id="6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4052438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Arrow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Process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66" name="Rechteck 65"/>
            <p:cNvSpPr/>
            <p:nvPr/>
          </p:nvSpPr>
          <p:spPr>
            <a:xfrm>
              <a:off x="4733970" y="4052439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2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9" name="Gruppieren 128"/>
          <p:cNvGrpSpPr/>
          <p:nvPr/>
        </p:nvGrpSpPr>
        <p:grpSpPr>
          <a:xfrm>
            <a:off x="4733970" y="4676332"/>
            <a:ext cx="4086181" cy="504000"/>
            <a:chOff x="4733970" y="4676332"/>
            <a:chExt cx="4086181" cy="504000"/>
          </a:xfrm>
        </p:grpSpPr>
        <p:sp>
          <p:nvSpPr>
            <p:cNvPr id="6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4676332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Circle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Diagram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68" name="Rechteck 67"/>
            <p:cNvSpPr/>
            <p:nvPr/>
          </p:nvSpPr>
          <p:spPr>
            <a:xfrm>
              <a:off x="4733970" y="4676333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3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30" name="Gruppieren 129"/>
          <p:cNvGrpSpPr/>
          <p:nvPr/>
        </p:nvGrpSpPr>
        <p:grpSpPr>
          <a:xfrm>
            <a:off x="4733970" y="5300225"/>
            <a:ext cx="4086181" cy="504000"/>
            <a:chOff x="4733970" y="5300225"/>
            <a:chExt cx="4086181" cy="504000"/>
          </a:xfrm>
        </p:grpSpPr>
        <p:sp>
          <p:nvSpPr>
            <p:cNvPr id="6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5300225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3D Arrows</a:t>
              </a:r>
            </a:p>
          </p:txBody>
        </p:sp>
        <p:sp>
          <p:nvSpPr>
            <p:cNvPr id="70" name="Rechteck 69"/>
            <p:cNvSpPr/>
            <p:nvPr/>
          </p:nvSpPr>
          <p:spPr>
            <a:xfrm>
              <a:off x="4733970" y="5300226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4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siness Starter Package</a:t>
            </a:r>
            <a:endParaRPr lang="en-US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laceholder for your own sub headline</a:t>
            </a:r>
          </a:p>
        </p:txBody>
      </p:sp>
    </p:spTree>
    <p:extLst>
      <p:ext uri="{BB962C8B-B14F-4D97-AF65-F5344CB8AC3E}">
        <p14:creationId xmlns:p14="http://schemas.microsoft.com/office/powerpoint/2010/main" val="2094996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Overlapping Text Boxe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Placeholder for your own sub headline</a:t>
            </a:r>
          </a:p>
        </p:txBody>
      </p:sp>
      <p:grpSp>
        <p:nvGrpSpPr>
          <p:cNvPr id="4" name="Gruppieren 3"/>
          <p:cNvGrpSpPr/>
          <p:nvPr/>
        </p:nvGrpSpPr>
        <p:grpSpPr>
          <a:xfrm>
            <a:off x="323850" y="1555750"/>
            <a:ext cx="8496300" cy="4087813"/>
            <a:chOff x="323850" y="1555750"/>
            <a:chExt cx="8496300" cy="4087813"/>
          </a:xfrm>
        </p:grpSpPr>
        <p:sp>
          <p:nvSpPr>
            <p:cNvPr id="18" name="Rectangle 5"/>
            <p:cNvSpPr>
              <a:spLocks noChangeArrowheads="1"/>
            </p:cNvSpPr>
            <p:nvPr/>
          </p:nvSpPr>
          <p:spPr bwMode="gray">
            <a:xfrm>
              <a:off x="323850" y="2287588"/>
              <a:ext cx="8496300" cy="3355975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08000" bIns="72000" anchor="ctr"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19" name="Rectangle 6"/>
            <p:cNvSpPr>
              <a:spLocks noChangeArrowheads="1"/>
            </p:cNvSpPr>
            <p:nvPr/>
          </p:nvSpPr>
          <p:spPr bwMode="gray">
            <a:xfrm>
              <a:off x="4819650" y="1555750"/>
              <a:ext cx="1000125" cy="40878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1400" noProof="1"/>
                <a:t>Place for text</a:t>
              </a: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6819900" y="1555750"/>
              <a:ext cx="1000125" cy="40878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1400" noProof="1"/>
                <a:t>Place for text </a:t>
              </a:r>
            </a:p>
          </p:txBody>
        </p:sp>
        <p:sp>
          <p:nvSpPr>
            <p:cNvPr id="21" name="Rectangle 9"/>
            <p:cNvSpPr>
              <a:spLocks noChangeArrowheads="1"/>
            </p:cNvSpPr>
            <p:nvPr/>
          </p:nvSpPr>
          <p:spPr bwMode="gray">
            <a:xfrm>
              <a:off x="2819400" y="1555750"/>
              <a:ext cx="1000125" cy="40878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1400" noProof="1"/>
                <a:t>Place for text</a:t>
              </a:r>
            </a:p>
          </p:txBody>
        </p:sp>
        <p:sp>
          <p:nvSpPr>
            <p:cNvPr id="22" name="Rectangle 11"/>
            <p:cNvSpPr>
              <a:spLocks noChangeArrowheads="1"/>
            </p:cNvSpPr>
            <p:nvPr/>
          </p:nvSpPr>
          <p:spPr bwMode="gray">
            <a:xfrm>
              <a:off x="3819525" y="1555750"/>
              <a:ext cx="1000125" cy="4087813"/>
            </a:xfrm>
            <a:prstGeom prst="rect">
              <a:avLst/>
            </a:prstGeom>
            <a:gradFill rotWithShape="1">
              <a:gsLst>
                <a:gs pos="0">
                  <a:srgbClr val="DDDDDD">
                    <a:alpha val="50000"/>
                  </a:srgbClr>
                </a:gs>
                <a:gs pos="100000">
                  <a:srgbClr val="FFFFFF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1400" noProof="1"/>
                <a:t>Place for text</a:t>
              </a:r>
            </a:p>
          </p:txBody>
        </p:sp>
        <p:sp>
          <p:nvSpPr>
            <p:cNvPr id="23" name="Rectangle 12"/>
            <p:cNvSpPr>
              <a:spLocks noChangeArrowheads="1"/>
            </p:cNvSpPr>
            <p:nvPr/>
          </p:nvSpPr>
          <p:spPr bwMode="gray">
            <a:xfrm>
              <a:off x="5819775" y="1555750"/>
              <a:ext cx="1000125" cy="4087813"/>
            </a:xfrm>
            <a:prstGeom prst="rect">
              <a:avLst/>
            </a:prstGeom>
            <a:gradFill rotWithShape="1">
              <a:gsLst>
                <a:gs pos="0">
                  <a:srgbClr val="DDDDDD">
                    <a:alpha val="50000"/>
                  </a:srgbClr>
                </a:gs>
                <a:gs pos="100000">
                  <a:srgbClr val="FFFFFF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1400" noProof="1"/>
                <a:t>Place for text </a:t>
              </a:r>
            </a:p>
          </p:txBody>
        </p:sp>
        <p:sp>
          <p:nvSpPr>
            <p:cNvPr id="24" name="Rectangle 13"/>
            <p:cNvSpPr>
              <a:spLocks noChangeArrowheads="1"/>
            </p:cNvSpPr>
            <p:nvPr/>
          </p:nvSpPr>
          <p:spPr bwMode="gray">
            <a:xfrm>
              <a:off x="7820025" y="1555750"/>
              <a:ext cx="1000125" cy="4087813"/>
            </a:xfrm>
            <a:prstGeom prst="rect">
              <a:avLst/>
            </a:prstGeom>
            <a:gradFill rotWithShape="1">
              <a:gsLst>
                <a:gs pos="0">
                  <a:srgbClr val="DDDDDD">
                    <a:alpha val="50000"/>
                  </a:srgbClr>
                </a:gs>
                <a:gs pos="100000">
                  <a:srgbClr val="FFFFFF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1400" noProof="1"/>
                <a:t>Place for text </a:t>
              </a:r>
            </a:p>
          </p:txBody>
        </p:sp>
        <p:sp>
          <p:nvSpPr>
            <p:cNvPr id="25" name="Rectangle 14"/>
            <p:cNvSpPr>
              <a:spLocks noChangeArrowheads="1"/>
            </p:cNvSpPr>
            <p:nvPr/>
          </p:nvSpPr>
          <p:spPr bwMode="gray">
            <a:xfrm>
              <a:off x="3819525" y="2287588"/>
              <a:ext cx="1000125" cy="557212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26" name="Rectangle 15"/>
            <p:cNvSpPr>
              <a:spLocks noChangeArrowheads="1"/>
            </p:cNvSpPr>
            <p:nvPr/>
          </p:nvSpPr>
          <p:spPr bwMode="gray">
            <a:xfrm>
              <a:off x="4819650" y="28511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27" name="Rectangle 16"/>
            <p:cNvSpPr>
              <a:spLocks noChangeArrowheads="1"/>
            </p:cNvSpPr>
            <p:nvPr/>
          </p:nvSpPr>
          <p:spPr bwMode="gray">
            <a:xfrm>
              <a:off x="4819650" y="2287588"/>
              <a:ext cx="1000125" cy="557212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28" name="Rectangle 17"/>
            <p:cNvSpPr>
              <a:spLocks noChangeArrowheads="1"/>
            </p:cNvSpPr>
            <p:nvPr/>
          </p:nvSpPr>
          <p:spPr bwMode="gray">
            <a:xfrm>
              <a:off x="5819775" y="2287588"/>
              <a:ext cx="1000125" cy="557212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29" name="Rectangle 18"/>
            <p:cNvSpPr>
              <a:spLocks noChangeArrowheads="1"/>
            </p:cNvSpPr>
            <p:nvPr/>
          </p:nvSpPr>
          <p:spPr bwMode="gray">
            <a:xfrm>
              <a:off x="6819900" y="2298346"/>
              <a:ext cx="1000125" cy="557212"/>
            </a:xfrm>
            <a:prstGeom prst="rect">
              <a:avLst/>
            </a:prstGeom>
            <a:gradFill rotWithShape="1">
              <a:gsLst>
                <a:gs pos="0">
                  <a:schemeClr val="tx2">
                    <a:lumMod val="40000"/>
                    <a:lumOff val="60000"/>
                  </a:schemeClr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pPr algn="ctr"/>
              <a:r>
                <a:rPr lang="de-DE" noProof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30" name="Rectangle 19"/>
            <p:cNvSpPr>
              <a:spLocks noChangeArrowheads="1"/>
            </p:cNvSpPr>
            <p:nvPr/>
          </p:nvSpPr>
          <p:spPr bwMode="gray">
            <a:xfrm>
              <a:off x="7820025" y="2287588"/>
              <a:ext cx="1000125" cy="557212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31" name="Rectangle 20"/>
            <p:cNvSpPr>
              <a:spLocks noChangeArrowheads="1"/>
            </p:cNvSpPr>
            <p:nvPr/>
          </p:nvSpPr>
          <p:spPr bwMode="gray">
            <a:xfrm>
              <a:off x="7820025" y="28511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32" name="Rectangle 21"/>
            <p:cNvSpPr>
              <a:spLocks noChangeArrowheads="1"/>
            </p:cNvSpPr>
            <p:nvPr/>
          </p:nvSpPr>
          <p:spPr bwMode="gray">
            <a:xfrm>
              <a:off x="3819525" y="50863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33" name="Rectangle 22"/>
            <p:cNvSpPr>
              <a:spLocks noChangeArrowheads="1"/>
            </p:cNvSpPr>
            <p:nvPr/>
          </p:nvSpPr>
          <p:spPr bwMode="gray">
            <a:xfrm>
              <a:off x="4819650" y="50863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34" name="Rectangle 23"/>
            <p:cNvSpPr>
              <a:spLocks noChangeArrowheads="1"/>
            </p:cNvSpPr>
            <p:nvPr/>
          </p:nvSpPr>
          <p:spPr bwMode="gray">
            <a:xfrm>
              <a:off x="5819775" y="50863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35" name="Rectangle 24"/>
            <p:cNvSpPr>
              <a:spLocks noChangeArrowheads="1"/>
            </p:cNvSpPr>
            <p:nvPr/>
          </p:nvSpPr>
          <p:spPr bwMode="gray">
            <a:xfrm>
              <a:off x="6819900" y="50863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36" name="Rectangle 25"/>
            <p:cNvSpPr>
              <a:spLocks noChangeArrowheads="1"/>
            </p:cNvSpPr>
            <p:nvPr/>
          </p:nvSpPr>
          <p:spPr bwMode="gray">
            <a:xfrm>
              <a:off x="7820025" y="50863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chemeClr val="tx2">
                    <a:lumMod val="40000"/>
                    <a:lumOff val="60000"/>
                  </a:schemeClr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pPr algn="ctr"/>
              <a:r>
                <a:rPr lang="de-DE" noProof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37" name="Rectangle 26"/>
            <p:cNvSpPr>
              <a:spLocks noChangeArrowheads="1"/>
            </p:cNvSpPr>
            <p:nvPr/>
          </p:nvSpPr>
          <p:spPr bwMode="gray">
            <a:xfrm>
              <a:off x="3819525" y="34099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38" name="Rectangle 27"/>
            <p:cNvSpPr>
              <a:spLocks noChangeArrowheads="1"/>
            </p:cNvSpPr>
            <p:nvPr/>
          </p:nvSpPr>
          <p:spPr bwMode="gray">
            <a:xfrm>
              <a:off x="5819775" y="34099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chemeClr val="tx2">
                    <a:lumMod val="40000"/>
                    <a:lumOff val="60000"/>
                  </a:schemeClr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pPr algn="ctr"/>
              <a:r>
                <a:rPr lang="de-DE" noProof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39" name="Rectangle 28"/>
            <p:cNvSpPr>
              <a:spLocks noChangeArrowheads="1"/>
            </p:cNvSpPr>
            <p:nvPr/>
          </p:nvSpPr>
          <p:spPr bwMode="gray">
            <a:xfrm>
              <a:off x="6819900" y="39687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40" name="Rectangle 29"/>
            <p:cNvSpPr>
              <a:spLocks noChangeArrowheads="1"/>
            </p:cNvSpPr>
            <p:nvPr/>
          </p:nvSpPr>
          <p:spPr bwMode="gray">
            <a:xfrm>
              <a:off x="7820025" y="39687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41" name="Rectangle 30"/>
            <p:cNvSpPr>
              <a:spLocks noChangeArrowheads="1"/>
            </p:cNvSpPr>
            <p:nvPr/>
          </p:nvSpPr>
          <p:spPr bwMode="gray">
            <a:xfrm>
              <a:off x="3819525" y="45275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42" name="Rectangle 31"/>
            <p:cNvSpPr>
              <a:spLocks noChangeArrowheads="1"/>
            </p:cNvSpPr>
            <p:nvPr/>
          </p:nvSpPr>
          <p:spPr bwMode="gray">
            <a:xfrm>
              <a:off x="5819775" y="45275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chemeClr val="tx2">
                    <a:lumMod val="40000"/>
                    <a:lumOff val="60000"/>
                  </a:schemeClr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pPr algn="ctr"/>
              <a:r>
                <a:rPr lang="de-DE" noProof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3" name="Rectangle 32"/>
            <p:cNvSpPr>
              <a:spLocks noChangeArrowheads="1"/>
            </p:cNvSpPr>
            <p:nvPr/>
          </p:nvSpPr>
          <p:spPr bwMode="gray">
            <a:xfrm>
              <a:off x="6819900" y="45275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chemeClr val="tx2">
                    <a:lumMod val="40000"/>
                    <a:lumOff val="60000"/>
                  </a:schemeClr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pPr algn="ctr"/>
              <a:r>
                <a:rPr lang="de-DE" noProof="1">
                  <a:solidFill>
                    <a:schemeClr val="bg1"/>
                  </a:solidFill>
                </a:rPr>
                <a:t>text</a:t>
              </a:r>
            </a:p>
          </p:txBody>
        </p:sp>
        <p:grpSp>
          <p:nvGrpSpPr>
            <p:cNvPr id="44" name="Group 33"/>
            <p:cNvGrpSpPr>
              <a:grpSpLocks/>
            </p:cNvGrpSpPr>
            <p:nvPr/>
          </p:nvGrpSpPr>
          <p:grpSpPr bwMode="auto">
            <a:xfrm>
              <a:off x="323850" y="2287588"/>
              <a:ext cx="2495550" cy="3355975"/>
              <a:chOff x="204" y="1479"/>
              <a:chExt cx="1572" cy="2076"/>
            </a:xfrm>
          </p:grpSpPr>
          <p:sp>
            <p:nvSpPr>
              <p:cNvPr id="45" name="Text Box 34"/>
              <p:cNvSpPr txBox="1">
                <a:spLocks noChangeArrowheads="1"/>
              </p:cNvSpPr>
              <p:nvPr/>
            </p:nvSpPr>
            <p:spPr bwMode="gray">
              <a:xfrm>
                <a:off x="204" y="1479"/>
                <a:ext cx="1572" cy="3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>
                  <a:spcBef>
                    <a:spcPct val="50000"/>
                  </a:spcBef>
                </a:pPr>
                <a:r>
                  <a:rPr lang="de-DE" sz="1600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Placeholder text</a:t>
                </a:r>
              </a:p>
            </p:txBody>
          </p:sp>
          <p:sp>
            <p:nvSpPr>
              <p:cNvPr id="46" name="Text Box 35"/>
              <p:cNvSpPr txBox="1">
                <a:spLocks noChangeArrowheads="1"/>
              </p:cNvSpPr>
              <p:nvPr/>
            </p:nvSpPr>
            <p:spPr bwMode="gray">
              <a:xfrm>
                <a:off x="204" y="1825"/>
                <a:ext cx="1572" cy="346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>
                  <a:spcBef>
                    <a:spcPct val="50000"/>
                  </a:spcBef>
                </a:pPr>
                <a:r>
                  <a:rPr lang="de-DE" sz="1600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Placeholder text</a:t>
                </a:r>
              </a:p>
            </p:txBody>
          </p:sp>
          <p:sp>
            <p:nvSpPr>
              <p:cNvPr id="47" name="Text Box 36"/>
              <p:cNvSpPr txBox="1">
                <a:spLocks noChangeArrowheads="1"/>
              </p:cNvSpPr>
              <p:nvPr/>
            </p:nvSpPr>
            <p:spPr bwMode="gray">
              <a:xfrm>
                <a:off x="204" y="2171"/>
                <a:ext cx="1572" cy="3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>
                  <a:spcBef>
                    <a:spcPct val="50000"/>
                  </a:spcBef>
                </a:pPr>
                <a:r>
                  <a:rPr lang="de-DE" sz="1600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Placeholder text</a:t>
                </a:r>
              </a:p>
            </p:txBody>
          </p:sp>
          <p:sp>
            <p:nvSpPr>
              <p:cNvPr id="48" name="Text Box 37"/>
              <p:cNvSpPr txBox="1">
                <a:spLocks noChangeArrowheads="1"/>
              </p:cNvSpPr>
              <p:nvPr/>
            </p:nvSpPr>
            <p:spPr bwMode="gray">
              <a:xfrm>
                <a:off x="204" y="2517"/>
                <a:ext cx="1572" cy="346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>
                  <a:spcBef>
                    <a:spcPct val="50000"/>
                  </a:spcBef>
                </a:pPr>
                <a:r>
                  <a:rPr lang="de-DE" sz="1600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Placeholder text</a:t>
                </a:r>
              </a:p>
            </p:txBody>
          </p:sp>
          <p:sp>
            <p:nvSpPr>
              <p:cNvPr id="49" name="Text Box 38"/>
              <p:cNvSpPr txBox="1">
                <a:spLocks noChangeArrowheads="1"/>
              </p:cNvSpPr>
              <p:nvPr/>
            </p:nvSpPr>
            <p:spPr bwMode="gray">
              <a:xfrm>
                <a:off x="204" y="2863"/>
                <a:ext cx="1572" cy="3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>
                  <a:spcBef>
                    <a:spcPct val="50000"/>
                  </a:spcBef>
                </a:pPr>
                <a:r>
                  <a:rPr lang="de-DE" sz="1600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Placeholder text</a:t>
                </a:r>
              </a:p>
            </p:txBody>
          </p:sp>
          <p:sp>
            <p:nvSpPr>
              <p:cNvPr id="50" name="Text Box 39"/>
              <p:cNvSpPr txBox="1">
                <a:spLocks noChangeArrowheads="1"/>
              </p:cNvSpPr>
              <p:nvPr/>
            </p:nvSpPr>
            <p:spPr bwMode="gray">
              <a:xfrm>
                <a:off x="204" y="3209"/>
                <a:ext cx="1572" cy="346"/>
              </a:xfrm>
              <a:prstGeom prst="rect">
                <a:avLst/>
              </a:pr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>
                  <a:spcBef>
                    <a:spcPct val="50000"/>
                  </a:spcBef>
                </a:pPr>
                <a:r>
                  <a:rPr lang="de-DE" sz="1600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Placeholder text</a:t>
                </a:r>
              </a:p>
            </p:txBody>
          </p:sp>
        </p:grpSp>
        <p:sp>
          <p:nvSpPr>
            <p:cNvPr id="51" name="Rectangle 40"/>
            <p:cNvSpPr>
              <a:spLocks noChangeArrowheads="1"/>
            </p:cNvSpPr>
            <p:nvPr/>
          </p:nvSpPr>
          <p:spPr bwMode="gray">
            <a:xfrm>
              <a:off x="7820025" y="45275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52" name="Rectangle 41"/>
            <p:cNvSpPr>
              <a:spLocks noChangeArrowheads="1"/>
            </p:cNvSpPr>
            <p:nvPr/>
          </p:nvSpPr>
          <p:spPr bwMode="gray">
            <a:xfrm>
              <a:off x="7820025" y="34099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chemeClr val="tx2">
                    <a:lumMod val="40000"/>
                    <a:lumOff val="60000"/>
                  </a:schemeClr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pPr algn="ctr"/>
              <a:r>
                <a:rPr lang="de-DE" noProof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53" name="Rectangle 42"/>
            <p:cNvSpPr>
              <a:spLocks noChangeArrowheads="1"/>
            </p:cNvSpPr>
            <p:nvPr/>
          </p:nvSpPr>
          <p:spPr bwMode="gray">
            <a:xfrm>
              <a:off x="5819775" y="28511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54" name="Rectangle 43"/>
            <p:cNvSpPr>
              <a:spLocks noChangeArrowheads="1"/>
            </p:cNvSpPr>
            <p:nvPr/>
          </p:nvSpPr>
          <p:spPr bwMode="gray">
            <a:xfrm>
              <a:off x="6819900" y="28511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55" name="Rectangle 44"/>
            <p:cNvSpPr>
              <a:spLocks noChangeArrowheads="1"/>
            </p:cNvSpPr>
            <p:nvPr/>
          </p:nvSpPr>
          <p:spPr bwMode="gray">
            <a:xfrm>
              <a:off x="6819900" y="34099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56" name="Rectangle 45"/>
            <p:cNvSpPr>
              <a:spLocks noChangeArrowheads="1"/>
            </p:cNvSpPr>
            <p:nvPr/>
          </p:nvSpPr>
          <p:spPr bwMode="gray">
            <a:xfrm>
              <a:off x="5819775" y="39687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57" name="Rectangle 46"/>
            <p:cNvSpPr>
              <a:spLocks noChangeArrowheads="1"/>
            </p:cNvSpPr>
            <p:nvPr/>
          </p:nvSpPr>
          <p:spPr bwMode="gray">
            <a:xfrm>
              <a:off x="4819650" y="34099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58" name="Rectangle 47"/>
            <p:cNvSpPr>
              <a:spLocks noChangeArrowheads="1"/>
            </p:cNvSpPr>
            <p:nvPr/>
          </p:nvSpPr>
          <p:spPr bwMode="gray">
            <a:xfrm>
              <a:off x="4819650" y="45275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chemeClr val="tx2">
                    <a:lumMod val="40000"/>
                    <a:lumOff val="60000"/>
                  </a:schemeClr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pPr algn="ctr"/>
              <a:r>
                <a:rPr lang="de-DE" noProof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60" name="Rectangle 48"/>
            <p:cNvSpPr>
              <a:spLocks noChangeArrowheads="1"/>
            </p:cNvSpPr>
            <p:nvPr/>
          </p:nvSpPr>
          <p:spPr bwMode="gray">
            <a:xfrm>
              <a:off x="4819650" y="39687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61" name="Rectangle 49"/>
            <p:cNvSpPr>
              <a:spLocks noChangeArrowheads="1"/>
            </p:cNvSpPr>
            <p:nvPr/>
          </p:nvSpPr>
          <p:spPr bwMode="gray">
            <a:xfrm>
              <a:off x="3819525" y="28511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62" name="Rectangle 50"/>
            <p:cNvSpPr>
              <a:spLocks noChangeArrowheads="1"/>
            </p:cNvSpPr>
            <p:nvPr/>
          </p:nvSpPr>
          <p:spPr bwMode="gray">
            <a:xfrm>
              <a:off x="3819525" y="39687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64" name="Rectangle 51"/>
            <p:cNvSpPr>
              <a:spLocks noChangeArrowheads="1"/>
            </p:cNvSpPr>
            <p:nvPr/>
          </p:nvSpPr>
          <p:spPr bwMode="gray">
            <a:xfrm>
              <a:off x="2819400" y="28511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65" name="Rectangle 52"/>
            <p:cNvSpPr>
              <a:spLocks noChangeArrowheads="1"/>
            </p:cNvSpPr>
            <p:nvPr/>
          </p:nvSpPr>
          <p:spPr bwMode="gray">
            <a:xfrm>
              <a:off x="2819400" y="2298346"/>
              <a:ext cx="1000125" cy="557212"/>
            </a:xfrm>
            <a:prstGeom prst="rect">
              <a:avLst/>
            </a:prstGeom>
            <a:gradFill rotWithShape="1">
              <a:gsLst>
                <a:gs pos="0">
                  <a:schemeClr val="tx2">
                    <a:lumMod val="40000"/>
                    <a:lumOff val="60000"/>
                  </a:schemeClr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pPr algn="ctr"/>
              <a:r>
                <a:rPr lang="de-DE" noProof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66" name="Rectangle 53"/>
            <p:cNvSpPr>
              <a:spLocks noChangeArrowheads="1"/>
            </p:cNvSpPr>
            <p:nvPr/>
          </p:nvSpPr>
          <p:spPr bwMode="gray">
            <a:xfrm>
              <a:off x="2819400" y="50863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chemeClr val="tx2">
                    <a:lumMod val="40000"/>
                    <a:lumOff val="60000"/>
                  </a:schemeClr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pPr algn="ctr"/>
              <a:r>
                <a:rPr lang="de-DE" noProof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68" name="Rectangle 54"/>
            <p:cNvSpPr>
              <a:spLocks noChangeArrowheads="1"/>
            </p:cNvSpPr>
            <p:nvPr/>
          </p:nvSpPr>
          <p:spPr bwMode="gray">
            <a:xfrm>
              <a:off x="2819400" y="39687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69" name="Rectangle 55"/>
            <p:cNvSpPr>
              <a:spLocks noChangeArrowheads="1"/>
            </p:cNvSpPr>
            <p:nvPr/>
          </p:nvSpPr>
          <p:spPr bwMode="gray">
            <a:xfrm>
              <a:off x="2819400" y="34099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chemeClr val="tx2">
                    <a:lumMod val="40000"/>
                    <a:lumOff val="60000"/>
                  </a:schemeClr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pPr algn="ctr"/>
              <a:r>
                <a:rPr lang="de-DE" noProof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70" name="Rectangle 56"/>
            <p:cNvSpPr>
              <a:spLocks noChangeArrowheads="1"/>
            </p:cNvSpPr>
            <p:nvPr/>
          </p:nvSpPr>
          <p:spPr bwMode="gray">
            <a:xfrm>
              <a:off x="2819400" y="45275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042026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Overlapping Text Boxe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Placeholder for your own sub headline</a:t>
            </a:r>
          </a:p>
        </p:txBody>
      </p:sp>
      <p:grpSp>
        <p:nvGrpSpPr>
          <p:cNvPr id="4" name="Gruppieren 3"/>
          <p:cNvGrpSpPr/>
          <p:nvPr/>
        </p:nvGrpSpPr>
        <p:grpSpPr>
          <a:xfrm>
            <a:off x="323850" y="1068127"/>
            <a:ext cx="8496300" cy="4913573"/>
            <a:chOff x="323850" y="1068127"/>
            <a:chExt cx="8496300" cy="4913573"/>
          </a:xfrm>
        </p:grpSpPr>
        <p:sp>
          <p:nvSpPr>
            <p:cNvPr id="15" name="Rectangle 9"/>
            <p:cNvSpPr>
              <a:spLocks noChangeArrowheads="1"/>
            </p:cNvSpPr>
            <p:nvPr/>
          </p:nvSpPr>
          <p:spPr bwMode="gray">
            <a:xfrm>
              <a:off x="323850" y="2287588"/>
              <a:ext cx="8496300" cy="3343275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08000" bIns="72000" anchor="ctr"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gray">
            <a:xfrm>
              <a:off x="4819650" y="1555750"/>
              <a:ext cx="1000125" cy="40751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1400" noProof="1"/>
                <a:t>Place for text</a:t>
              </a:r>
            </a:p>
          </p:txBody>
        </p:sp>
        <p:sp>
          <p:nvSpPr>
            <p:cNvPr id="17" name="Rectangle 11"/>
            <p:cNvSpPr>
              <a:spLocks noChangeArrowheads="1"/>
            </p:cNvSpPr>
            <p:nvPr/>
          </p:nvSpPr>
          <p:spPr bwMode="gray">
            <a:xfrm>
              <a:off x="6819900" y="1555750"/>
              <a:ext cx="1000125" cy="4060825"/>
            </a:xfrm>
            <a:prstGeom prst="rect">
              <a:avLst/>
            </a:prstGeom>
            <a:solidFill>
              <a:schemeClr val="bg1">
                <a:alpha val="74901"/>
              </a:schemeClr>
            </a:soli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1400" noProof="1"/>
                <a:t> </a:t>
              </a:r>
            </a:p>
          </p:txBody>
        </p:sp>
        <p:sp>
          <p:nvSpPr>
            <p:cNvPr id="18" name="Rectangle 12"/>
            <p:cNvSpPr>
              <a:spLocks noChangeArrowheads="1"/>
            </p:cNvSpPr>
            <p:nvPr/>
          </p:nvSpPr>
          <p:spPr bwMode="gray">
            <a:xfrm>
              <a:off x="2819400" y="1555750"/>
              <a:ext cx="1000125" cy="40751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1400" noProof="1"/>
                <a:t>Place for text</a:t>
              </a:r>
            </a:p>
          </p:txBody>
        </p:sp>
        <p:sp>
          <p:nvSpPr>
            <p:cNvPr id="19" name="Rectangle 13"/>
            <p:cNvSpPr>
              <a:spLocks noChangeArrowheads="1"/>
            </p:cNvSpPr>
            <p:nvPr/>
          </p:nvSpPr>
          <p:spPr bwMode="gray">
            <a:xfrm>
              <a:off x="3819525" y="1555750"/>
              <a:ext cx="1000125" cy="40751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1400" noProof="1"/>
                <a:t>Place for text</a:t>
              </a:r>
            </a:p>
          </p:txBody>
        </p:sp>
        <p:sp>
          <p:nvSpPr>
            <p:cNvPr id="20" name="Rectangle 14"/>
            <p:cNvSpPr>
              <a:spLocks noChangeArrowheads="1"/>
            </p:cNvSpPr>
            <p:nvPr/>
          </p:nvSpPr>
          <p:spPr bwMode="gray">
            <a:xfrm>
              <a:off x="5819775" y="1555750"/>
              <a:ext cx="1000125" cy="40751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1400" noProof="1"/>
                <a:t>Place for text </a:t>
              </a:r>
            </a:p>
          </p:txBody>
        </p:sp>
        <p:sp>
          <p:nvSpPr>
            <p:cNvPr id="21" name="Rectangle 15"/>
            <p:cNvSpPr>
              <a:spLocks noChangeArrowheads="1"/>
            </p:cNvSpPr>
            <p:nvPr/>
          </p:nvSpPr>
          <p:spPr bwMode="gray">
            <a:xfrm>
              <a:off x="7820025" y="1555750"/>
              <a:ext cx="1000125" cy="40751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1400" noProof="1"/>
                <a:t>Place for text</a:t>
              </a:r>
            </a:p>
          </p:txBody>
        </p:sp>
        <p:sp>
          <p:nvSpPr>
            <p:cNvPr id="23" name="Text Box 17"/>
            <p:cNvSpPr txBox="1">
              <a:spLocks noChangeArrowheads="1"/>
            </p:cNvSpPr>
            <p:nvPr/>
          </p:nvSpPr>
          <p:spPr bwMode="gray">
            <a:xfrm>
              <a:off x="323850" y="2838450"/>
              <a:ext cx="2495550" cy="5572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sz="1600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laceholder text</a:t>
              </a:r>
            </a:p>
          </p:txBody>
        </p:sp>
        <p:sp>
          <p:nvSpPr>
            <p:cNvPr id="24" name="Text Box 18"/>
            <p:cNvSpPr txBox="1">
              <a:spLocks noChangeArrowheads="1"/>
            </p:cNvSpPr>
            <p:nvPr/>
          </p:nvSpPr>
          <p:spPr bwMode="gray">
            <a:xfrm>
              <a:off x="323850" y="3395663"/>
              <a:ext cx="2495550" cy="5588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sz="1600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laceholder text</a:t>
              </a:r>
            </a:p>
          </p:txBody>
        </p:sp>
        <p:sp>
          <p:nvSpPr>
            <p:cNvPr id="25" name="Text Box 19"/>
            <p:cNvSpPr txBox="1">
              <a:spLocks noChangeArrowheads="1"/>
            </p:cNvSpPr>
            <p:nvPr/>
          </p:nvSpPr>
          <p:spPr bwMode="gray">
            <a:xfrm>
              <a:off x="323850" y="3954463"/>
              <a:ext cx="2495550" cy="55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sz="1600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laceholder text</a:t>
              </a:r>
            </a:p>
          </p:txBody>
        </p:sp>
        <p:sp>
          <p:nvSpPr>
            <p:cNvPr id="26" name="Text Box 20"/>
            <p:cNvSpPr txBox="1">
              <a:spLocks noChangeArrowheads="1"/>
            </p:cNvSpPr>
            <p:nvPr/>
          </p:nvSpPr>
          <p:spPr bwMode="gray">
            <a:xfrm>
              <a:off x="323850" y="4513263"/>
              <a:ext cx="2495550" cy="5603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sz="1600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laceholder text</a:t>
              </a:r>
            </a:p>
          </p:txBody>
        </p:sp>
        <p:sp>
          <p:nvSpPr>
            <p:cNvPr id="27" name="Text Box 21"/>
            <p:cNvSpPr txBox="1">
              <a:spLocks noChangeArrowheads="1"/>
            </p:cNvSpPr>
            <p:nvPr/>
          </p:nvSpPr>
          <p:spPr bwMode="gray">
            <a:xfrm>
              <a:off x="323850" y="5072063"/>
              <a:ext cx="2495550" cy="581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sz="1600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laceholder text</a:t>
              </a:r>
            </a:p>
          </p:txBody>
        </p:sp>
        <p:sp>
          <p:nvSpPr>
            <p:cNvPr id="28" name="Text Box 22"/>
            <p:cNvSpPr txBox="1">
              <a:spLocks noChangeArrowheads="1"/>
            </p:cNvSpPr>
            <p:nvPr/>
          </p:nvSpPr>
          <p:spPr bwMode="gray">
            <a:xfrm>
              <a:off x="6738873" y="1068127"/>
              <a:ext cx="116217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de-DE" sz="16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laceholder</a:t>
              </a:r>
              <a:endParaRPr lang="de-DE" sz="1600" b="1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pic>
          <p:nvPicPr>
            <p:cNvPr id="29" name="Picture 23"/>
            <p:cNvPicPr>
              <a:picLocks noChangeAspect="1" noChangeArrowheads="1"/>
            </p:cNvPicPr>
            <p:nvPr/>
          </p:nvPicPr>
          <p:blipFill>
            <a:blip r:embed="rId3" cstate="print">
              <a:lum bright="1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243638" y="5821363"/>
              <a:ext cx="2185987" cy="1603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0" name="Rectangle 24"/>
            <p:cNvSpPr>
              <a:spLocks noChangeArrowheads="1"/>
            </p:cNvSpPr>
            <p:nvPr/>
          </p:nvSpPr>
          <p:spPr bwMode="gray">
            <a:xfrm>
              <a:off x="3819525" y="2287588"/>
              <a:ext cx="1000125" cy="557212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31" name="Rectangle 25"/>
            <p:cNvSpPr>
              <a:spLocks noChangeArrowheads="1"/>
            </p:cNvSpPr>
            <p:nvPr/>
          </p:nvSpPr>
          <p:spPr bwMode="gray">
            <a:xfrm>
              <a:off x="4819650" y="2287588"/>
              <a:ext cx="1000125" cy="557212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3600" noProof="1">
                  <a:solidFill>
                    <a:schemeClr val="tx1">
                      <a:lumMod val="50000"/>
                      <a:lumOff val="50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Wingdings" pitchFamily="2" charset="2"/>
                </a:rPr>
                <a:t>û</a:t>
              </a:r>
            </a:p>
          </p:txBody>
        </p:sp>
        <p:sp>
          <p:nvSpPr>
            <p:cNvPr id="32" name="Rectangle 26"/>
            <p:cNvSpPr>
              <a:spLocks noChangeArrowheads="1"/>
            </p:cNvSpPr>
            <p:nvPr/>
          </p:nvSpPr>
          <p:spPr bwMode="gray">
            <a:xfrm>
              <a:off x="5819775" y="2287588"/>
              <a:ext cx="1000125" cy="557212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33" name="Rectangle 27"/>
            <p:cNvSpPr>
              <a:spLocks noChangeArrowheads="1"/>
            </p:cNvSpPr>
            <p:nvPr/>
          </p:nvSpPr>
          <p:spPr bwMode="gray">
            <a:xfrm>
              <a:off x="7820025" y="2287588"/>
              <a:ext cx="1000125" cy="557212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34" name="Rectangle 28"/>
            <p:cNvSpPr>
              <a:spLocks noChangeArrowheads="1"/>
            </p:cNvSpPr>
            <p:nvPr/>
          </p:nvSpPr>
          <p:spPr bwMode="gray">
            <a:xfrm>
              <a:off x="2819400" y="2287588"/>
              <a:ext cx="1000125" cy="557212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3600" noProof="1">
                  <a:solidFill>
                    <a:schemeClr val="tx1">
                      <a:lumMod val="50000"/>
                      <a:lumOff val="50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Wingdings" pitchFamily="2" charset="2"/>
                </a:rPr>
                <a:t>û</a:t>
              </a:r>
            </a:p>
          </p:txBody>
        </p:sp>
        <p:sp>
          <p:nvSpPr>
            <p:cNvPr id="35" name="Rectangle 29"/>
            <p:cNvSpPr>
              <a:spLocks noChangeArrowheads="1"/>
            </p:cNvSpPr>
            <p:nvPr/>
          </p:nvSpPr>
          <p:spPr bwMode="gray">
            <a:xfrm>
              <a:off x="2819400" y="28384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36" name="Rectangle 30"/>
            <p:cNvSpPr>
              <a:spLocks noChangeArrowheads="1"/>
            </p:cNvSpPr>
            <p:nvPr/>
          </p:nvSpPr>
          <p:spPr bwMode="gray">
            <a:xfrm>
              <a:off x="4819650" y="28384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37" name="Rectangle 31"/>
            <p:cNvSpPr>
              <a:spLocks noChangeArrowheads="1"/>
            </p:cNvSpPr>
            <p:nvPr/>
          </p:nvSpPr>
          <p:spPr bwMode="gray">
            <a:xfrm>
              <a:off x="7820025" y="28384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38" name="Rectangle 32"/>
            <p:cNvSpPr>
              <a:spLocks noChangeArrowheads="1"/>
            </p:cNvSpPr>
            <p:nvPr/>
          </p:nvSpPr>
          <p:spPr bwMode="gray">
            <a:xfrm>
              <a:off x="5819775" y="28384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3600" noProof="1">
                  <a:solidFill>
                    <a:schemeClr val="tx1">
                      <a:lumMod val="50000"/>
                      <a:lumOff val="50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Wingdings" pitchFamily="2" charset="2"/>
                </a:rPr>
                <a:t>û</a:t>
              </a:r>
            </a:p>
          </p:txBody>
        </p:sp>
        <p:sp>
          <p:nvSpPr>
            <p:cNvPr id="39" name="Rectangle 33"/>
            <p:cNvSpPr>
              <a:spLocks noChangeArrowheads="1"/>
            </p:cNvSpPr>
            <p:nvPr/>
          </p:nvSpPr>
          <p:spPr bwMode="gray">
            <a:xfrm>
              <a:off x="3819525" y="28384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3600" noProof="1">
                  <a:solidFill>
                    <a:schemeClr val="tx1">
                      <a:lumMod val="50000"/>
                      <a:lumOff val="50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Wingdings" pitchFamily="2" charset="2"/>
                </a:rPr>
                <a:t>û</a:t>
              </a:r>
            </a:p>
          </p:txBody>
        </p:sp>
        <p:sp>
          <p:nvSpPr>
            <p:cNvPr id="40" name="Rectangle 34"/>
            <p:cNvSpPr>
              <a:spLocks noChangeArrowheads="1"/>
            </p:cNvSpPr>
            <p:nvPr/>
          </p:nvSpPr>
          <p:spPr bwMode="gray">
            <a:xfrm>
              <a:off x="3819525" y="33972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41" name="Rectangle 35"/>
            <p:cNvSpPr>
              <a:spLocks noChangeArrowheads="1"/>
            </p:cNvSpPr>
            <p:nvPr/>
          </p:nvSpPr>
          <p:spPr bwMode="gray">
            <a:xfrm>
              <a:off x="5819775" y="33972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42" name="Rectangle 36"/>
            <p:cNvSpPr>
              <a:spLocks noChangeArrowheads="1"/>
            </p:cNvSpPr>
            <p:nvPr/>
          </p:nvSpPr>
          <p:spPr bwMode="gray">
            <a:xfrm>
              <a:off x="7820025" y="33972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3600" noProof="1">
                  <a:solidFill>
                    <a:schemeClr val="tx1">
                      <a:lumMod val="50000"/>
                      <a:lumOff val="50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Wingdings" pitchFamily="2" charset="2"/>
                </a:rPr>
                <a:t>û</a:t>
              </a:r>
            </a:p>
          </p:txBody>
        </p:sp>
        <p:sp>
          <p:nvSpPr>
            <p:cNvPr id="43" name="Rectangle 37"/>
            <p:cNvSpPr>
              <a:spLocks noChangeArrowheads="1"/>
            </p:cNvSpPr>
            <p:nvPr/>
          </p:nvSpPr>
          <p:spPr bwMode="gray">
            <a:xfrm>
              <a:off x="4819650" y="33972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44" name="Rectangle 38"/>
            <p:cNvSpPr>
              <a:spLocks noChangeArrowheads="1"/>
            </p:cNvSpPr>
            <p:nvPr/>
          </p:nvSpPr>
          <p:spPr bwMode="gray">
            <a:xfrm>
              <a:off x="2819400" y="33972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45" name="Rectangle 39"/>
            <p:cNvSpPr>
              <a:spLocks noChangeArrowheads="1"/>
            </p:cNvSpPr>
            <p:nvPr/>
          </p:nvSpPr>
          <p:spPr bwMode="gray">
            <a:xfrm>
              <a:off x="7820025" y="39560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3600" noProof="1" smtClean="0">
                  <a:solidFill>
                    <a:schemeClr val="tx1">
                      <a:lumMod val="50000"/>
                      <a:lumOff val="50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Wingdings" pitchFamily="2" charset="2"/>
                </a:rPr>
                <a:t>û</a:t>
              </a:r>
              <a:endParaRPr lang="de-DE" sz="3600" noProof="1">
                <a:solidFill>
                  <a:schemeClr val="tx1">
                    <a:lumMod val="50000"/>
                    <a:lumOff val="50000"/>
                  </a:schemeClr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Wingdings" pitchFamily="2" charset="2"/>
              </a:endParaRPr>
            </a:p>
          </p:txBody>
        </p:sp>
        <p:sp>
          <p:nvSpPr>
            <p:cNvPr id="46" name="Rectangle 40"/>
            <p:cNvSpPr>
              <a:spLocks noChangeArrowheads="1"/>
            </p:cNvSpPr>
            <p:nvPr/>
          </p:nvSpPr>
          <p:spPr bwMode="gray">
            <a:xfrm>
              <a:off x="2819400" y="39560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47" name="Rectangle 41"/>
            <p:cNvSpPr>
              <a:spLocks noChangeArrowheads="1"/>
            </p:cNvSpPr>
            <p:nvPr/>
          </p:nvSpPr>
          <p:spPr bwMode="gray">
            <a:xfrm>
              <a:off x="5819775" y="39560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48" name="Rectangle 42"/>
            <p:cNvSpPr>
              <a:spLocks noChangeArrowheads="1"/>
            </p:cNvSpPr>
            <p:nvPr/>
          </p:nvSpPr>
          <p:spPr bwMode="gray">
            <a:xfrm>
              <a:off x="4819650" y="39560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3600" noProof="1">
                  <a:solidFill>
                    <a:schemeClr val="tx1">
                      <a:lumMod val="50000"/>
                      <a:lumOff val="50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Wingdings" pitchFamily="2" charset="2"/>
                </a:rPr>
                <a:t>û</a:t>
              </a:r>
            </a:p>
          </p:txBody>
        </p:sp>
        <p:sp>
          <p:nvSpPr>
            <p:cNvPr id="49" name="Rectangle 43"/>
            <p:cNvSpPr>
              <a:spLocks noChangeArrowheads="1"/>
            </p:cNvSpPr>
            <p:nvPr/>
          </p:nvSpPr>
          <p:spPr bwMode="gray">
            <a:xfrm>
              <a:off x="3819525" y="39560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50" name="Rectangle 44"/>
            <p:cNvSpPr>
              <a:spLocks noChangeArrowheads="1"/>
            </p:cNvSpPr>
            <p:nvPr/>
          </p:nvSpPr>
          <p:spPr bwMode="gray">
            <a:xfrm>
              <a:off x="3819525" y="45148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3600" noProof="1">
                  <a:solidFill>
                    <a:schemeClr val="tx1">
                      <a:lumMod val="50000"/>
                      <a:lumOff val="50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Wingdings" pitchFamily="2" charset="2"/>
                </a:rPr>
                <a:t>û</a:t>
              </a:r>
            </a:p>
          </p:txBody>
        </p:sp>
        <p:sp>
          <p:nvSpPr>
            <p:cNvPr id="51" name="Rectangle 45"/>
            <p:cNvSpPr>
              <a:spLocks noChangeArrowheads="1"/>
            </p:cNvSpPr>
            <p:nvPr/>
          </p:nvSpPr>
          <p:spPr bwMode="gray">
            <a:xfrm>
              <a:off x="5819775" y="45148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52" name="Rectangle 46"/>
            <p:cNvSpPr>
              <a:spLocks noChangeArrowheads="1"/>
            </p:cNvSpPr>
            <p:nvPr/>
          </p:nvSpPr>
          <p:spPr bwMode="gray">
            <a:xfrm>
              <a:off x="7820025" y="45148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53" name="Rectangle 47"/>
            <p:cNvSpPr>
              <a:spLocks noChangeArrowheads="1"/>
            </p:cNvSpPr>
            <p:nvPr/>
          </p:nvSpPr>
          <p:spPr bwMode="gray">
            <a:xfrm>
              <a:off x="4819650" y="45148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54" name="Rectangle 48"/>
            <p:cNvSpPr>
              <a:spLocks noChangeArrowheads="1"/>
            </p:cNvSpPr>
            <p:nvPr/>
          </p:nvSpPr>
          <p:spPr bwMode="gray">
            <a:xfrm>
              <a:off x="2819400" y="45148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3600" noProof="1">
                  <a:solidFill>
                    <a:schemeClr val="tx1">
                      <a:lumMod val="50000"/>
                      <a:lumOff val="50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Wingdings" pitchFamily="2" charset="2"/>
                </a:rPr>
                <a:t>û</a:t>
              </a:r>
            </a:p>
          </p:txBody>
        </p:sp>
        <p:sp>
          <p:nvSpPr>
            <p:cNvPr id="55" name="Rectangle 49"/>
            <p:cNvSpPr>
              <a:spLocks noChangeArrowheads="1"/>
            </p:cNvSpPr>
            <p:nvPr/>
          </p:nvSpPr>
          <p:spPr bwMode="gray">
            <a:xfrm>
              <a:off x="3819525" y="50736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56" name="Rectangle 50"/>
            <p:cNvSpPr>
              <a:spLocks noChangeArrowheads="1"/>
            </p:cNvSpPr>
            <p:nvPr/>
          </p:nvSpPr>
          <p:spPr bwMode="gray">
            <a:xfrm>
              <a:off x="4819650" y="50736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57" name="Rectangle 51"/>
            <p:cNvSpPr>
              <a:spLocks noChangeArrowheads="1"/>
            </p:cNvSpPr>
            <p:nvPr/>
          </p:nvSpPr>
          <p:spPr bwMode="gray">
            <a:xfrm>
              <a:off x="5819775" y="50736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3600" noProof="1">
                  <a:solidFill>
                    <a:schemeClr val="tx1">
                      <a:lumMod val="50000"/>
                      <a:lumOff val="50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Wingdings" pitchFamily="2" charset="2"/>
                </a:rPr>
                <a:t>û</a:t>
              </a:r>
            </a:p>
          </p:txBody>
        </p:sp>
        <p:sp>
          <p:nvSpPr>
            <p:cNvPr id="58" name="Rectangle 52"/>
            <p:cNvSpPr>
              <a:spLocks noChangeArrowheads="1"/>
            </p:cNvSpPr>
            <p:nvPr/>
          </p:nvSpPr>
          <p:spPr bwMode="gray">
            <a:xfrm>
              <a:off x="7820025" y="50736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endParaRPr lang="de-DE"/>
            </a:p>
          </p:txBody>
        </p:sp>
        <p:sp>
          <p:nvSpPr>
            <p:cNvPr id="60" name="Rectangle 53"/>
            <p:cNvSpPr>
              <a:spLocks noChangeArrowheads="1"/>
            </p:cNvSpPr>
            <p:nvPr/>
          </p:nvSpPr>
          <p:spPr bwMode="gray">
            <a:xfrm>
              <a:off x="2819400" y="5073650"/>
              <a:ext cx="1000125" cy="557213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EAEAEA">
                    <a:alpha val="50000"/>
                  </a:srgbClr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</p:spPr>
          <p:txBody>
            <a:bodyPr lIns="108000" tIns="108000" rIns="108000" bIns="72000" anchor="ctr"/>
            <a:lstStyle/>
            <a:p>
              <a:pPr algn="ctr">
                <a:lnSpc>
                  <a:spcPct val="90000"/>
                </a:lnSpc>
                <a:spcAft>
                  <a:spcPct val="20000"/>
                </a:spcAft>
              </a:pPr>
              <a:r>
                <a:rPr lang="de-DE" sz="3600" noProof="1">
                  <a:solidFill>
                    <a:schemeClr val="tx1">
                      <a:lumMod val="50000"/>
                      <a:lumOff val="50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Wingdings" pitchFamily="2" charset="2"/>
                </a:rPr>
                <a:t>û</a:t>
              </a:r>
            </a:p>
          </p:txBody>
        </p:sp>
        <p:grpSp>
          <p:nvGrpSpPr>
            <p:cNvPr id="61" name="Group 54"/>
            <p:cNvGrpSpPr>
              <a:grpSpLocks/>
            </p:cNvGrpSpPr>
            <p:nvPr/>
          </p:nvGrpSpPr>
          <p:grpSpPr bwMode="auto">
            <a:xfrm>
              <a:off x="6600825" y="1397000"/>
              <a:ext cx="1438275" cy="4394200"/>
              <a:chOff x="4158" y="654"/>
              <a:chExt cx="906" cy="3133"/>
            </a:xfrm>
          </p:grpSpPr>
          <p:sp>
            <p:nvSpPr>
              <p:cNvPr id="62" name="Rectangle 55"/>
              <p:cNvSpPr>
                <a:spLocks noChangeArrowheads="1"/>
              </p:cNvSpPr>
              <p:nvPr/>
            </p:nvSpPr>
            <p:spPr bwMode="gray">
              <a:xfrm>
                <a:off x="4158" y="654"/>
                <a:ext cx="906" cy="3133"/>
              </a:xfrm>
              <a:prstGeom prst="rect">
                <a:avLst/>
              </a:prstGeom>
              <a:solidFill>
                <a:srgbClr val="0061B2">
                  <a:alpha val="50195"/>
                </a:srgbClr>
              </a:solidFill>
              <a:ln w="12700">
                <a:noFill/>
                <a:miter lim="800000"/>
                <a:headEnd/>
                <a:tailEnd/>
              </a:ln>
            </p:spPr>
            <p:txBody>
              <a:bodyPr lIns="108000" tIns="108000" rIns="108000" bIns="72000"/>
              <a:lstStyle/>
              <a:p>
                <a:pPr algn="ctr">
                  <a:lnSpc>
                    <a:spcPct val="90000"/>
                  </a:lnSpc>
                  <a:spcAft>
                    <a:spcPct val="20000"/>
                  </a:spcAft>
                </a:pPr>
                <a:endParaRPr lang="de-DE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64" name="Group 56"/>
              <p:cNvGrpSpPr>
                <a:grpSpLocks/>
              </p:cNvGrpSpPr>
              <p:nvPr/>
            </p:nvGrpSpPr>
            <p:grpSpPr bwMode="auto">
              <a:xfrm>
                <a:off x="4158" y="654"/>
                <a:ext cx="906" cy="3133"/>
                <a:chOff x="4158" y="960"/>
                <a:chExt cx="906" cy="2827"/>
              </a:xfrm>
            </p:grpSpPr>
            <p:sp>
              <p:nvSpPr>
                <p:cNvPr id="65" name="Rectangle 57"/>
                <p:cNvSpPr>
                  <a:spLocks noChangeArrowheads="1"/>
                </p:cNvSpPr>
                <p:nvPr/>
              </p:nvSpPr>
              <p:spPr bwMode="gray">
                <a:xfrm>
                  <a:off x="4158" y="960"/>
                  <a:ext cx="906" cy="470"/>
                </a:xfrm>
                <a:prstGeom prst="rect">
                  <a:avLst/>
                </a:prstGeom>
                <a:noFill/>
                <a:ln w="12700">
                  <a:solidFill>
                    <a:srgbClr val="DDDDDD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108000" tIns="108000" rIns="108000" bIns="72000" anchor="ctr"/>
                <a:lstStyle/>
                <a:p>
                  <a:pPr algn="ctr">
                    <a:lnSpc>
                      <a:spcPct val="90000"/>
                    </a:lnSpc>
                    <a:spcAft>
                      <a:spcPct val="20000"/>
                    </a:spcAft>
                  </a:pPr>
                  <a:r>
                    <a:rPr lang="de-DE" sz="4400" noProof="1">
                      <a:solidFill>
                        <a:schemeClr val="bg1"/>
                      </a:solidFill>
                      <a:effectLst>
                        <a:innerShdw blurRad="63500" dist="50800" dir="13500000">
                          <a:prstClr val="black">
                            <a:alpha val="50000"/>
                          </a:prstClr>
                        </a:innerShdw>
                      </a:effectLst>
                      <a:latin typeface="Wingdings" pitchFamily="2" charset="2"/>
                    </a:rPr>
                    <a:t>û</a:t>
                  </a:r>
                  <a:endParaRPr lang="de-DE" noProof="1">
                    <a:solidFill>
                      <a:schemeClr val="bg1"/>
                    </a:solidFill>
                    <a:effectLst>
                      <a:innerShdw blurRad="63500" dist="50800" dir="13500000">
                        <a:prstClr val="black">
                          <a:alpha val="50000"/>
                        </a:prstClr>
                      </a:innerShdw>
                    </a:effectLst>
                  </a:endParaRPr>
                </a:p>
              </p:txBody>
            </p:sp>
            <p:sp>
              <p:nvSpPr>
                <p:cNvPr id="66" name="Rectangle 58"/>
                <p:cNvSpPr>
                  <a:spLocks noChangeArrowheads="1"/>
                </p:cNvSpPr>
                <p:nvPr/>
              </p:nvSpPr>
              <p:spPr bwMode="gray">
                <a:xfrm>
                  <a:off x="4158" y="3317"/>
                  <a:ext cx="906" cy="470"/>
                </a:xfrm>
                <a:prstGeom prst="rect">
                  <a:avLst/>
                </a:prstGeom>
                <a:noFill/>
                <a:ln w="12700">
                  <a:solidFill>
                    <a:srgbClr val="DDDDDD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108000" tIns="108000" rIns="108000" bIns="72000" anchor="ctr"/>
                <a:lstStyle/>
                <a:p>
                  <a:pPr algn="ctr"/>
                  <a:r>
                    <a:rPr lang="de-DE" sz="4400" noProof="1">
                      <a:solidFill>
                        <a:schemeClr val="bg1"/>
                      </a:solidFill>
                      <a:effectLst>
                        <a:innerShdw blurRad="63500" dist="50800" dir="13500000">
                          <a:prstClr val="black">
                            <a:alpha val="50000"/>
                          </a:prstClr>
                        </a:innerShdw>
                      </a:effectLst>
                      <a:latin typeface="Wingdings" pitchFamily="2" charset="2"/>
                    </a:rPr>
                    <a:t>û</a:t>
                  </a:r>
                </a:p>
              </p:txBody>
            </p:sp>
            <p:sp>
              <p:nvSpPr>
                <p:cNvPr id="68" name="Rectangle 59"/>
                <p:cNvSpPr>
                  <a:spLocks noChangeArrowheads="1"/>
                </p:cNvSpPr>
                <p:nvPr/>
              </p:nvSpPr>
              <p:spPr bwMode="gray">
                <a:xfrm>
                  <a:off x="4158" y="2373"/>
                  <a:ext cx="906" cy="470"/>
                </a:xfrm>
                <a:prstGeom prst="rect">
                  <a:avLst/>
                </a:prstGeom>
                <a:noFill/>
                <a:ln w="12700">
                  <a:solidFill>
                    <a:srgbClr val="DDDDDD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108000" tIns="108000" rIns="108000" bIns="72000" anchor="ctr"/>
                <a:lstStyle/>
                <a:p>
                  <a:pPr algn="ctr"/>
                  <a:endParaRPr lang="de-DE" sz="4400">
                    <a:solidFill>
                      <a:schemeClr val="bg1"/>
                    </a:solidFill>
                    <a:latin typeface="Wingdings" pitchFamily="2" charset="2"/>
                  </a:endParaRPr>
                </a:p>
              </p:txBody>
            </p:sp>
            <p:sp>
              <p:nvSpPr>
                <p:cNvPr id="69" name="Rectangle 60"/>
                <p:cNvSpPr>
                  <a:spLocks noChangeArrowheads="1"/>
                </p:cNvSpPr>
                <p:nvPr/>
              </p:nvSpPr>
              <p:spPr bwMode="gray">
                <a:xfrm>
                  <a:off x="4158" y="2842"/>
                  <a:ext cx="906" cy="470"/>
                </a:xfrm>
                <a:prstGeom prst="rect">
                  <a:avLst/>
                </a:prstGeom>
                <a:noFill/>
                <a:ln w="12700">
                  <a:solidFill>
                    <a:srgbClr val="DDDDDD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108000" tIns="108000" rIns="108000" bIns="72000" anchor="ctr"/>
                <a:lstStyle/>
                <a:p>
                  <a:pPr algn="ctr"/>
                  <a:r>
                    <a:rPr lang="de-DE" sz="4400" noProof="1">
                      <a:solidFill>
                        <a:schemeClr val="bg1"/>
                      </a:solidFill>
                      <a:effectLst>
                        <a:innerShdw blurRad="63500" dist="50800" dir="13500000">
                          <a:prstClr val="black">
                            <a:alpha val="50000"/>
                          </a:prstClr>
                        </a:innerShdw>
                      </a:effectLst>
                      <a:latin typeface="Wingdings" pitchFamily="2" charset="2"/>
                    </a:rPr>
                    <a:t>û</a:t>
                  </a:r>
                </a:p>
              </p:txBody>
            </p:sp>
            <p:sp>
              <p:nvSpPr>
                <p:cNvPr id="70" name="Rectangle 61"/>
                <p:cNvSpPr>
                  <a:spLocks noChangeArrowheads="1"/>
                </p:cNvSpPr>
                <p:nvPr/>
              </p:nvSpPr>
              <p:spPr bwMode="gray">
                <a:xfrm>
                  <a:off x="4158" y="1433"/>
                  <a:ext cx="906" cy="470"/>
                </a:xfrm>
                <a:prstGeom prst="rect">
                  <a:avLst/>
                </a:prstGeom>
                <a:noFill/>
                <a:ln w="12700">
                  <a:solidFill>
                    <a:srgbClr val="DDDDDD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108000" tIns="108000" rIns="108000" bIns="72000" anchor="ctr"/>
                <a:lstStyle/>
                <a:p>
                  <a:pPr algn="ctr"/>
                  <a:endParaRPr lang="de-DE" sz="4400">
                    <a:solidFill>
                      <a:schemeClr val="bg1"/>
                    </a:solidFill>
                    <a:latin typeface="Wingdings" pitchFamily="2" charset="2"/>
                  </a:endParaRPr>
                </a:p>
              </p:txBody>
            </p:sp>
            <p:sp>
              <p:nvSpPr>
                <p:cNvPr id="72" name="Rectangle 62"/>
                <p:cNvSpPr>
                  <a:spLocks noChangeArrowheads="1"/>
                </p:cNvSpPr>
                <p:nvPr/>
              </p:nvSpPr>
              <p:spPr bwMode="gray">
                <a:xfrm>
                  <a:off x="4158" y="1903"/>
                  <a:ext cx="906" cy="470"/>
                </a:xfrm>
                <a:prstGeom prst="rect">
                  <a:avLst/>
                </a:prstGeom>
                <a:noFill/>
                <a:ln w="12700">
                  <a:solidFill>
                    <a:srgbClr val="DDDDDD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108000" tIns="108000" rIns="108000" bIns="72000" anchor="ctr"/>
                <a:lstStyle/>
                <a:p>
                  <a:pPr algn="ctr"/>
                  <a:r>
                    <a:rPr lang="de-DE" sz="4400" noProof="1">
                      <a:solidFill>
                        <a:schemeClr val="bg1"/>
                      </a:solidFill>
                      <a:effectLst>
                        <a:innerShdw blurRad="63500" dist="50800" dir="13500000">
                          <a:prstClr val="black">
                            <a:alpha val="50000"/>
                          </a:prstClr>
                        </a:innerShdw>
                      </a:effectLst>
                      <a:latin typeface="Wingdings" pitchFamily="2" charset="2"/>
                    </a:rPr>
                    <a:t>û</a:t>
                  </a:r>
                </a:p>
              </p:txBody>
            </p:sp>
          </p:grpSp>
        </p:grpSp>
        <p:sp>
          <p:nvSpPr>
            <p:cNvPr id="22" name="Text Box 16"/>
            <p:cNvSpPr txBox="1">
              <a:spLocks noChangeArrowheads="1"/>
            </p:cNvSpPr>
            <p:nvPr/>
          </p:nvSpPr>
          <p:spPr bwMode="gray">
            <a:xfrm>
              <a:off x="323850" y="2287588"/>
              <a:ext cx="2495550" cy="550862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sz="1600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laceholder 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57954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/>
        </p:nvGrpSpPr>
        <p:grpSpPr>
          <a:xfrm>
            <a:off x="323895" y="1556864"/>
            <a:ext cx="4086540" cy="504000"/>
            <a:chOff x="323895" y="1556864"/>
            <a:chExt cx="4086540" cy="504000"/>
          </a:xfrm>
        </p:grpSpPr>
        <p:sp>
          <p:nvSpPr>
            <p:cNvPr id="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5" y="1556864"/>
              <a:ext cx="3683360" cy="503911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Agenda Slides</a:t>
              </a:r>
            </a:p>
          </p:txBody>
        </p:sp>
        <p:sp>
          <p:nvSpPr>
            <p:cNvPr id="3" name="Rechteck 2"/>
            <p:cNvSpPr/>
            <p:nvPr/>
          </p:nvSpPr>
          <p:spPr>
            <a:xfrm>
              <a:off x="323895" y="1556953"/>
              <a:ext cx="324000" cy="503911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323895" y="2180757"/>
            <a:ext cx="4086181" cy="504000"/>
            <a:chOff x="323895" y="2180757"/>
            <a:chExt cx="4086181" cy="504000"/>
          </a:xfrm>
        </p:grpSpPr>
        <p:sp>
          <p:nvSpPr>
            <p:cNvPr id="5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2180757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Gantt Charts</a:t>
              </a:r>
            </a:p>
          </p:txBody>
        </p:sp>
        <p:sp>
          <p:nvSpPr>
            <p:cNvPr id="92" name="Rechteck 91"/>
            <p:cNvSpPr/>
            <p:nvPr/>
          </p:nvSpPr>
          <p:spPr>
            <a:xfrm>
              <a:off x="323895" y="2180758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2</a:t>
              </a:r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323895" y="2804650"/>
            <a:ext cx="4086181" cy="504000"/>
            <a:chOff x="323895" y="2804650"/>
            <a:chExt cx="4086181" cy="504000"/>
          </a:xfrm>
        </p:grpSpPr>
        <p:sp>
          <p:nvSpPr>
            <p:cNvPr id="93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2804650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Funnels 3D</a:t>
              </a:r>
            </a:p>
          </p:txBody>
        </p:sp>
        <p:sp>
          <p:nvSpPr>
            <p:cNvPr id="94" name="Rechteck 93"/>
            <p:cNvSpPr/>
            <p:nvPr/>
          </p:nvSpPr>
          <p:spPr>
            <a:xfrm>
              <a:off x="323895" y="2804651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3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323895" y="3428543"/>
            <a:ext cx="4086181" cy="504000"/>
            <a:chOff x="323895" y="3428543"/>
            <a:chExt cx="4086181" cy="504000"/>
          </a:xfrm>
        </p:grpSpPr>
        <p:sp>
          <p:nvSpPr>
            <p:cNvPr id="9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3428543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Pie / Donut Charts</a:t>
              </a:r>
            </a:p>
          </p:txBody>
        </p:sp>
        <p:sp>
          <p:nvSpPr>
            <p:cNvPr id="96" name="Rechteck 95"/>
            <p:cNvSpPr/>
            <p:nvPr/>
          </p:nvSpPr>
          <p:spPr>
            <a:xfrm>
              <a:off x="323895" y="3428544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4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323895" y="4052436"/>
            <a:ext cx="4086181" cy="504000"/>
            <a:chOff x="323895" y="4052436"/>
            <a:chExt cx="4086181" cy="504000"/>
          </a:xfrm>
        </p:grpSpPr>
        <p:sp>
          <p:nvSpPr>
            <p:cNvPr id="9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4052436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Overlapping Text Boxes</a:t>
              </a:r>
            </a:p>
          </p:txBody>
        </p:sp>
        <p:sp>
          <p:nvSpPr>
            <p:cNvPr id="98" name="Rechteck 97"/>
            <p:cNvSpPr/>
            <p:nvPr/>
          </p:nvSpPr>
          <p:spPr>
            <a:xfrm>
              <a:off x="323895" y="4052437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5</a:t>
              </a:r>
            </a:p>
          </p:txBody>
        </p:sp>
      </p:grpSp>
      <p:grpSp>
        <p:nvGrpSpPr>
          <p:cNvPr id="9" name="Gruppieren 8"/>
          <p:cNvGrpSpPr/>
          <p:nvPr/>
        </p:nvGrpSpPr>
        <p:grpSpPr>
          <a:xfrm>
            <a:off x="323895" y="4676329"/>
            <a:ext cx="4086181" cy="504000"/>
            <a:chOff x="323895" y="4676329"/>
            <a:chExt cx="4086181" cy="504000"/>
          </a:xfrm>
        </p:grpSpPr>
        <p:sp>
          <p:nvSpPr>
            <p:cNvPr id="9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4676329"/>
              <a:ext cx="3682998" cy="503999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16200000" scaled="0"/>
              <a:tileRect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chemeClr val="bg1"/>
                  </a:solidFill>
                </a:rPr>
                <a:t>Timelines Arrows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323895" y="4676330"/>
              <a:ext cx="324000" cy="503999"/>
            </a:xfrm>
            <a:prstGeom prst="rect">
              <a:avLst/>
            </a:pr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rgbClr val="0070C0"/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6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323895" y="5300224"/>
            <a:ext cx="4086181" cy="504000"/>
            <a:chOff x="323895" y="5300224"/>
            <a:chExt cx="4086181" cy="504000"/>
          </a:xfrm>
        </p:grpSpPr>
        <p:sp>
          <p:nvSpPr>
            <p:cNvPr id="101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5300224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 smtClean="0">
                  <a:solidFill>
                    <a:srgbClr val="5F5F5F"/>
                  </a:solidFill>
                </a:rPr>
                <a:t>3D Spheres </a:t>
              </a:r>
              <a:r>
                <a:rPr lang="en-US" sz="1600" b="1" noProof="1">
                  <a:solidFill>
                    <a:srgbClr val="5F5F5F"/>
                  </a:solidFill>
                </a:rPr>
                <a:t>with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Core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102" name="Rechteck 101"/>
            <p:cNvSpPr/>
            <p:nvPr/>
          </p:nvSpPr>
          <p:spPr>
            <a:xfrm>
              <a:off x="323895" y="5300225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7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4" name="Gruppieren 123"/>
          <p:cNvGrpSpPr/>
          <p:nvPr/>
        </p:nvGrpSpPr>
        <p:grpSpPr>
          <a:xfrm>
            <a:off x="4733970" y="1556862"/>
            <a:ext cx="4086181" cy="504000"/>
            <a:chOff x="4733970" y="1556862"/>
            <a:chExt cx="4086181" cy="504000"/>
          </a:xfrm>
        </p:grpSpPr>
        <p:sp>
          <p:nvSpPr>
            <p:cNvPr id="5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1556862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Step Process Chart</a:t>
              </a:r>
            </a:p>
          </p:txBody>
        </p:sp>
        <p:sp>
          <p:nvSpPr>
            <p:cNvPr id="58" name="Rechteck 57"/>
            <p:cNvSpPr/>
            <p:nvPr/>
          </p:nvSpPr>
          <p:spPr>
            <a:xfrm>
              <a:off x="4733970" y="1556863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8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5" name="Gruppieren 124"/>
          <p:cNvGrpSpPr/>
          <p:nvPr/>
        </p:nvGrpSpPr>
        <p:grpSpPr>
          <a:xfrm>
            <a:off x="4733970" y="2180756"/>
            <a:ext cx="4086181" cy="504000"/>
            <a:chOff x="4733970" y="2180756"/>
            <a:chExt cx="4086181" cy="504000"/>
          </a:xfrm>
        </p:grpSpPr>
        <p:sp>
          <p:nvSpPr>
            <p:cNvPr id="5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2180756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Curves and Trend Charts</a:t>
              </a:r>
            </a:p>
          </p:txBody>
        </p:sp>
        <p:sp>
          <p:nvSpPr>
            <p:cNvPr id="60" name="Rechteck 59"/>
            <p:cNvSpPr/>
            <p:nvPr/>
          </p:nvSpPr>
          <p:spPr>
            <a:xfrm>
              <a:off x="4733970" y="2180757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9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6" name="Gruppieren 125"/>
          <p:cNvGrpSpPr/>
          <p:nvPr/>
        </p:nvGrpSpPr>
        <p:grpSpPr>
          <a:xfrm>
            <a:off x="4733970" y="2804650"/>
            <a:ext cx="4086181" cy="504000"/>
            <a:chOff x="4733970" y="2804650"/>
            <a:chExt cx="4086181" cy="504000"/>
          </a:xfrm>
        </p:grpSpPr>
        <p:sp>
          <p:nvSpPr>
            <p:cNvPr id="61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2804650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3D Spheres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Fill </a:t>
              </a:r>
              <a:r>
                <a:rPr lang="en-US" sz="1600" b="1" noProof="1">
                  <a:solidFill>
                    <a:srgbClr val="5F5F5F"/>
                  </a:solidFill>
                </a:rPr>
                <a:t>L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evels</a:t>
              </a:r>
              <a:r>
                <a:rPr lang="en-US" sz="1600" b="1" noProof="1">
                  <a:solidFill>
                    <a:srgbClr val="5F5F5F"/>
                  </a:solidFill>
                </a:rPr>
                <a:t>	</a:t>
              </a:r>
            </a:p>
          </p:txBody>
        </p:sp>
        <p:sp>
          <p:nvSpPr>
            <p:cNvPr id="62" name="Rechteck 61"/>
            <p:cNvSpPr/>
            <p:nvPr/>
          </p:nvSpPr>
          <p:spPr>
            <a:xfrm>
              <a:off x="4733970" y="2804651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0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7" name="Gruppieren 126"/>
          <p:cNvGrpSpPr/>
          <p:nvPr/>
        </p:nvGrpSpPr>
        <p:grpSpPr>
          <a:xfrm>
            <a:off x="4733970" y="3428544"/>
            <a:ext cx="4086181" cy="504000"/>
            <a:chOff x="4733970" y="3428544"/>
            <a:chExt cx="4086181" cy="504000"/>
          </a:xfrm>
        </p:grpSpPr>
        <p:sp>
          <p:nvSpPr>
            <p:cNvPr id="63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3428544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Data-driven Diagrams	</a:t>
              </a:r>
            </a:p>
          </p:txBody>
        </p:sp>
        <p:sp>
          <p:nvSpPr>
            <p:cNvPr id="64" name="Rechteck 63"/>
            <p:cNvSpPr/>
            <p:nvPr/>
          </p:nvSpPr>
          <p:spPr>
            <a:xfrm>
              <a:off x="4733970" y="3428545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1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8" name="Gruppieren 127"/>
          <p:cNvGrpSpPr/>
          <p:nvPr/>
        </p:nvGrpSpPr>
        <p:grpSpPr>
          <a:xfrm>
            <a:off x="4733970" y="4052438"/>
            <a:ext cx="4086181" cy="504000"/>
            <a:chOff x="4733970" y="4052438"/>
            <a:chExt cx="4086181" cy="504000"/>
          </a:xfrm>
        </p:grpSpPr>
        <p:sp>
          <p:nvSpPr>
            <p:cNvPr id="6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4052438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Arrow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Process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66" name="Rechteck 65"/>
            <p:cNvSpPr/>
            <p:nvPr/>
          </p:nvSpPr>
          <p:spPr>
            <a:xfrm>
              <a:off x="4733970" y="4052439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2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9" name="Gruppieren 128"/>
          <p:cNvGrpSpPr/>
          <p:nvPr/>
        </p:nvGrpSpPr>
        <p:grpSpPr>
          <a:xfrm>
            <a:off x="4733970" y="4676332"/>
            <a:ext cx="4086181" cy="504000"/>
            <a:chOff x="4733970" y="4676332"/>
            <a:chExt cx="4086181" cy="504000"/>
          </a:xfrm>
        </p:grpSpPr>
        <p:sp>
          <p:nvSpPr>
            <p:cNvPr id="6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4676332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Circle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Diagram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68" name="Rechteck 67"/>
            <p:cNvSpPr/>
            <p:nvPr/>
          </p:nvSpPr>
          <p:spPr>
            <a:xfrm>
              <a:off x="4733970" y="4676333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3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30" name="Gruppieren 129"/>
          <p:cNvGrpSpPr/>
          <p:nvPr/>
        </p:nvGrpSpPr>
        <p:grpSpPr>
          <a:xfrm>
            <a:off x="4733970" y="5300225"/>
            <a:ext cx="4086181" cy="504000"/>
            <a:chOff x="4733970" y="5300225"/>
            <a:chExt cx="4086181" cy="504000"/>
          </a:xfrm>
        </p:grpSpPr>
        <p:sp>
          <p:nvSpPr>
            <p:cNvPr id="6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5300225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3D Arrows</a:t>
              </a:r>
            </a:p>
          </p:txBody>
        </p:sp>
        <p:sp>
          <p:nvSpPr>
            <p:cNvPr id="70" name="Rechteck 69"/>
            <p:cNvSpPr/>
            <p:nvPr/>
          </p:nvSpPr>
          <p:spPr>
            <a:xfrm>
              <a:off x="4733970" y="5300226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4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siness Starter Package</a:t>
            </a:r>
            <a:endParaRPr lang="en-US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laceholder for your own sub headline</a:t>
            </a:r>
          </a:p>
        </p:txBody>
      </p:sp>
    </p:spTree>
    <p:extLst>
      <p:ext uri="{BB962C8B-B14F-4D97-AF65-F5344CB8AC3E}">
        <p14:creationId xmlns:p14="http://schemas.microsoft.com/office/powerpoint/2010/main" val="3835098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Timelines - Arrow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Placeholder for your own sub headline</a:t>
            </a:r>
          </a:p>
        </p:txBody>
      </p:sp>
      <p:grpSp>
        <p:nvGrpSpPr>
          <p:cNvPr id="11" name="Gruppieren 10"/>
          <p:cNvGrpSpPr/>
          <p:nvPr/>
        </p:nvGrpSpPr>
        <p:grpSpPr>
          <a:xfrm>
            <a:off x="315913" y="1451728"/>
            <a:ext cx="8504237" cy="4350585"/>
            <a:chOff x="315913" y="1451728"/>
            <a:chExt cx="8504237" cy="4350585"/>
          </a:xfrm>
        </p:grpSpPr>
        <p:grpSp>
          <p:nvGrpSpPr>
            <p:cNvPr id="52" name="Group 5"/>
            <p:cNvGrpSpPr>
              <a:grpSpLocks/>
            </p:cNvGrpSpPr>
            <p:nvPr/>
          </p:nvGrpSpPr>
          <p:grpSpPr bwMode="gray">
            <a:xfrm>
              <a:off x="323850" y="2951163"/>
              <a:ext cx="8496300" cy="1012825"/>
              <a:chOff x="204" y="2201"/>
              <a:chExt cx="4830" cy="576"/>
            </a:xfrm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53" name="Rectangle 6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204" y="2357"/>
                <a:ext cx="4636" cy="264"/>
              </a:xfrm>
              <a:prstGeom prst="rect">
                <a:avLst/>
              </a:prstGeom>
              <a:gradFill rotWithShape="1">
                <a:gsLst>
                  <a:gs pos="0">
                    <a:srgbClr val="D7D7D7"/>
                  </a:gs>
                  <a:gs pos="100000">
                    <a:srgbClr val="AFAFAF"/>
                  </a:gs>
                </a:gsLst>
                <a:lin ang="0" scaled="1"/>
              </a:gra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defTabSz="628650">
                  <a:tabLst>
                    <a:tab pos="361950" algn="r"/>
                    <a:tab pos="1076325" algn="r"/>
                    <a:tab pos="1790700" algn="r"/>
                    <a:tab pos="2514600" algn="r"/>
                    <a:tab pos="3228975" algn="r"/>
                    <a:tab pos="3943350" algn="r"/>
                    <a:tab pos="4667250" algn="r"/>
                    <a:tab pos="5381625" algn="r"/>
                    <a:tab pos="6096000" algn="r"/>
                    <a:tab pos="6819900" algn="r"/>
                  </a:tabLst>
                </a:pPr>
                <a:endParaRPr lang="de-DE" sz="1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AutoShape 7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 rot="5400000">
                <a:off x="4618" y="2360"/>
                <a:ext cx="576" cy="257"/>
              </a:xfrm>
              <a:prstGeom prst="flowChartExtract">
                <a:avLst/>
              </a:prstGeom>
              <a:solidFill>
                <a:srgbClr val="AFAFAF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10" name="Gruppieren 9"/>
            <p:cNvGrpSpPr/>
            <p:nvPr/>
          </p:nvGrpSpPr>
          <p:grpSpPr>
            <a:xfrm>
              <a:off x="323850" y="4481513"/>
              <a:ext cx="2735263" cy="1320800"/>
              <a:chOff x="323850" y="4481513"/>
              <a:chExt cx="2735263" cy="1320800"/>
            </a:xfrm>
          </p:grpSpPr>
          <p:sp>
            <p:nvSpPr>
              <p:cNvPr id="55" name="Rectangle 18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23850" y="4481513"/>
                <a:ext cx="2735263" cy="360362"/>
              </a:xfrm>
              <a:prstGeom prst="rect">
                <a:avLst/>
              </a:prstGeom>
              <a:gradFill rotWithShape="1">
                <a:gsLst>
                  <a:gs pos="0">
                    <a:schemeClr val="bg1">
                      <a:lumMod val="9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5400000" scaled="1"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algn="ctr" defTabSz="801688" eaLnBrk="0" hangingPunct="0"/>
                <a:r>
                  <a:rPr lang="en-GB" sz="1600" b="1" noProof="1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50% Compatibility</a:t>
                </a:r>
                <a:endParaRPr lang="en-GB" sz="1600" b="1" noProof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56" name="Rectangle 5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23850" y="4841875"/>
                <a:ext cx="2735263" cy="960438"/>
              </a:xfrm>
              <a:prstGeom prst="rect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108000" tIns="108000" rIns="144000" bIns="72000"/>
              <a:lstStyle/>
              <a:p>
                <a:pPr marL="190500" indent="-190500">
                  <a:lnSpc>
                    <a:spcPct val="95000"/>
                  </a:lnSpc>
                  <a:spcAft>
                    <a:spcPts val="800"/>
                  </a:spcAft>
                  <a:buClr>
                    <a:srgbClr val="292929"/>
                  </a:buClr>
                  <a:buFont typeface="Wingdings" pitchFamily="2" charset="2"/>
                  <a:buChar char="§"/>
                </a:pPr>
                <a:r>
                  <a:rPr lang="en-GB" sz="1600" noProof="1">
                    <a:solidFill>
                      <a:srgbClr val="000000"/>
                    </a:solidFill>
                  </a:rPr>
                  <a:t>Place your text. </a:t>
                </a:r>
                <a:endParaRPr lang="en-GB" sz="1600" noProof="1" smtClean="0">
                  <a:solidFill>
                    <a:srgbClr val="000000"/>
                  </a:solidFill>
                </a:endParaRPr>
              </a:p>
              <a:p>
                <a:pPr marL="190500" indent="-190500">
                  <a:lnSpc>
                    <a:spcPct val="95000"/>
                  </a:lnSpc>
                  <a:spcAft>
                    <a:spcPts val="800"/>
                  </a:spcAft>
                  <a:buClr>
                    <a:srgbClr val="292929"/>
                  </a:buClr>
                  <a:buFont typeface="Wingdings" pitchFamily="2" charset="2"/>
                  <a:buChar char="§"/>
                </a:pPr>
                <a:r>
                  <a:rPr lang="en-GB" sz="1600" noProof="1" smtClean="0">
                    <a:solidFill>
                      <a:srgbClr val="000000"/>
                    </a:solidFill>
                  </a:rPr>
                  <a:t>This </a:t>
                </a:r>
                <a:r>
                  <a:rPr lang="en-GB" sz="1600" noProof="1">
                    <a:solidFill>
                      <a:srgbClr val="000000"/>
                    </a:solidFill>
                  </a:rPr>
                  <a:t>is a place for own text. </a:t>
                </a:r>
              </a:p>
            </p:txBody>
          </p:sp>
        </p:grpSp>
        <p:grpSp>
          <p:nvGrpSpPr>
            <p:cNvPr id="9" name="Gruppieren 8"/>
            <p:cNvGrpSpPr/>
            <p:nvPr/>
          </p:nvGrpSpPr>
          <p:grpSpPr>
            <a:xfrm>
              <a:off x="3203575" y="4479925"/>
              <a:ext cx="2735263" cy="1320800"/>
              <a:chOff x="3203575" y="4479925"/>
              <a:chExt cx="2735263" cy="1320800"/>
            </a:xfrm>
          </p:grpSpPr>
          <p:sp>
            <p:nvSpPr>
              <p:cNvPr id="57" name="Rectangle 18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203575" y="4479925"/>
                <a:ext cx="2735263" cy="360363"/>
              </a:xfrm>
              <a:prstGeom prst="rect">
                <a:avLst/>
              </a:prstGeom>
              <a:gradFill rotWithShape="1">
                <a:gsLst>
                  <a:gs pos="0">
                    <a:schemeClr val="bg1">
                      <a:lumMod val="9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5400000" scaled="1"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algn="ctr" defTabSz="801688" eaLnBrk="0" hangingPunct="0"/>
                <a:r>
                  <a:rPr lang="en-GB" sz="1600" b="1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70% Compatibility</a:t>
                </a:r>
              </a:p>
            </p:txBody>
          </p:sp>
          <p:sp>
            <p:nvSpPr>
              <p:cNvPr id="58" name="Rectangle 5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203575" y="4840288"/>
                <a:ext cx="2735263" cy="960437"/>
              </a:xfrm>
              <a:prstGeom prst="rect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108000" tIns="108000" rIns="144000" bIns="72000"/>
              <a:lstStyle/>
              <a:p>
                <a:pPr marL="190500" indent="-190500">
                  <a:lnSpc>
                    <a:spcPct val="95000"/>
                  </a:lnSpc>
                  <a:spcAft>
                    <a:spcPts val="800"/>
                  </a:spcAft>
                  <a:buClr>
                    <a:srgbClr val="292929"/>
                  </a:buClr>
                  <a:buFont typeface="Wingdings" pitchFamily="2" charset="2"/>
                  <a:buChar char="§"/>
                </a:pPr>
                <a:r>
                  <a:rPr lang="en-GB" sz="1600" noProof="1">
                    <a:solidFill>
                      <a:srgbClr val="000000"/>
                    </a:solidFill>
                  </a:rPr>
                  <a:t>Place your text. </a:t>
                </a:r>
              </a:p>
              <a:p>
                <a:pPr marL="190500" indent="-190500">
                  <a:lnSpc>
                    <a:spcPct val="95000"/>
                  </a:lnSpc>
                  <a:spcAft>
                    <a:spcPts val="800"/>
                  </a:spcAft>
                  <a:buClr>
                    <a:srgbClr val="292929"/>
                  </a:buClr>
                  <a:buFont typeface="Wingdings" pitchFamily="2" charset="2"/>
                  <a:buChar char="§"/>
                </a:pPr>
                <a:r>
                  <a:rPr lang="en-GB" sz="1600" noProof="1">
                    <a:solidFill>
                      <a:srgbClr val="000000"/>
                    </a:solidFill>
                  </a:rPr>
                  <a:t>This is a place for own text. </a:t>
                </a:r>
              </a:p>
            </p:txBody>
          </p:sp>
        </p:grpSp>
        <p:grpSp>
          <p:nvGrpSpPr>
            <p:cNvPr id="8" name="Gruppieren 7"/>
            <p:cNvGrpSpPr/>
            <p:nvPr/>
          </p:nvGrpSpPr>
          <p:grpSpPr>
            <a:xfrm>
              <a:off x="6084888" y="4481513"/>
              <a:ext cx="2735262" cy="1320800"/>
              <a:chOff x="6084888" y="4481513"/>
              <a:chExt cx="2735262" cy="1320800"/>
            </a:xfrm>
          </p:grpSpPr>
          <p:sp>
            <p:nvSpPr>
              <p:cNvPr id="60" name="Rectangle 18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6084888" y="4481513"/>
                <a:ext cx="2735262" cy="360362"/>
              </a:xfrm>
              <a:prstGeom prst="rect">
                <a:avLst/>
              </a:prstGeom>
              <a:gradFill rotWithShape="1">
                <a:gsLst>
                  <a:gs pos="0">
                    <a:schemeClr val="bg1">
                      <a:lumMod val="9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5400000" scaled="1"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algn="ctr" defTabSz="801688" eaLnBrk="0" hangingPunct="0"/>
                <a:r>
                  <a:rPr lang="en-GB" sz="1600" b="1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100% Compatibility</a:t>
                </a:r>
              </a:p>
            </p:txBody>
          </p:sp>
          <p:sp>
            <p:nvSpPr>
              <p:cNvPr id="61" name="Rectangle 5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6084888" y="4841875"/>
                <a:ext cx="2735262" cy="960438"/>
              </a:xfrm>
              <a:prstGeom prst="rect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108000" tIns="108000" rIns="144000" bIns="72000"/>
              <a:lstStyle/>
              <a:p>
                <a:pPr marL="190500" indent="-190500">
                  <a:lnSpc>
                    <a:spcPct val="95000"/>
                  </a:lnSpc>
                  <a:spcAft>
                    <a:spcPts val="800"/>
                  </a:spcAft>
                  <a:buClr>
                    <a:srgbClr val="292929"/>
                  </a:buClr>
                  <a:buFont typeface="Wingdings" pitchFamily="2" charset="2"/>
                  <a:buChar char="§"/>
                </a:pPr>
                <a:r>
                  <a:rPr lang="en-GB" sz="1600" noProof="1">
                    <a:solidFill>
                      <a:srgbClr val="000000"/>
                    </a:solidFill>
                  </a:rPr>
                  <a:t>Place your text. </a:t>
                </a:r>
              </a:p>
              <a:p>
                <a:pPr marL="190500" indent="-190500">
                  <a:lnSpc>
                    <a:spcPct val="95000"/>
                  </a:lnSpc>
                  <a:spcAft>
                    <a:spcPts val="800"/>
                  </a:spcAft>
                  <a:buClr>
                    <a:srgbClr val="292929"/>
                  </a:buClr>
                  <a:buFont typeface="Wingdings" pitchFamily="2" charset="2"/>
                  <a:buChar char="§"/>
                </a:pPr>
                <a:r>
                  <a:rPr lang="en-GB" sz="1600" noProof="1">
                    <a:solidFill>
                      <a:srgbClr val="000000"/>
                    </a:solidFill>
                  </a:rPr>
                  <a:t>This is a place for own text. </a:t>
                </a:r>
              </a:p>
            </p:txBody>
          </p:sp>
        </p:grpSp>
        <p:sp>
          <p:nvSpPr>
            <p:cNvPr id="62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5233988" y="3227388"/>
              <a:ext cx="1492250" cy="458787"/>
            </a:xfrm>
            <a:prstGeom prst="rect">
              <a:avLst/>
            </a:prstGeom>
            <a:solidFill>
              <a:srgbClr val="0070C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64" name="Rectangle 73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7656876" y="3351441"/>
              <a:ext cx="488532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defTabSz="628650">
                <a:tabLst>
                  <a:tab pos="361950" algn="r"/>
                  <a:tab pos="1076325" algn="r"/>
                  <a:tab pos="1790700" algn="r"/>
                  <a:tab pos="2514600" algn="r"/>
                  <a:tab pos="3228975" algn="r"/>
                  <a:tab pos="3943350" algn="r"/>
                  <a:tab pos="4667250" algn="r"/>
                  <a:tab pos="5381625" algn="r"/>
                  <a:tab pos="6096000" algn="r"/>
                  <a:tab pos="6819900" algn="r"/>
                </a:tabLst>
              </a:pPr>
              <a:r>
                <a:rPr lang="de-DE" sz="1400" b="1" dirty="0">
                  <a:solidFill>
                    <a:srgbClr val="000000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Future</a:t>
              </a:r>
              <a:endParaRPr lang="de-DE" sz="1400" b="1" noProof="1">
                <a:solidFill>
                  <a:srgbClr val="00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grpSp>
          <p:nvGrpSpPr>
            <p:cNvPr id="65" name="Group 75"/>
            <p:cNvGrpSpPr>
              <a:grpSpLocks/>
            </p:cNvGrpSpPr>
            <p:nvPr/>
          </p:nvGrpSpPr>
          <p:grpSpPr bwMode="gray">
            <a:xfrm>
              <a:off x="3051175" y="3735388"/>
              <a:ext cx="3675063" cy="744537"/>
              <a:chOff x="1927" y="2021"/>
              <a:chExt cx="2315" cy="802"/>
            </a:xfrm>
          </p:grpSpPr>
          <p:sp>
            <p:nvSpPr>
              <p:cNvPr id="66" name="Line 76" descr="© INSCALE GmbH, 26.05.2010&#10;http://www.presentationload.com/"/>
              <p:cNvSpPr>
                <a:spLocks noChangeShapeType="1"/>
              </p:cNvSpPr>
              <p:nvPr/>
            </p:nvSpPr>
            <p:spPr bwMode="gray">
              <a:xfrm>
                <a:off x="1927" y="2022"/>
                <a:ext cx="0" cy="801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68" name="Line 77" descr="© INSCALE GmbH, 26.05.2010&#10;http://www.presentationload.com/"/>
              <p:cNvSpPr>
                <a:spLocks noChangeShapeType="1"/>
              </p:cNvSpPr>
              <p:nvPr/>
            </p:nvSpPr>
            <p:spPr bwMode="gray">
              <a:xfrm>
                <a:off x="3302" y="2022"/>
                <a:ext cx="0" cy="801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69" name="Line 78" descr="© INSCALE GmbH, 26.05.2010&#10;http://www.presentationload.com/"/>
              <p:cNvSpPr>
                <a:spLocks noChangeShapeType="1"/>
              </p:cNvSpPr>
              <p:nvPr/>
            </p:nvSpPr>
            <p:spPr bwMode="gray">
              <a:xfrm>
                <a:off x="4242" y="2021"/>
                <a:ext cx="0" cy="801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70" name="Group 69"/>
            <p:cNvGrpSpPr>
              <a:grpSpLocks/>
            </p:cNvGrpSpPr>
            <p:nvPr/>
          </p:nvGrpSpPr>
          <p:grpSpPr bwMode="gray">
            <a:xfrm>
              <a:off x="3051175" y="3225800"/>
              <a:ext cx="3675063" cy="458788"/>
              <a:chOff x="1927" y="2021"/>
              <a:chExt cx="2315" cy="802"/>
            </a:xfrm>
          </p:grpSpPr>
          <p:sp>
            <p:nvSpPr>
              <p:cNvPr id="72" name="Line 66" descr="© INSCALE GmbH, 26.05.2010&#10;http://www.presentationload.com/"/>
              <p:cNvSpPr>
                <a:spLocks noChangeShapeType="1"/>
              </p:cNvSpPr>
              <p:nvPr/>
            </p:nvSpPr>
            <p:spPr bwMode="gray">
              <a:xfrm>
                <a:off x="1927" y="2022"/>
                <a:ext cx="0" cy="801"/>
              </a:xfrm>
              <a:prstGeom prst="line">
                <a:avLst/>
              </a:prstGeom>
              <a:noFill/>
              <a:ln w="19050">
                <a:solidFill>
                  <a:srgbClr val="FFFFFF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3" name="Line 67" descr="© INSCALE GmbH, 26.05.2010&#10;http://www.presentationload.com/"/>
              <p:cNvSpPr>
                <a:spLocks noChangeShapeType="1"/>
              </p:cNvSpPr>
              <p:nvPr/>
            </p:nvSpPr>
            <p:spPr bwMode="gray">
              <a:xfrm>
                <a:off x="3302" y="2022"/>
                <a:ext cx="0" cy="801"/>
              </a:xfrm>
              <a:prstGeom prst="line">
                <a:avLst/>
              </a:prstGeom>
              <a:noFill/>
              <a:ln w="19050">
                <a:solidFill>
                  <a:srgbClr val="FFFFFF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4" name="Line 68" descr="© INSCALE GmbH, 26.05.2010&#10;http://www.presentationload.com/"/>
              <p:cNvSpPr>
                <a:spLocks noChangeShapeType="1"/>
              </p:cNvSpPr>
              <p:nvPr/>
            </p:nvSpPr>
            <p:spPr bwMode="gray">
              <a:xfrm>
                <a:off x="4242" y="2021"/>
                <a:ext cx="0" cy="801"/>
              </a:xfrm>
              <a:prstGeom prst="line">
                <a:avLst/>
              </a:prstGeom>
              <a:noFill/>
              <a:ln w="19050">
                <a:solidFill>
                  <a:srgbClr val="FFFFFF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76" name="Rectangle 82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15913" y="3249613"/>
              <a:ext cx="6999287" cy="419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628650">
                <a:tabLst>
                  <a:tab pos="361950" algn="r"/>
                  <a:tab pos="1076325" algn="r"/>
                  <a:tab pos="1790700" algn="r"/>
                  <a:tab pos="2514600" algn="r"/>
                  <a:tab pos="3228975" algn="r"/>
                  <a:tab pos="3943350" algn="r"/>
                  <a:tab pos="4667250" algn="r"/>
                  <a:tab pos="5381625" algn="r"/>
                  <a:tab pos="6096000" algn="r"/>
                  <a:tab pos="6819900" algn="r"/>
                </a:tabLst>
              </a:pPr>
              <a:r>
                <a:rPr lang="en-GB" sz="1400" b="1" noProof="1" smtClean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2020</a:t>
              </a:r>
              <a:r>
                <a:rPr lang="en-GB" sz="1400" b="1" noProof="1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	</a:t>
              </a:r>
              <a:r>
                <a:rPr lang="en-GB" sz="1400" b="1" noProof="1" smtClean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2022</a:t>
              </a:r>
              <a:r>
                <a:rPr lang="en-GB" sz="1400" b="1" noProof="1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	</a:t>
              </a:r>
              <a:r>
                <a:rPr lang="en-GB" sz="1400" b="1" noProof="1" smtClean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2024</a:t>
              </a:r>
              <a:r>
                <a:rPr lang="en-GB" sz="1400" b="1" noProof="1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	</a:t>
              </a:r>
              <a:r>
                <a:rPr lang="en-GB" sz="1400" b="1" noProof="1" smtClean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2026</a:t>
              </a:r>
              <a:r>
                <a:rPr lang="en-GB" sz="1400" b="1" noProof="1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	</a:t>
              </a:r>
              <a:r>
                <a:rPr lang="en-GB" sz="1400" b="1" noProof="1" smtClean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2028</a:t>
              </a:r>
              <a:r>
                <a:rPr lang="en-GB" sz="1400" b="1" noProof="1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	</a:t>
              </a:r>
              <a:r>
                <a:rPr lang="en-GB" sz="1400" b="1" noProof="1" smtClean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2030</a:t>
              </a:r>
              <a:r>
                <a:rPr lang="en-GB" sz="1400" b="1" noProof="1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	</a:t>
              </a:r>
              <a:r>
                <a:rPr lang="en-GB" sz="1400" b="1" noProof="1" smtClean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2032</a:t>
              </a:r>
              <a:r>
                <a:rPr lang="en-GB" sz="1400" b="1" noProof="1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	</a:t>
              </a:r>
              <a:r>
                <a:rPr lang="en-GB" sz="1400" b="1" noProof="1" smtClea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2034</a:t>
              </a:r>
              <a:r>
                <a:rPr lang="en-GB" sz="1400" b="1" noProof="1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	</a:t>
              </a:r>
              <a:r>
                <a:rPr lang="en-GB" sz="1400" b="1" noProof="1" smtClea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2036</a:t>
              </a:r>
              <a:r>
                <a:rPr lang="en-GB" sz="1400" b="1" noProof="1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	</a:t>
              </a:r>
              <a:r>
                <a:rPr lang="en-GB" sz="1400" b="1" noProof="1" smtClean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2038</a:t>
              </a:r>
              <a:endParaRPr lang="en-GB" sz="1400" b="1" noProof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grpSp>
          <p:nvGrpSpPr>
            <p:cNvPr id="77" name="Gruppieren 76"/>
            <p:cNvGrpSpPr/>
            <p:nvPr/>
          </p:nvGrpSpPr>
          <p:grpSpPr bwMode="gray">
            <a:xfrm>
              <a:off x="633413" y="1451728"/>
              <a:ext cx="7088187" cy="1740268"/>
              <a:chOff x="633413" y="1597025"/>
              <a:chExt cx="7088187" cy="1594971"/>
            </a:xfrm>
          </p:grpSpPr>
          <p:grpSp>
            <p:nvGrpSpPr>
              <p:cNvPr id="78" name="Gruppieren 43"/>
              <p:cNvGrpSpPr/>
              <p:nvPr/>
            </p:nvGrpSpPr>
            <p:grpSpPr bwMode="gray">
              <a:xfrm>
                <a:off x="633413" y="1698158"/>
                <a:ext cx="5694362" cy="1493838"/>
                <a:chOff x="633413" y="1716088"/>
                <a:chExt cx="5694362" cy="1493838"/>
              </a:xfrm>
            </p:grpSpPr>
            <p:sp>
              <p:nvSpPr>
                <p:cNvPr id="90" name="Line 84" descr="© INSCALE GmbH, 26.05.2010&#10;http://www.presentationload.com/"/>
                <p:cNvSpPr>
                  <a:spLocks noChangeShapeType="1"/>
                </p:cNvSpPr>
                <p:nvPr/>
              </p:nvSpPr>
              <p:spPr bwMode="gray">
                <a:xfrm>
                  <a:off x="633413" y="1716088"/>
                  <a:ext cx="0" cy="1493838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91" name="Line 85" descr="© INSCALE GmbH, 26.05.2010&#10;http://www.presentationload.com/"/>
                <p:cNvSpPr>
                  <a:spLocks noChangeShapeType="1"/>
                </p:cNvSpPr>
                <p:nvPr/>
              </p:nvSpPr>
              <p:spPr bwMode="gray">
                <a:xfrm>
                  <a:off x="2052638" y="1716088"/>
                  <a:ext cx="0" cy="1493838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92" name="Line 86" descr="© INSCALE GmbH, 26.05.2010&#10;http://www.presentationload.com/"/>
                <p:cNvSpPr>
                  <a:spLocks noChangeShapeType="1"/>
                </p:cNvSpPr>
                <p:nvPr/>
              </p:nvSpPr>
              <p:spPr bwMode="gray">
                <a:xfrm>
                  <a:off x="3471863" y="1716088"/>
                  <a:ext cx="0" cy="1493838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93" name="Line 87" descr="© INSCALE GmbH, 26.05.2010&#10;http://www.presentationload.com/"/>
                <p:cNvSpPr>
                  <a:spLocks noChangeShapeType="1"/>
                </p:cNvSpPr>
                <p:nvPr/>
              </p:nvSpPr>
              <p:spPr bwMode="gray">
                <a:xfrm>
                  <a:off x="4906963" y="1716088"/>
                  <a:ext cx="0" cy="1493838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94" name="Line 88" descr="© INSCALE GmbH, 26.05.2010&#10;http://www.presentationload.com/"/>
                <p:cNvSpPr>
                  <a:spLocks noChangeShapeType="1"/>
                </p:cNvSpPr>
                <p:nvPr/>
              </p:nvSpPr>
              <p:spPr bwMode="gray">
                <a:xfrm>
                  <a:off x="6327775" y="1716088"/>
                  <a:ext cx="0" cy="1493838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endParaRPr lang="en-GB"/>
                </a:p>
              </p:txBody>
            </p:sp>
          </p:grpSp>
          <p:sp>
            <p:nvSpPr>
              <p:cNvPr id="79" name="Text Box 89" descr="© INSCALE GmbH, 26.05.2010&#10;http://www.presentationload.com/"/>
              <p:cNvSpPr txBox="1">
                <a:spLocks noChangeArrowheads="1"/>
              </p:cNvSpPr>
              <p:nvPr/>
            </p:nvSpPr>
            <p:spPr bwMode="gray">
              <a:xfrm>
                <a:off x="639763" y="1597025"/>
                <a:ext cx="1393825" cy="13541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tIns="6480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</a:pPr>
                <a:r>
                  <a:rPr lang="en-GB" sz="1200" noProof="1"/>
                  <a:t>This is a place </a:t>
                </a:r>
                <a:br>
                  <a:rPr lang="en-GB" sz="1200" noProof="1"/>
                </a:br>
                <a:r>
                  <a:rPr lang="en-GB" sz="1200" noProof="1"/>
                  <a:t>for own text. All phrases can be replaced with your own text.</a:t>
                </a:r>
              </a:p>
            </p:txBody>
          </p:sp>
          <p:sp>
            <p:nvSpPr>
              <p:cNvPr id="80" name="Text Box 90" descr="© INSCALE GmbH, 26.05.2010&#10;http://www.presentationload.com/"/>
              <p:cNvSpPr txBox="1">
                <a:spLocks noChangeArrowheads="1"/>
              </p:cNvSpPr>
              <p:nvPr/>
            </p:nvSpPr>
            <p:spPr bwMode="gray">
              <a:xfrm>
                <a:off x="2057400" y="1597025"/>
                <a:ext cx="1393825" cy="13541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tIns="6480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</a:pPr>
                <a:r>
                  <a:rPr lang="en-GB" sz="1200" noProof="1"/>
                  <a:t>All phrases can be replaced with your own text.</a:t>
                </a:r>
              </a:p>
            </p:txBody>
          </p:sp>
          <p:sp>
            <p:nvSpPr>
              <p:cNvPr id="81" name="Text Box 91" descr="© INSCALE GmbH, 26.05.2010&#10;http://www.presentationload.com/"/>
              <p:cNvSpPr txBox="1">
                <a:spLocks noChangeArrowheads="1"/>
              </p:cNvSpPr>
              <p:nvPr/>
            </p:nvSpPr>
            <p:spPr bwMode="gray">
              <a:xfrm>
                <a:off x="3475038" y="1597025"/>
                <a:ext cx="1393825" cy="13541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tIns="6480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</a:pPr>
                <a:r>
                  <a:rPr lang="en-GB" sz="1200" noProof="1"/>
                  <a:t>This is a place </a:t>
                </a:r>
                <a:br>
                  <a:rPr lang="en-GB" sz="1200" noProof="1"/>
                </a:br>
                <a:r>
                  <a:rPr lang="en-GB" sz="1200" noProof="1"/>
                  <a:t>for own text. All phrases can be replaced with your own text.</a:t>
                </a:r>
              </a:p>
            </p:txBody>
          </p:sp>
          <p:sp>
            <p:nvSpPr>
              <p:cNvPr id="82" name="Text Box 92" descr="© INSCALE GmbH, 26.05.2010&#10;http://www.presentationload.com/"/>
              <p:cNvSpPr txBox="1">
                <a:spLocks noChangeArrowheads="1"/>
              </p:cNvSpPr>
              <p:nvPr/>
            </p:nvSpPr>
            <p:spPr bwMode="gray">
              <a:xfrm>
                <a:off x="4908550" y="1597025"/>
                <a:ext cx="1393825" cy="13541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tIns="6480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</a:pPr>
                <a:r>
                  <a:rPr lang="en-GB" sz="1200" noProof="1"/>
                  <a:t>This is a place </a:t>
                </a:r>
                <a:br>
                  <a:rPr lang="en-GB" sz="1200" noProof="1"/>
                </a:br>
                <a:r>
                  <a:rPr lang="en-GB" sz="1200" noProof="1"/>
                  <a:t>for own text. </a:t>
                </a:r>
              </a:p>
            </p:txBody>
          </p:sp>
          <p:sp>
            <p:nvSpPr>
              <p:cNvPr id="83" name="Text Box 93" descr="© INSCALE GmbH, 26.05.2010&#10;http://www.presentationload.com/"/>
              <p:cNvSpPr txBox="1">
                <a:spLocks noChangeArrowheads="1"/>
              </p:cNvSpPr>
              <p:nvPr/>
            </p:nvSpPr>
            <p:spPr bwMode="gray">
              <a:xfrm>
                <a:off x="6327775" y="1597025"/>
                <a:ext cx="1393825" cy="13541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tIns="6480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</a:pPr>
                <a:r>
                  <a:rPr lang="en-GB" sz="1200" noProof="1"/>
                  <a:t>This is a place </a:t>
                </a:r>
                <a:br>
                  <a:rPr lang="en-GB" sz="1200" noProof="1"/>
                </a:br>
                <a:r>
                  <a:rPr lang="en-GB" sz="1200" noProof="1"/>
                  <a:t>for own text. </a:t>
                </a:r>
                <a:r>
                  <a:rPr lang="en-GB" sz="1200" noProof="1" smtClean="0"/>
                  <a:t/>
                </a:r>
                <a:br>
                  <a:rPr lang="en-GB" sz="1200" noProof="1" smtClean="0"/>
                </a:br>
                <a:r>
                  <a:rPr lang="en-GB" sz="1200" noProof="1" smtClean="0"/>
                  <a:t>All </a:t>
                </a:r>
                <a:r>
                  <a:rPr lang="en-GB" sz="1200" noProof="1"/>
                  <a:t>phrases can </a:t>
                </a:r>
                <a:r>
                  <a:rPr lang="en-GB" sz="1200" noProof="1" smtClean="0"/>
                  <a:t/>
                </a:r>
                <a:br>
                  <a:rPr lang="en-GB" sz="1200" noProof="1" smtClean="0"/>
                </a:br>
                <a:r>
                  <a:rPr lang="en-GB" sz="1200" noProof="1" smtClean="0"/>
                  <a:t>be </a:t>
                </a:r>
                <a:r>
                  <a:rPr lang="en-GB" sz="1200" noProof="1"/>
                  <a:t>replaced with your own text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42026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Timelines - Arrow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Placeholder for your own sub headline</a:t>
            </a:r>
          </a:p>
        </p:txBody>
      </p:sp>
      <p:grpSp>
        <p:nvGrpSpPr>
          <p:cNvPr id="4" name="Gruppieren 3"/>
          <p:cNvGrpSpPr/>
          <p:nvPr/>
        </p:nvGrpSpPr>
        <p:grpSpPr>
          <a:xfrm>
            <a:off x="323850" y="1451728"/>
            <a:ext cx="8496300" cy="4350585"/>
            <a:chOff x="323850" y="1451728"/>
            <a:chExt cx="8496300" cy="4350585"/>
          </a:xfrm>
        </p:grpSpPr>
        <p:grpSp>
          <p:nvGrpSpPr>
            <p:cNvPr id="19" name="Group 37"/>
            <p:cNvGrpSpPr>
              <a:grpSpLocks/>
            </p:cNvGrpSpPr>
            <p:nvPr/>
          </p:nvGrpSpPr>
          <p:grpSpPr bwMode="gray">
            <a:xfrm>
              <a:off x="323850" y="2951163"/>
              <a:ext cx="8496300" cy="1012825"/>
              <a:chOff x="204" y="2201"/>
              <a:chExt cx="4830" cy="576"/>
            </a:xfrm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20" name="_color1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204" y="2357"/>
                <a:ext cx="4636" cy="264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defTabSz="628650">
                  <a:tabLst>
                    <a:tab pos="361950" algn="r"/>
                    <a:tab pos="1076325" algn="r"/>
                    <a:tab pos="1790700" algn="r"/>
                    <a:tab pos="2514600" algn="r"/>
                    <a:tab pos="3228975" algn="r"/>
                    <a:tab pos="3943350" algn="r"/>
                    <a:tab pos="4667250" algn="r"/>
                    <a:tab pos="5381625" algn="r"/>
                    <a:tab pos="6096000" algn="r"/>
                    <a:tab pos="6819900" algn="r"/>
                  </a:tabLst>
                </a:pPr>
                <a:endParaRPr lang="de-DE" sz="1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21" name="_color1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 rot="5400000">
                <a:off x="4618" y="2360"/>
                <a:ext cx="576" cy="257"/>
              </a:xfrm>
              <a:prstGeom prst="flowChartExtra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9525">
                <a:solidFill>
                  <a:schemeClr val="accent1">
                    <a:lumMod val="60000"/>
                    <a:lumOff val="40000"/>
                  </a:schemeClr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22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2593975" y="3227388"/>
              <a:ext cx="2841625" cy="460375"/>
            </a:xfrm>
            <a:prstGeom prst="rect">
              <a:avLst/>
            </a:prstGeom>
            <a:solidFill>
              <a:srgbClr val="0070C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16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2593975" y="3963109"/>
              <a:ext cx="2841625" cy="1839204"/>
            </a:xfrm>
            <a:prstGeom prst="rect">
              <a:avLst/>
            </a:prstGeom>
            <a:gradFill rotWithShape="1"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chemeClr val="tx2">
                    <a:lumMod val="40000"/>
                    <a:lumOff val="60000"/>
                  </a:schemeClr>
                </a:gs>
              </a:gsLst>
              <a:lin ang="5400000" scaled="1"/>
            </a:gra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108000" tIns="108000" rIns="144000" bIns="90000" anchor="b"/>
            <a:lstStyle/>
            <a:p>
              <a:pPr marL="190500" indent="-190500">
                <a:lnSpc>
                  <a:spcPct val="90000"/>
                </a:lnSpc>
                <a:spcAft>
                  <a:spcPct val="20000"/>
                </a:spcAft>
                <a:buClr>
                  <a:srgbClr val="000000"/>
                </a:buClr>
                <a:buFont typeface="Wingdings" pitchFamily="2" charset="2"/>
                <a:buChar char="§"/>
              </a:pPr>
              <a:r>
                <a:rPr lang="en-GB" sz="1200" noProof="1">
                  <a:solidFill>
                    <a:srgbClr val="000000"/>
                  </a:solidFill>
                </a:rPr>
                <a:t>Place your text. </a:t>
              </a:r>
            </a:p>
            <a:p>
              <a:pPr marL="190500" indent="-190500">
                <a:lnSpc>
                  <a:spcPct val="90000"/>
                </a:lnSpc>
                <a:spcAft>
                  <a:spcPct val="20000"/>
                </a:spcAft>
                <a:buClr>
                  <a:srgbClr val="000000"/>
                </a:buClr>
                <a:buFont typeface="Wingdings" pitchFamily="2" charset="2"/>
                <a:buChar char="§"/>
              </a:pPr>
              <a:r>
                <a:rPr lang="en-GB" sz="1200" noProof="1">
                  <a:solidFill>
                    <a:srgbClr val="000000"/>
                  </a:solidFill>
                </a:rPr>
                <a:t>This is a place for your own text. </a:t>
              </a:r>
            </a:p>
            <a:p>
              <a:pPr marL="190500" indent="-190500">
                <a:lnSpc>
                  <a:spcPct val="90000"/>
                </a:lnSpc>
                <a:spcAft>
                  <a:spcPct val="20000"/>
                </a:spcAft>
                <a:buClr>
                  <a:srgbClr val="000000"/>
                </a:buClr>
                <a:buFont typeface="Wingdings" pitchFamily="2" charset="2"/>
                <a:buChar char="§"/>
              </a:pPr>
              <a:r>
                <a:rPr lang="en-GB" sz="1200" noProof="1">
                  <a:solidFill>
                    <a:srgbClr val="000000"/>
                  </a:solidFill>
                </a:rPr>
                <a:t>Place your own text. </a:t>
              </a:r>
            </a:p>
            <a:p>
              <a:pPr marL="190500" indent="-190500">
                <a:lnSpc>
                  <a:spcPct val="90000"/>
                </a:lnSpc>
                <a:spcAft>
                  <a:spcPct val="20000"/>
                </a:spcAft>
                <a:buClr>
                  <a:srgbClr val="000000"/>
                </a:buClr>
                <a:buFont typeface="Wingdings" pitchFamily="2" charset="2"/>
                <a:buChar char="§"/>
              </a:pPr>
              <a:r>
                <a:rPr lang="en-GB" sz="1200" noProof="1">
                  <a:solidFill>
                    <a:srgbClr val="000000"/>
                  </a:solidFill>
                </a:rPr>
                <a:t>This is a place for own text. </a:t>
              </a:r>
            </a:p>
          </p:txBody>
        </p:sp>
        <p:sp>
          <p:nvSpPr>
            <p:cNvPr id="23" name="Rectangle 22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58775" y="3252433"/>
              <a:ext cx="7615238" cy="419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628650">
                <a:tabLst>
                  <a:tab pos="361950" algn="r"/>
                  <a:tab pos="1076325" algn="r"/>
                  <a:tab pos="1790700" algn="r"/>
                  <a:tab pos="2514600" algn="r"/>
                  <a:tab pos="3228975" algn="r"/>
                  <a:tab pos="3943350" algn="r"/>
                  <a:tab pos="4667250" algn="r"/>
                  <a:tab pos="5381625" algn="r"/>
                  <a:tab pos="6096000" algn="r"/>
                  <a:tab pos="6819900" algn="r"/>
                  <a:tab pos="7534275" algn="r"/>
                </a:tabLst>
              </a:pPr>
              <a:r>
                <a:rPr lang="en-GB" sz="1400" b="1" noProof="1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	</a:t>
              </a:r>
              <a:r>
                <a:rPr lang="en-GB" sz="1400" b="1" noProof="1" smtClean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2020</a:t>
              </a:r>
              <a:r>
                <a:rPr lang="en-GB" sz="1400" b="1" noProof="1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		</a:t>
              </a:r>
              <a:r>
                <a:rPr lang="en-GB" sz="1400" b="1" noProof="1" smtClean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2022</a:t>
              </a:r>
              <a:r>
                <a:rPr lang="en-GB" sz="1400" b="1" noProof="1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		</a:t>
              </a:r>
              <a:r>
                <a:rPr lang="en-GB" sz="1400" b="1" noProof="1" smtClea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2024</a:t>
              </a:r>
              <a:r>
                <a:rPr lang="en-GB" sz="1400" b="1" noProof="1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		</a:t>
              </a:r>
              <a:r>
                <a:rPr lang="en-GB" sz="1400" b="1" noProof="1" smtClea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2026</a:t>
              </a:r>
              <a:r>
                <a:rPr lang="en-GB" sz="1400" b="1" noProof="1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		</a:t>
              </a:r>
              <a:r>
                <a:rPr lang="en-GB" sz="1400" b="1" noProof="1" smtClean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2028</a:t>
              </a:r>
              <a:r>
                <a:rPr lang="en-GB" sz="1400" b="1" noProof="1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		</a:t>
              </a:r>
              <a:r>
                <a:rPr lang="en-GB" sz="1400" b="1" noProof="1" smtClean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2030</a:t>
              </a:r>
              <a:endParaRPr lang="en-GB" sz="1400" b="1" noProof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17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5435600" y="3963109"/>
              <a:ext cx="2932113" cy="1839204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5400000" scaled="1"/>
            </a:gra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108000" tIns="108000" rIns="144000" bIns="90000" anchor="b"/>
            <a:lstStyle/>
            <a:p>
              <a:pPr marL="190500" indent="-190500">
                <a:lnSpc>
                  <a:spcPct val="90000"/>
                </a:lnSpc>
                <a:spcAft>
                  <a:spcPct val="20000"/>
                </a:spcAft>
                <a:buClr>
                  <a:srgbClr val="292929"/>
                </a:buClr>
                <a:buFont typeface="Wingdings" pitchFamily="2" charset="2"/>
                <a:buChar char="§"/>
              </a:pPr>
              <a:r>
                <a:rPr lang="en-GB" sz="1200" noProof="1">
                  <a:solidFill>
                    <a:srgbClr val="000000"/>
                  </a:solidFill>
                </a:rPr>
                <a:t>Place your text. </a:t>
              </a:r>
            </a:p>
            <a:p>
              <a:pPr marL="190500" indent="-190500">
                <a:lnSpc>
                  <a:spcPct val="90000"/>
                </a:lnSpc>
                <a:spcAft>
                  <a:spcPct val="20000"/>
                </a:spcAft>
                <a:buClr>
                  <a:srgbClr val="292929"/>
                </a:buClr>
                <a:buFont typeface="Wingdings" pitchFamily="2" charset="2"/>
                <a:buChar char="§"/>
              </a:pPr>
              <a:r>
                <a:rPr lang="en-GB" sz="1200" noProof="1">
                  <a:solidFill>
                    <a:srgbClr val="000000"/>
                  </a:solidFill>
                </a:rPr>
                <a:t>This is a place for your own text. </a:t>
              </a:r>
            </a:p>
            <a:p>
              <a:pPr marL="190500" indent="-190500">
                <a:lnSpc>
                  <a:spcPct val="90000"/>
                </a:lnSpc>
                <a:spcAft>
                  <a:spcPct val="20000"/>
                </a:spcAft>
                <a:buClr>
                  <a:srgbClr val="292929"/>
                </a:buClr>
                <a:buFont typeface="Wingdings" pitchFamily="2" charset="2"/>
                <a:buChar char="§"/>
              </a:pPr>
              <a:r>
                <a:rPr lang="en-GB" sz="1200" noProof="1">
                  <a:solidFill>
                    <a:srgbClr val="000000"/>
                  </a:solidFill>
                </a:rPr>
                <a:t>Place your text. </a:t>
              </a:r>
            </a:p>
          </p:txBody>
        </p:sp>
        <p:sp>
          <p:nvSpPr>
            <p:cNvPr id="18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23850" y="3963109"/>
              <a:ext cx="2270125" cy="1839204"/>
            </a:xfrm>
            <a:prstGeom prst="rect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5400000" scaled="1"/>
            </a:gra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108000" tIns="108000" rIns="144000" bIns="90000" anchor="b"/>
            <a:lstStyle/>
            <a:p>
              <a:pPr marL="190500" indent="-190500">
                <a:lnSpc>
                  <a:spcPct val="90000"/>
                </a:lnSpc>
                <a:spcAft>
                  <a:spcPct val="20000"/>
                </a:spcAft>
                <a:buClr>
                  <a:srgbClr val="292929"/>
                </a:buClr>
                <a:buFont typeface="Wingdings" pitchFamily="2" charset="2"/>
                <a:buChar char="§"/>
              </a:pPr>
              <a:r>
                <a:rPr lang="en-GB" sz="1200" noProof="1">
                  <a:solidFill>
                    <a:srgbClr val="000000"/>
                  </a:solidFill>
                </a:rPr>
                <a:t>Place your text. </a:t>
              </a:r>
            </a:p>
            <a:p>
              <a:pPr marL="190500" indent="-190500">
                <a:lnSpc>
                  <a:spcPct val="90000"/>
                </a:lnSpc>
                <a:spcAft>
                  <a:spcPct val="20000"/>
                </a:spcAft>
                <a:buClr>
                  <a:srgbClr val="292929"/>
                </a:buClr>
                <a:buFont typeface="Wingdings" pitchFamily="2" charset="2"/>
                <a:buChar char="§"/>
              </a:pPr>
              <a:r>
                <a:rPr lang="en-GB" sz="1200" noProof="1">
                  <a:solidFill>
                    <a:srgbClr val="000000"/>
                  </a:solidFill>
                </a:rPr>
                <a:t>This is a place for your own text. </a:t>
              </a:r>
            </a:p>
            <a:p>
              <a:pPr marL="190500" indent="-190500">
                <a:lnSpc>
                  <a:spcPct val="90000"/>
                </a:lnSpc>
                <a:spcAft>
                  <a:spcPct val="20000"/>
                </a:spcAft>
                <a:buClr>
                  <a:srgbClr val="292929"/>
                </a:buClr>
                <a:buFont typeface="Wingdings" pitchFamily="2" charset="2"/>
                <a:buChar char="§"/>
              </a:pPr>
              <a:r>
                <a:rPr lang="en-GB" sz="1200" noProof="1">
                  <a:solidFill>
                    <a:srgbClr val="000000"/>
                  </a:solidFill>
                </a:rPr>
                <a:t>Place your text. </a:t>
              </a:r>
            </a:p>
            <a:p>
              <a:pPr marL="190500" indent="-190500">
                <a:lnSpc>
                  <a:spcPct val="90000"/>
                </a:lnSpc>
                <a:spcAft>
                  <a:spcPct val="20000"/>
                </a:spcAft>
                <a:buClr>
                  <a:srgbClr val="292929"/>
                </a:buClr>
                <a:buFont typeface="Wingdings" pitchFamily="2" charset="2"/>
                <a:buChar char="§"/>
              </a:pPr>
              <a:r>
                <a:rPr lang="en-GB" sz="1200" noProof="1">
                  <a:solidFill>
                    <a:srgbClr val="000000"/>
                  </a:solidFill>
                </a:rPr>
                <a:t>This is a place for own text. </a:t>
              </a:r>
            </a:p>
          </p:txBody>
        </p:sp>
        <p:sp>
          <p:nvSpPr>
            <p:cNvPr id="24" name="Rectangle 1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23850" y="4043363"/>
              <a:ext cx="2270125" cy="360362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801688" eaLnBrk="0" hangingPunct="0"/>
              <a:r>
                <a:rPr lang="en-GB" b="1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tep 1</a:t>
              </a:r>
            </a:p>
          </p:txBody>
        </p:sp>
        <p:sp>
          <p:nvSpPr>
            <p:cNvPr id="25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2593975" y="4043363"/>
              <a:ext cx="2841625" cy="360362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801688" eaLnBrk="0" hangingPunct="0"/>
              <a:r>
                <a:rPr lang="en-GB" b="1" noProof="1">
                  <a:solidFill>
                    <a:schemeClr val="bg1"/>
                  </a:solidFill>
                </a:rPr>
                <a:t>Step 2</a:t>
              </a:r>
            </a:p>
          </p:txBody>
        </p:sp>
        <p:sp>
          <p:nvSpPr>
            <p:cNvPr id="26" name="Rectangle 1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5435600" y="4043363"/>
              <a:ext cx="2932113" cy="360362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801688" eaLnBrk="0" hangingPunct="0"/>
              <a:r>
                <a:rPr lang="en-GB" b="1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inal Results</a:t>
              </a:r>
            </a:p>
          </p:txBody>
        </p:sp>
        <p:grpSp>
          <p:nvGrpSpPr>
            <p:cNvPr id="27" name="Gruppieren 26"/>
            <p:cNvGrpSpPr/>
            <p:nvPr/>
          </p:nvGrpSpPr>
          <p:grpSpPr bwMode="gray">
            <a:xfrm>
              <a:off x="633413" y="1451728"/>
              <a:ext cx="7088187" cy="1740268"/>
              <a:chOff x="633413" y="1597025"/>
              <a:chExt cx="7088187" cy="1594971"/>
            </a:xfrm>
          </p:grpSpPr>
          <p:grpSp>
            <p:nvGrpSpPr>
              <p:cNvPr id="28" name="Gruppieren 43"/>
              <p:cNvGrpSpPr/>
              <p:nvPr/>
            </p:nvGrpSpPr>
            <p:grpSpPr bwMode="gray">
              <a:xfrm>
                <a:off x="633413" y="1698158"/>
                <a:ext cx="5694362" cy="1493838"/>
                <a:chOff x="633413" y="1716088"/>
                <a:chExt cx="5694362" cy="1493838"/>
              </a:xfrm>
            </p:grpSpPr>
            <p:sp>
              <p:nvSpPr>
                <p:cNvPr id="34" name="Line 84" descr="© INSCALE GmbH, 26.05.2010&#10;http://www.presentationload.com/"/>
                <p:cNvSpPr>
                  <a:spLocks noChangeShapeType="1"/>
                </p:cNvSpPr>
                <p:nvPr/>
              </p:nvSpPr>
              <p:spPr bwMode="gray">
                <a:xfrm>
                  <a:off x="633413" y="1716088"/>
                  <a:ext cx="0" cy="1493838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5" name="Line 85" descr="© INSCALE GmbH, 26.05.2010&#10;http://www.presentationload.com/"/>
                <p:cNvSpPr>
                  <a:spLocks noChangeShapeType="1"/>
                </p:cNvSpPr>
                <p:nvPr/>
              </p:nvSpPr>
              <p:spPr bwMode="gray">
                <a:xfrm>
                  <a:off x="2052638" y="1716088"/>
                  <a:ext cx="0" cy="1493838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6" name="Line 86" descr="© INSCALE GmbH, 26.05.2010&#10;http://www.presentationload.com/"/>
                <p:cNvSpPr>
                  <a:spLocks noChangeShapeType="1"/>
                </p:cNvSpPr>
                <p:nvPr/>
              </p:nvSpPr>
              <p:spPr bwMode="gray">
                <a:xfrm>
                  <a:off x="3471863" y="1716088"/>
                  <a:ext cx="0" cy="1493838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7" name="Line 87" descr="© INSCALE GmbH, 26.05.2010&#10;http://www.presentationload.com/"/>
                <p:cNvSpPr>
                  <a:spLocks noChangeShapeType="1"/>
                </p:cNvSpPr>
                <p:nvPr/>
              </p:nvSpPr>
              <p:spPr bwMode="gray">
                <a:xfrm>
                  <a:off x="4906963" y="1716088"/>
                  <a:ext cx="0" cy="1493838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38" name="Line 88" descr="© INSCALE GmbH, 26.05.2010&#10;http://www.presentationload.com/"/>
                <p:cNvSpPr>
                  <a:spLocks noChangeShapeType="1"/>
                </p:cNvSpPr>
                <p:nvPr/>
              </p:nvSpPr>
              <p:spPr bwMode="gray">
                <a:xfrm>
                  <a:off x="6327775" y="1716088"/>
                  <a:ext cx="0" cy="1493838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endParaRPr lang="en-GB"/>
                </a:p>
              </p:txBody>
            </p:sp>
          </p:grpSp>
          <p:sp>
            <p:nvSpPr>
              <p:cNvPr id="29" name="Text Box 89" descr="© INSCALE GmbH, 26.05.2010&#10;http://www.presentationload.com/"/>
              <p:cNvSpPr txBox="1">
                <a:spLocks noChangeArrowheads="1"/>
              </p:cNvSpPr>
              <p:nvPr/>
            </p:nvSpPr>
            <p:spPr bwMode="gray">
              <a:xfrm>
                <a:off x="639763" y="1597025"/>
                <a:ext cx="1393825" cy="13541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tIns="6480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</a:pPr>
                <a:r>
                  <a:rPr lang="en-GB" sz="1200" noProof="1"/>
                  <a:t>This is a place </a:t>
                </a:r>
                <a:br>
                  <a:rPr lang="en-GB" sz="1200" noProof="1"/>
                </a:br>
                <a:r>
                  <a:rPr lang="en-GB" sz="1200" noProof="1"/>
                  <a:t>for own text. All phrases can be replaced with your own text.</a:t>
                </a:r>
              </a:p>
            </p:txBody>
          </p:sp>
          <p:sp>
            <p:nvSpPr>
              <p:cNvPr id="30" name="Text Box 90" descr="© INSCALE GmbH, 26.05.2010&#10;http://www.presentationload.com/"/>
              <p:cNvSpPr txBox="1">
                <a:spLocks noChangeArrowheads="1"/>
              </p:cNvSpPr>
              <p:nvPr/>
            </p:nvSpPr>
            <p:spPr bwMode="gray">
              <a:xfrm>
                <a:off x="2057400" y="1597025"/>
                <a:ext cx="1393825" cy="13541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tIns="6480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</a:pPr>
                <a:r>
                  <a:rPr lang="en-GB" sz="1200" noProof="1"/>
                  <a:t>All phrases can be replaced with your own text.</a:t>
                </a:r>
              </a:p>
            </p:txBody>
          </p:sp>
          <p:sp>
            <p:nvSpPr>
              <p:cNvPr id="31" name="Text Box 91" descr="© INSCALE GmbH, 26.05.2010&#10;http://www.presentationload.com/"/>
              <p:cNvSpPr txBox="1">
                <a:spLocks noChangeArrowheads="1"/>
              </p:cNvSpPr>
              <p:nvPr/>
            </p:nvSpPr>
            <p:spPr bwMode="gray">
              <a:xfrm>
                <a:off x="3475038" y="1597025"/>
                <a:ext cx="1393825" cy="13541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tIns="6480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</a:pPr>
                <a:r>
                  <a:rPr lang="en-GB" sz="1200" noProof="1"/>
                  <a:t>This is a place </a:t>
                </a:r>
                <a:br>
                  <a:rPr lang="en-GB" sz="1200" noProof="1"/>
                </a:br>
                <a:r>
                  <a:rPr lang="en-GB" sz="1200" noProof="1"/>
                  <a:t>for own text. All phrases can be replaced with your own text.</a:t>
                </a:r>
              </a:p>
            </p:txBody>
          </p:sp>
          <p:sp>
            <p:nvSpPr>
              <p:cNvPr id="32" name="Text Box 92" descr="© INSCALE GmbH, 26.05.2010&#10;http://www.presentationload.com/"/>
              <p:cNvSpPr txBox="1">
                <a:spLocks noChangeArrowheads="1"/>
              </p:cNvSpPr>
              <p:nvPr/>
            </p:nvSpPr>
            <p:spPr bwMode="gray">
              <a:xfrm>
                <a:off x="4908550" y="1597025"/>
                <a:ext cx="1393825" cy="13541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tIns="6480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</a:pPr>
                <a:r>
                  <a:rPr lang="en-GB" sz="1200" noProof="1"/>
                  <a:t>This is a place </a:t>
                </a:r>
                <a:br>
                  <a:rPr lang="en-GB" sz="1200" noProof="1"/>
                </a:br>
                <a:r>
                  <a:rPr lang="en-GB" sz="1200" noProof="1"/>
                  <a:t>for own text. </a:t>
                </a:r>
              </a:p>
            </p:txBody>
          </p:sp>
          <p:sp>
            <p:nvSpPr>
              <p:cNvPr id="33" name="Text Box 93" descr="© INSCALE GmbH, 26.05.2010&#10;http://www.presentationload.com/"/>
              <p:cNvSpPr txBox="1">
                <a:spLocks noChangeArrowheads="1"/>
              </p:cNvSpPr>
              <p:nvPr/>
            </p:nvSpPr>
            <p:spPr bwMode="gray">
              <a:xfrm>
                <a:off x="6327775" y="1597025"/>
                <a:ext cx="1393825" cy="13541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tIns="6480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</a:pPr>
                <a:r>
                  <a:rPr lang="en-GB" sz="1200" noProof="1"/>
                  <a:t>This is a place </a:t>
                </a:r>
                <a:br>
                  <a:rPr lang="en-GB" sz="1200" noProof="1"/>
                </a:br>
                <a:r>
                  <a:rPr lang="en-GB" sz="1200" noProof="1"/>
                  <a:t>for own text. </a:t>
                </a:r>
                <a:r>
                  <a:rPr lang="en-GB" sz="1200" noProof="1" smtClean="0"/>
                  <a:t/>
                </a:r>
                <a:br>
                  <a:rPr lang="en-GB" sz="1200" noProof="1" smtClean="0"/>
                </a:br>
                <a:r>
                  <a:rPr lang="en-GB" sz="1200" noProof="1" smtClean="0"/>
                  <a:t>All </a:t>
                </a:r>
                <a:r>
                  <a:rPr lang="en-GB" sz="1200" noProof="1"/>
                  <a:t>phrases can </a:t>
                </a:r>
                <a:r>
                  <a:rPr lang="en-GB" sz="1200" noProof="1" smtClean="0"/>
                  <a:t/>
                </a:r>
                <a:br>
                  <a:rPr lang="en-GB" sz="1200" noProof="1" smtClean="0"/>
                </a:br>
                <a:r>
                  <a:rPr lang="en-GB" sz="1200" noProof="1" smtClean="0"/>
                  <a:t>be </a:t>
                </a:r>
                <a:r>
                  <a:rPr lang="en-GB" sz="1200" noProof="1"/>
                  <a:t>replaced with your own text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81266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Timelines - Arrow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Placeholder for your own sub headline</a:t>
            </a:r>
          </a:p>
        </p:txBody>
      </p:sp>
      <p:grpSp>
        <p:nvGrpSpPr>
          <p:cNvPr id="16" name="Group 5"/>
          <p:cNvGrpSpPr>
            <a:grpSpLocks/>
          </p:cNvGrpSpPr>
          <p:nvPr/>
        </p:nvGrpSpPr>
        <p:grpSpPr bwMode="gray">
          <a:xfrm>
            <a:off x="323850" y="3224213"/>
            <a:ext cx="8496300" cy="914400"/>
            <a:chOff x="226" y="2029"/>
            <a:chExt cx="5330" cy="576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17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226" y="2185"/>
              <a:ext cx="4797" cy="26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628650">
                <a:tabLst>
                  <a:tab pos="361950" algn="r"/>
                  <a:tab pos="1076325" algn="r"/>
                  <a:tab pos="1790700" algn="r"/>
                  <a:tab pos="2514600" algn="r"/>
                  <a:tab pos="3228975" algn="r"/>
                  <a:tab pos="3943350" algn="r"/>
                  <a:tab pos="4667250" algn="r"/>
                  <a:tab pos="5381625" algn="r"/>
                  <a:tab pos="6096000" algn="r"/>
                  <a:tab pos="6819900" algn="r"/>
                  <a:tab pos="7534275" algn="r"/>
                </a:tabLst>
              </a:pP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18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 rot="5400000">
              <a:off x="4969" y="2018"/>
              <a:ext cx="576" cy="598"/>
            </a:xfrm>
            <a:prstGeom prst="flowChartExtra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19" name="Gruppieren 18"/>
          <p:cNvGrpSpPr/>
          <p:nvPr/>
        </p:nvGrpSpPr>
        <p:grpSpPr bwMode="gray">
          <a:xfrm>
            <a:off x="641350" y="3924301"/>
            <a:ext cx="1400175" cy="1967452"/>
            <a:chOff x="641350" y="3924301"/>
            <a:chExt cx="1400175" cy="1647825"/>
          </a:xfrm>
        </p:grpSpPr>
        <p:sp>
          <p:nvSpPr>
            <p:cNvPr id="20" name="Line 63" descr="© INSCALE GmbH, 26.05.2010&#10;http://www.presentationload.com/"/>
            <p:cNvSpPr>
              <a:spLocks noChangeShapeType="1"/>
            </p:cNvSpPr>
            <p:nvPr/>
          </p:nvSpPr>
          <p:spPr bwMode="gray">
            <a:xfrm>
              <a:off x="641350" y="3924301"/>
              <a:ext cx="0" cy="158400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  <a:effectLst/>
          </p:spPr>
          <p:txBody>
            <a:bodyPr anchor="b"/>
            <a:lstStyle/>
            <a:p>
              <a:endParaRPr lang="en-GB"/>
            </a:p>
          </p:txBody>
        </p:sp>
        <p:sp>
          <p:nvSpPr>
            <p:cNvPr id="21" name="Text Box 67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647700" y="4217988"/>
              <a:ext cx="1393825" cy="13541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tIns="64800" anchor="b"/>
            <a:lstStyle/>
            <a:p>
              <a:pPr>
                <a:spcAft>
                  <a:spcPct val="40000"/>
                </a:spcAft>
              </a:pPr>
              <a:r>
                <a:rPr lang="en-GB" sz="1200" noProof="1"/>
                <a:t>All phrases can be replaced with your own text.</a:t>
              </a:r>
            </a:p>
          </p:txBody>
        </p:sp>
      </p:grpSp>
      <p:grpSp>
        <p:nvGrpSpPr>
          <p:cNvPr id="22" name="Gruppieren 21"/>
          <p:cNvGrpSpPr/>
          <p:nvPr/>
        </p:nvGrpSpPr>
        <p:grpSpPr bwMode="gray">
          <a:xfrm>
            <a:off x="2060575" y="3924301"/>
            <a:ext cx="1398588" cy="1967452"/>
            <a:chOff x="2060575" y="3924301"/>
            <a:chExt cx="1398588" cy="1647825"/>
          </a:xfrm>
        </p:grpSpPr>
        <p:sp>
          <p:nvSpPr>
            <p:cNvPr id="23" name="Line 64" descr="© INSCALE GmbH, 26.05.2010&#10;http://www.presentationload.com/"/>
            <p:cNvSpPr>
              <a:spLocks noChangeShapeType="1"/>
            </p:cNvSpPr>
            <p:nvPr/>
          </p:nvSpPr>
          <p:spPr bwMode="gray">
            <a:xfrm>
              <a:off x="2060575" y="3924301"/>
              <a:ext cx="0" cy="158400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  <a:effectLst/>
          </p:spPr>
          <p:txBody>
            <a:bodyPr anchor="b"/>
            <a:lstStyle/>
            <a:p>
              <a:endParaRPr lang="en-GB"/>
            </a:p>
          </p:txBody>
        </p:sp>
        <p:sp>
          <p:nvSpPr>
            <p:cNvPr id="24" name="Text Box 68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2065338" y="4217988"/>
              <a:ext cx="1393825" cy="13541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tIns="64800" anchor="b"/>
            <a:lstStyle/>
            <a:p>
              <a:pPr>
                <a:spcAft>
                  <a:spcPct val="40000"/>
                </a:spcAft>
              </a:pPr>
              <a:r>
                <a:rPr lang="en-GB" sz="1200" noProof="1"/>
                <a:t>All phrases can be replaced with your own text.</a:t>
              </a:r>
            </a:p>
          </p:txBody>
        </p:sp>
      </p:grpSp>
      <p:grpSp>
        <p:nvGrpSpPr>
          <p:cNvPr id="25" name="Gruppieren 24"/>
          <p:cNvGrpSpPr/>
          <p:nvPr/>
        </p:nvGrpSpPr>
        <p:grpSpPr bwMode="gray">
          <a:xfrm>
            <a:off x="3479800" y="3924301"/>
            <a:ext cx="1397000" cy="1967452"/>
            <a:chOff x="3479800" y="3924301"/>
            <a:chExt cx="1397000" cy="1647825"/>
          </a:xfrm>
        </p:grpSpPr>
        <p:sp>
          <p:nvSpPr>
            <p:cNvPr id="26" name="Line 65" descr="© INSCALE GmbH, 26.05.2010&#10;http://www.presentationload.com/"/>
            <p:cNvSpPr>
              <a:spLocks noChangeShapeType="1"/>
            </p:cNvSpPr>
            <p:nvPr/>
          </p:nvSpPr>
          <p:spPr bwMode="gray">
            <a:xfrm>
              <a:off x="3479800" y="3924301"/>
              <a:ext cx="0" cy="158400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  <a:effectLst/>
          </p:spPr>
          <p:txBody>
            <a:bodyPr anchor="b"/>
            <a:lstStyle/>
            <a:p>
              <a:endParaRPr lang="en-GB"/>
            </a:p>
          </p:txBody>
        </p:sp>
        <p:sp>
          <p:nvSpPr>
            <p:cNvPr id="27" name="Text Box 69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3482975" y="4217988"/>
              <a:ext cx="1393825" cy="13541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tIns="64800" anchor="b"/>
            <a:lstStyle/>
            <a:p>
              <a:pPr>
                <a:spcAft>
                  <a:spcPct val="40000"/>
                </a:spcAft>
              </a:pPr>
              <a:r>
                <a:rPr lang="en-GB" sz="1200" noProof="1"/>
                <a:t>This is a place </a:t>
              </a:r>
              <a:br>
                <a:rPr lang="en-GB" sz="1200" noProof="1"/>
              </a:br>
              <a:r>
                <a:rPr lang="en-GB" sz="1200" noProof="1"/>
                <a:t>for own text. </a:t>
              </a:r>
            </a:p>
          </p:txBody>
        </p:sp>
      </p:grpSp>
      <p:grpSp>
        <p:nvGrpSpPr>
          <p:cNvPr id="28" name="Gruppieren 27"/>
          <p:cNvGrpSpPr/>
          <p:nvPr/>
        </p:nvGrpSpPr>
        <p:grpSpPr bwMode="gray">
          <a:xfrm>
            <a:off x="4914900" y="3924301"/>
            <a:ext cx="1395413" cy="1967452"/>
            <a:chOff x="4914900" y="3924301"/>
            <a:chExt cx="1395413" cy="1647825"/>
          </a:xfrm>
        </p:grpSpPr>
        <p:sp>
          <p:nvSpPr>
            <p:cNvPr id="29" name="Line 66" descr="© INSCALE GmbH, 26.05.2010&#10;http://www.presentationload.com/"/>
            <p:cNvSpPr>
              <a:spLocks noChangeShapeType="1"/>
            </p:cNvSpPr>
            <p:nvPr/>
          </p:nvSpPr>
          <p:spPr bwMode="gray">
            <a:xfrm>
              <a:off x="4914900" y="3924301"/>
              <a:ext cx="0" cy="158400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  <a:effectLst/>
          </p:spPr>
          <p:txBody>
            <a:bodyPr anchor="b"/>
            <a:lstStyle/>
            <a:p>
              <a:endParaRPr lang="en-GB"/>
            </a:p>
          </p:txBody>
        </p:sp>
        <p:sp>
          <p:nvSpPr>
            <p:cNvPr id="30" name="Text Box 70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4916488" y="4217988"/>
              <a:ext cx="1393825" cy="13541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tIns="64800" anchor="b"/>
            <a:lstStyle/>
            <a:p>
              <a:pPr>
                <a:spcAft>
                  <a:spcPct val="40000"/>
                </a:spcAft>
              </a:pPr>
              <a:r>
                <a:rPr lang="en-GB" sz="1200" noProof="1"/>
                <a:t>This is a place </a:t>
              </a:r>
              <a:br>
                <a:rPr lang="en-GB" sz="1200" noProof="1"/>
              </a:br>
              <a:r>
                <a:rPr lang="en-GB" sz="1200" noProof="1"/>
                <a:t>for own text. </a:t>
              </a:r>
            </a:p>
          </p:txBody>
        </p:sp>
      </p:grpSp>
      <p:grpSp>
        <p:nvGrpSpPr>
          <p:cNvPr id="33" name="Group 53"/>
          <p:cNvGrpSpPr>
            <a:grpSpLocks/>
          </p:cNvGrpSpPr>
          <p:nvPr/>
        </p:nvGrpSpPr>
        <p:grpSpPr bwMode="gray">
          <a:xfrm>
            <a:off x="4953000" y="3924301"/>
            <a:ext cx="2476500" cy="292100"/>
            <a:chOff x="2179" y="2474"/>
            <a:chExt cx="873" cy="103"/>
          </a:xfrm>
        </p:grpSpPr>
        <p:sp>
          <p:nvSpPr>
            <p:cNvPr id="34" name="_color1" descr="© INSCALE GmbH, 26.05.2010&#10;http://www.presentationload.com/"/>
            <p:cNvSpPr>
              <a:spLocks/>
            </p:cNvSpPr>
            <p:nvPr/>
          </p:nvSpPr>
          <p:spPr bwMode="gray">
            <a:xfrm>
              <a:off x="2836" y="2474"/>
              <a:ext cx="216" cy="103"/>
            </a:xfrm>
            <a:custGeom>
              <a:avLst/>
              <a:gdLst/>
              <a:ahLst/>
              <a:cxnLst>
                <a:cxn ang="0">
                  <a:pos x="421" y="0"/>
                </a:cxn>
                <a:cxn ang="0">
                  <a:pos x="0" y="0"/>
                </a:cxn>
                <a:cxn ang="0">
                  <a:pos x="0" y="201"/>
                </a:cxn>
                <a:cxn ang="0">
                  <a:pos x="421" y="0"/>
                </a:cxn>
              </a:cxnLst>
              <a:rect l="0" t="0" r="r" b="b"/>
              <a:pathLst>
                <a:path w="421" h="201">
                  <a:moveTo>
                    <a:pt x="421" y="0"/>
                  </a:moveTo>
                  <a:lnTo>
                    <a:pt x="0" y="0"/>
                  </a:lnTo>
                  <a:lnTo>
                    <a:pt x="0" y="201"/>
                  </a:lnTo>
                  <a:lnTo>
                    <a:pt x="421" y="0"/>
                  </a:lnTo>
                  <a:close/>
                </a:path>
              </a:pathLst>
            </a:custGeom>
            <a:solidFill>
              <a:srgbClr val="0070C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2179" y="2474"/>
              <a:ext cx="675" cy="56"/>
            </a:xfrm>
            <a:prstGeom prst="rect">
              <a:avLst/>
            </a:pr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rgbClr val="0070C0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36" name="Rectangle 18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4945063" y="3916363"/>
            <a:ext cx="2476500" cy="1587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801688" eaLnBrk="0" hangingPunct="0"/>
            <a:r>
              <a:rPr lang="en-GB" sz="1000" b="1" noProof="1">
                <a:solidFill>
                  <a:srgbClr val="FFFFFF"/>
                </a:solidFill>
              </a:rPr>
              <a:t>Sales strategies</a:t>
            </a:r>
          </a:p>
        </p:txBody>
      </p:sp>
      <p:grpSp>
        <p:nvGrpSpPr>
          <p:cNvPr id="37" name="Group 73"/>
          <p:cNvGrpSpPr>
            <a:grpSpLocks/>
          </p:cNvGrpSpPr>
          <p:nvPr/>
        </p:nvGrpSpPr>
        <p:grpSpPr bwMode="gray">
          <a:xfrm>
            <a:off x="635000" y="3117850"/>
            <a:ext cx="4352925" cy="323850"/>
            <a:chOff x="400" y="1964"/>
            <a:chExt cx="2742" cy="204"/>
          </a:xfrm>
        </p:grpSpPr>
        <p:grpSp>
          <p:nvGrpSpPr>
            <p:cNvPr id="38" name="Group 52"/>
            <p:cNvGrpSpPr>
              <a:grpSpLocks/>
            </p:cNvGrpSpPr>
            <p:nvPr/>
          </p:nvGrpSpPr>
          <p:grpSpPr bwMode="gray">
            <a:xfrm>
              <a:off x="400" y="1964"/>
              <a:ext cx="2742" cy="204"/>
              <a:chOff x="420" y="2064"/>
              <a:chExt cx="1397" cy="104"/>
            </a:xfrm>
          </p:grpSpPr>
          <p:sp>
            <p:nvSpPr>
              <p:cNvPr id="40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1600" y="2064"/>
                <a:ext cx="217" cy="104"/>
              </a:xfrm>
              <a:custGeom>
                <a:avLst/>
                <a:gdLst/>
                <a:ahLst/>
                <a:cxnLst>
                  <a:cxn ang="0">
                    <a:pos x="423" y="203"/>
                  </a:cxn>
                  <a:cxn ang="0">
                    <a:pos x="423" y="203"/>
                  </a:cxn>
                  <a:cxn ang="0">
                    <a:pos x="0" y="0"/>
                  </a:cxn>
                  <a:cxn ang="0">
                    <a:pos x="0" y="203"/>
                  </a:cxn>
                  <a:cxn ang="0">
                    <a:pos x="423" y="203"/>
                  </a:cxn>
                </a:cxnLst>
                <a:rect l="0" t="0" r="r" b="b"/>
                <a:pathLst>
                  <a:path w="423" h="203">
                    <a:moveTo>
                      <a:pt x="423" y="203"/>
                    </a:moveTo>
                    <a:lnTo>
                      <a:pt x="423" y="203"/>
                    </a:lnTo>
                    <a:lnTo>
                      <a:pt x="0" y="0"/>
                    </a:lnTo>
                    <a:lnTo>
                      <a:pt x="0" y="203"/>
                    </a:lnTo>
                    <a:lnTo>
                      <a:pt x="423" y="203"/>
                    </a:lnTo>
                    <a:close/>
                  </a:path>
                </a:pathLst>
              </a:custGeom>
              <a:solidFill>
                <a:srgbClr val="0070C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" name="_color1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420" y="2111"/>
                <a:ext cx="1201" cy="57"/>
              </a:xfrm>
              <a:prstGeom prst="rect">
                <a:avLst/>
              </a:prstGeom>
              <a:gradFill rotWithShape="1">
                <a:gsLst>
                  <a:gs pos="0">
                    <a:schemeClr val="tx2">
                      <a:lumMod val="60000"/>
                      <a:lumOff val="40000"/>
                    </a:schemeClr>
                  </a:gs>
                  <a:gs pos="100000">
                    <a:srgbClr val="0070C0"/>
                  </a:gs>
                </a:gsLst>
                <a:lin ang="0" scaled="1"/>
              </a:gra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39" name="Rectangle 1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410" y="2051"/>
              <a:ext cx="2730" cy="112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801688" eaLnBrk="0" hangingPunct="0"/>
              <a:r>
                <a:rPr lang="en-GB" sz="1000" b="1" noProof="1">
                  <a:solidFill>
                    <a:srgbClr val="FFFFFF"/>
                  </a:solidFill>
                </a:rPr>
                <a:t>Product development</a:t>
              </a:r>
            </a:p>
          </p:txBody>
        </p:sp>
      </p:grpSp>
      <p:grpSp>
        <p:nvGrpSpPr>
          <p:cNvPr id="42" name="Group 89"/>
          <p:cNvGrpSpPr>
            <a:grpSpLocks/>
          </p:cNvGrpSpPr>
          <p:nvPr/>
        </p:nvGrpSpPr>
        <p:grpSpPr bwMode="gray">
          <a:xfrm>
            <a:off x="641350" y="1442301"/>
            <a:ext cx="1400175" cy="1813662"/>
            <a:chOff x="399" y="1006"/>
            <a:chExt cx="882" cy="1045"/>
          </a:xfrm>
        </p:grpSpPr>
        <p:sp>
          <p:nvSpPr>
            <p:cNvPr id="43" name="Line 75" descr="© INSCALE GmbH, 26.05.2010&#10;http://www.presentationload.com/"/>
            <p:cNvSpPr>
              <a:spLocks noChangeShapeType="1"/>
            </p:cNvSpPr>
            <p:nvPr/>
          </p:nvSpPr>
          <p:spPr bwMode="gray">
            <a:xfrm>
              <a:off x="399" y="1081"/>
              <a:ext cx="0" cy="97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4" name="Text Box 76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403" y="1006"/>
              <a:ext cx="878" cy="8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tIns="64800"/>
            <a:lstStyle/>
            <a:p>
              <a:pPr>
                <a:spcAft>
                  <a:spcPct val="40000"/>
                </a:spcAft>
              </a:pPr>
              <a:r>
                <a:rPr lang="en-GB" sz="1200" b="1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tep 1</a:t>
              </a:r>
            </a:p>
            <a:p>
              <a:pPr>
                <a:spcAft>
                  <a:spcPct val="40000"/>
                </a:spcAft>
              </a:pPr>
              <a:r>
                <a:rPr lang="en-GB" sz="1200" noProof="1"/>
                <a:t>This is a place </a:t>
              </a:r>
              <a:br>
                <a:rPr lang="en-GB" sz="1200" noProof="1"/>
              </a:br>
              <a:r>
                <a:rPr lang="en-GB" sz="1200" noProof="1"/>
                <a:t>for own text. All phrases can be replaced with your own text.</a:t>
              </a:r>
            </a:p>
          </p:txBody>
        </p:sp>
      </p:grpSp>
      <p:grpSp>
        <p:nvGrpSpPr>
          <p:cNvPr id="45" name="Group 87"/>
          <p:cNvGrpSpPr>
            <a:grpSpLocks/>
          </p:cNvGrpSpPr>
          <p:nvPr/>
        </p:nvGrpSpPr>
        <p:grpSpPr bwMode="gray">
          <a:xfrm>
            <a:off x="2428875" y="1442301"/>
            <a:ext cx="1398588" cy="1813662"/>
            <a:chOff x="1293" y="1006"/>
            <a:chExt cx="881" cy="1045"/>
          </a:xfrm>
        </p:grpSpPr>
        <p:sp>
          <p:nvSpPr>
            <p:cNvPr id="46" name="Text Box 81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1296" y="1006"/>
              <a:ext cx="878" cy="8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tIns="64800"/>
            <a:lstStyle/>
            <a:p>
              <a:pPr>
                <a:spcAft>
                  <a:spcPct val="40000"/>
                </a:spcAft>
              </a:pPr>
              <a:r>
                <a:rPr lang="en-GB" sz="1200" b="1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tep 2</a:t>
              </a:r>
            </a:p>
            <a:p>
              <a:pPr>
                <a:spcAft>
                  <a:spcPct val="40000"/>
                </a:spcAft>
              </a:pPr>
              <a:r>
                <a:rPr lang="en-GB" sz="1200" noProof="1"/>
                <a:t>All phrases can be replaced with your own text.</a:t>
              </a:r>
            </a:p>
          </p:txBody>
        </p:sp>
        <p:sp>
          <p:nvSpPr>
            <p:cNvPr id="47" name="Line 80" descr="© INSCALE GmbH, 26.05.2010&#10;http://www.presentationload.com/"/>
            <p:cNvSpPr>
              <a:spLocks noChangeShapeType="1"/>
            </p:cNvSpPr>
            <p:nvPr/>
          </p:nvSpPr>
          <p:spPr bwMode="gray">
            <a:xfrm>
              <a:off x="1293" y="1081"/>
              <a:ext cx="0" cy="97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en-GB"/>
            </a:p>
          </p:txBody>
        </p:sp>
      </p:grpSp>
      <p:grpSp>
        <p:nvGrpSpPr>
          <p:cNvPr id="48" name="Group 88"/>
          <p:cNvGrpSpPr>
            <a:grpSpLocks/>
          </p:cNvGrpSpPr>
          <p:nvPr/>
        </p:nvGrpSpPr>
        <p:grpSpPr bwMode="gray">
          <a:xfrm>
            <a:off x="4216400" y="1442301"/>
            <a:ext cx="1397000" cy="1813662"/>
            <a:chOff x="2187" y="1006"/>
            <a:chExt cx="880" cy="1045"/>
          </a:xfrm>
        </p:grpSpPr>
        <p:sp>
          <p:nvSpPr>
            <p:cNvPr id="49" name="Line 83" descr="© INSCALE GmbH, 26.05.2010&#10;http://www.presentationload.com/"/>
            <p:cNvSpPr>
              <a:spLocks noChangeShapeType="1"/>
            </p:cNvSpPr>
            <p:nvPr/>
          </p:nvSpPr>
          <p:spPr bwMode="gray">
            <a:xfrm>
              <a:off x="2187" y="1081"/>
              <a:ext cx="0" cy="97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Text Box 84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2189" y="1006"/>
              <a:ext cx="878" cy="8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tIns="64800"/>
            <a:lstStyle/>
            <a:p>
              <a:pPr>
                <a:spcAft>
                  <a:spcPct val="40000"/>
                </a:spcAft>
              </a:pPr>
              <a:r>
                <a:rPr lang="en-GB" sz="1200" b="1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tep 3</a:t>
              </a:r>
            </a:p>
            <a:p>
              <a:pPr>
                <a:spcAft>
                  <a:spcPct val="40000"/>
                </a:spcAft>
              </a:pPr>
              <a:r>
                <a:rPr lang="en-GB" sz="1200" noProof="1"/>
                <a:t>This is a place </a:t>
              </a:r>
              <a:br>
                <a:rPr lang="en-GB" sz="1200" noProof="1"/>
              </a:br>
              <a:r>
                <a:rPr lang="en-GB" sz="1200" noProof="1"/>
                <a:t>for own text. All phrases can be replaced with your own text.</a:t>
              </a:r>
            </a:p>
          </p:txBody>
        </p:sp>
      </p:grpSp>
      <p:grpSp>
        <p:nvGrpSpPr>
          <p:cNvPr id="51" name="Gruppieren 50"/>
          <p:cNvGrpSpPr/>
          <p:nvPr/>
        </p:nvGrpSpPr>
        <p:grpSpPr>
          <a:xfrm>
            <a:off x="6084888" y="1555750"/>
            <a:ext cx="2735262" cy="1320800"/>
            <a:chOff x="6084888" y="1555750"/>
            <a:chExt cx="2735262" cy="1320800"/>
          </a:xfrm>
        </p:grpSpPr>
        <p:sp>
          <p:nvSpPr>
            <p:cNvPr id="52" name="Rectangle 1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084888" y="1555750"/>
              <a:ext cx="2735262" cy="360363"/>
            </a:xfrm>
            <a:prstGeom prst="rect">
              <a:avLst/>
            </a:prstGeom>
            <a:gradFill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</a:gradFill>
            <a:ln w="12700" algn="ctr">
              <a:solidFill>
                <a:srgbClr val="DDDDDD"/>
              </a:solidFill>
              <a:miter lim="800000"/>
              <a:headEnd/>
              <a:tailEnd/>
            </a:ln>
            <a:effectLst/>
          </p:spPr>
          <p:txBody>
            <a:bodyPr lIns="288000" tIns="0" rIns="0" bIns="0" anchor="ctr"/>
            <a:lstStyle/>
            <a:p>
              <a:pPr defTabSz="801688" eaLnBrk="0" hangingPunct="0"/>
              <a:r>
                <a:rPr lang="en-GB" sz="1600" b="1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lanning</a:t>
              </a:r>
            </a:p>
          </p:txBody>
        </p:sp>
        <p:sp>
          <p:nvSpPr>
            <p:cNvPr id="53" name="Rectangle 5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084888" y="1916113"/>
              <a:ext cx="2735262" cy="960437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EAEAEA"/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/>
          </p:spPr>
          <p:txBody>
            <a:bodyPr lIns="108000" tIns="108000" rIns="144000" bIns="72000"/>
            <a:lstStyle/>
            <a:p>
              <a:pPr marL="190500" indent="-190500">
                <a:lnSpc>
                  <a:spcPct val="90000"/>
                </a:lnSpc>
                <a:spcAft>
                  <a:spcPct val="20000"/>
                </a:spcAft>
                <a:buClr>
                  <a:srgbClr val="292929"/>
                </a:buClr>
                <a:buFont typeface="Wingdings" pitchFamily="2" charset="2"/>
                <a:buChar char="§"/>
              </a:pPr>
              <a:r>
                <a:rPr lang="en-GB" sz="1200" noProof="1">
                  <a:solidFill>
                    <a:srgbClr val="000000"/>
                  </a:solidFill>
                </a:rPr>
                <a:t>Place your text. </a:t>
              </a:r>
            </a:p>
            <a:p>
              <a:pPr marL="190500" indent="-190500">
                <a:lnSpc>
                  <a:spcPct val="90000"/>
                </a:lnSpc>
                <a:spcAft>
                  <a:spcPct val="20000"/>
                </a:spcAft>
                <a:buClr>
                  <a:srgbClr val="292929"/>
                </a:buClr>
                <a:buFont typeface="Wingdings" pitchFamily="2" charset="2"/>
                <a:buChar char="§"/>
              </a:pPr>
              <a:r>
                <a:rPr lang="en-GB" sz="1200" noProof="1">
                  <a:solidFill>
                    <a:srgbClr val="000000"/>
                  </a:solidFill>
                </a:rPr>
                <a:t>This is a place for own text.</a:t>
              </a:r>
            </a:p>
          </p:txBody>
        </p:sp>
      </p:grpSp>
      <p:sp>
        <p:nvSpPr>
          <p:cNvPr id="54" name="Rectangle 42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358775" y="3475038"/>
            <a:ext cx="7615238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628650">
              <a:tabLst>
                <a:tab pos="361950" algn="r"/>
                <a:tab pos="1076325" algn="r"/>
                <a:tab pos="1790700" algn="r"/>
                <a:tab pos="2514600" algn="r"/>
                <a:tab pos="3228975" algn="r"/>
                <a:tab pos="3943350" algn="r"/>
                <a:tab pos="4667250" algn="r"/>
                <a:tab pos="5381625" algn="r"/>
                <a:tab pos="6096000" algn="r"/>
                <a:tab pos="6819900" algn="r"/>
                <a:tab pos="7534275" algn="r"/>
              </a:tabLst>
            </a:pPr>
            <a:r>
              <a:rPr lang="en-GB" sz="1400" b="1" noProof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	</a:t>
            </a:r>
            <a:r>
              <a:rPr lang="en-GB" sz="1400" b="1" noProof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20</a:t>
            </a:r>
            <a:r>
              <a:rPr lang="en-GB" sz="1400" b="1" noProof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	</a:t>
            </a:r>
            <a:r>
              <a:rPr lang="en-GB" sz="1400" b="1" noProof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25</a:t>
            </a:r>
            <a:r>
              <a:rPr lang="en-GB" sz="1400" b="1" noProof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	</a:t>
            </a:r>
            <a:r>
              <a:rPr lang="en-GB" sz="1400" b="1" noProof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35</a:t>
            </a:r>
            <a:r>
              <a:rPr lang="en-GB" sz="1400" b="1" noProof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	</a:t>
            </a:r>
            <a:r>
              <a:rPr lang="en-GB" sz="1400" b="1" noProof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42</a:t>
            </a:r>
            <a:r>
              <a:rPr lang="en-GB" sz="1400" b="1" noProof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	</a:t>
            </a:r>
            <a:r>
              <a:rPr lang="en-GB" sz="1400" b="1" noProof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50</a:t>
            </a:r>
            <a:r>
              <a:rPr lang="en-GB" sz="1400" b="1" noProof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	</a:t>
            </a:r>
            <a:r>
              <a:rPr lang="en-GB" sz="1400" b="1" noProof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55</a:t>
            </a:r>
            <a:r>
              <a:rPr lang="en-GB" sz="1400" b="1" noProof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	</a:t>
            </a:r>
            <a:r>
              <a:rPr lang="en-GB" sz="1400" b="1" noProof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60</a:t>
            </a:r>
            <a:r>
              <a:rPr lang="en-GB" sz="1400" b="1" noProof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	</a:t>
            </a:r>
            <a:r>
              <a:rPr lang="en-GB" sz="1400" b="1" noProof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74</a:t>
            </a:r>
            <a:r>
              <a:rPr lang="en-GB" sz="1400" b="1" noProof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	</a:t>
            </a:r>
            <a:r>
              <a:rPr lang="en-GB" sz="1400" b="1" noProof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80</a:t>
            </a:r>
            <a:r>
              <a:rPr lang="en-GB" sz="1400" b="1" noProof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	</a:t>
            </a:r>
            <a:r>
              <a:rPr lang="en-GB" sz="1400" b="1" noProof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91</a:t>
            </a:r>
            <a:r>
              <a:rPr lang="en-GB" sz="1400" b="1" noProof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	</a:t>
            </a:r>
            <a:r>
              <a:rPr lang="en-GB" sz="1400" b="1" noProof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100</a:t>
            </a:r>
            <a:endParaRPr lang="en-GB" sz="1400" b="1" noProof="1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381266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Timelines - Arrow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Placeholder for your own sub headline</a:t>
            </a:r>
          </a:p>
        </p:txBody>
      </p:sp>
      <p:grpSp>
        <p:nvGrpSpPr>
          <p:cNvPr id="5" name="Gruppieren 4"/>
          <p:cNvGrpSpPr/>
          <p:nvPr/>
        </p:nvGrpSpPr>
        <p:grpSpPr>
          <a:xfrm>
            <a:off x="315914" y="1479289"/>
            <a:ext cx="8504237" cy="4412464"/>
            <a:chOff x="315914" y="1479289"/>
            <a:chExt cx="8504237" cy="4412464"/>
          </a:xfrm>
        </p:grpSpPr>
        <p:grpSp>
          <p:nvGrpSpPr>
            <p:cNvPr id="15" name="Gruppieren 14"/>
            <p:cNvGrpSpPr/>
            <p:nvPr/>
          </p:nvGrpSpPr>
          <p:grpSpPr bwMode="gray">
            <a:xfrm>
              <a:off x="1193800" y="4184841"/>
              <a:ext cx="2178050" cy="1706912"/>
              <a:chOff x="1193800" y="4184842"/>
              <a:chExt cx="2178050" cy="1608506"/>
            </a:xfrm>
          </p:grpSpPr>
          <p:sp>
            <p:nvSpPr>
              <p:cNvPr id="16" name="Text Box 13" descr="© INSCALE GmbH, 26.05.2010&#10;http://www.presentationload.com/"/>
              <p:cNvSpPr txBox="1">
                <a:spLocks noChangeArrowheads="1"/>
              </p:cNvSpPr>
              <p:nvPr/>
            </p:nvSpPr>
            <p:spPr bwMode="gray">
              <a:xfrm>
                <a:off x="1193800" y="4802748"/>
                <a:ext cx="2178050" cy="9906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anchor="b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</a:pPr>
                <a:r>
                  <a:rPr lang="en-GB" sz="1200" noProof="1"/>
                  <a:t>The text demonstrates how your own text will look when you replace the placeholder text.</a:t>
                </a:r>
              </a:p>
            </p:txBody>
          </p:sp>
          <p:sp>
            <p:nvSpPr>
              <p:cNvPr id="17" name="Line 12" descr="© INSCALE GmbH, 26.05.2010&#10;http://www.presentationload.com/"/>
              <p:cNvSpPr>
                <a:spLocks noChangeShapeType="1"/>
              </p:cNvSpPr>
              <p:nvPr/>
            </p:nvSpPr>
            <p:spPr bwMode="gray">
              <a:xfrm>
                <a:off x="1193800" y="4184842"/>
                <a:ext cx="0" cy="154041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8" name="Gruppieren 17"/>
            <p:cNvGrpSpPr/>
            <p:nvPr/>
          </p:nvGrpSpPr>
          <p:grpSpPr bwMode="gray">
            <a:xfrm>
              <a:off x="3371850" y="4184841"/>
              <a:ext cx="1417638" cy="1706912"/>
              <a:chOff x="3371850" y="4184842"/>
              <a:chExt cx="1417638" cy="1608506"/>
            </a:xfrm>
          </p:grpSpPr>
          <p:sp>
            <p:nvSpPr>
              <p:cNvPr id="19" name="Text Box 22" descr="© INSCALE GmbH, 26.05.2010&#10;http://www.presentationload.com/"/>
              <p:cNvSpPr txBox="1">
                <a:spLocks noChangeArrowheads="1"/>
              </p:cNvSpPr>
              <p:nvPr/>
            </p:nvSpPr>
            <p:spPr bwMode="gray">
              <a:xfrm>
                <a:off x="3371850" y="4802748"/>
                <a:ext cx="1417638" cy="9906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anchor="b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</a:pPr>
                <a:r>
                  <a:rPr lang="en-GB" sz="1200" noProof="1"/>
                  <a:t>All phrases can be replaced with your own text.</a:t>
                </a:r>
              </a:p>
            </p:txBody>
          </p:sp>
          <p:sp>
            <p:nvSpPr>
              <p:cNvPr id="20" name="Line 21" descr="© INSCALE GmbH, 26.05.2010&#10;http://www.presentationload.com/"/>
              <p:cNvSpPr>
                <a:spLocks noChangeShapeType="1"/>
              </p:cNvSpPr>
              <p:nvPr/>
            </p:nvSpPr>
            <p:spPr bwMode="gray">
              <a:xfrm>
                <a:off x="3371850" y="4184842"/>
                <a:ext cx="0" cy="154041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21" name="Gruppieren 20"/>
            <p:cNvGrpSpPr/>
            <p:nvPr/>
          </p:nvGrpSpPr>
          <p:grpSpPr bwMode="gray">
            <a:xfrm>
              <a:off x="4999038" y="4184841"/>
              <a:ext cx="1912144" cy="1706912"/>
              <a:chOff x="4999038" y="4184842"/>
              <a:chExt cx="1912144" cy="1608506"/>
            </a:xfrm>
          </p:grpSpPr>
          <p:sp>
            <p:nvSpPr>
              <p:cNvPr id="22" name="Line 23" descr="© INSCALE GmbH, 26.05.2010&#10;http://www.presentationload.com/"/>
              <p:cNvSpPr>
                <a:spLocks noChangeShapeType="1"/>
              </p:cNvSpPr>
              <p:nvPr/>
            </p:nvSpPr>
            <p:spPr bwMode="gray">
              <a:xfrm>
                <a:off x="4999038" y="4184842"/>
                <a:ext cx="0" cy="154041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" name="Text Box 24" descr="© INSCALE GmbH, 26.05.2010&#10;http://www.presentationload.com/"/>
              <p:cNvSpPr txBox="1">
                <a:spLocks noChangeArrowheads="1"/>
              </p:cNvSpPr>
              <p:nvPr/>
            </p:nvSpPr>
            <p:spPr bwMode="gray">
              <a:xfrm>
                <a:off x="5008003" y="4802748"/>
                <a:ext cx="1903179" cy="9906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anchor="b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</a:pPr>
                <a:r>
                  <a:rPr lang="en-GB" sz="1200" noProof="1"/>
                  <a:t>This is place for own text. All phrases can be replaced with your own text.</a:t>
                </a:r>
              </a:p>
            </p:txBody>
          </p:sp>
        </p:grpSp>
        <p:grpSp>
          <p:nvGrpSpPr>
            <p:cNvPr id="24" name="Gruppieren 23"/>
            <p:cNvGrpSpPr/>
            <p:nvPr/>
          </p:nvGrpSpPr>
          <p:grpSpPr bwMode="gray">
            <a:xfrm>
              <a:off x="660400" y="1488000"/>
              <a:ext cx="1389063" cy="1768438"/>
              <a:chOff x="660400" y="1572337"/>
              <a:chExt cx="1389063" cy="1684099"/>
            </a:xfrm>
          </p:grpSpPr>
          <p:sp>
            <p:nvSpPr>
              <p:cNvPr id="25" name="Text Box 11" descr="© INSCALE GmbH, 26.05.2010&#10;http://www.presentationload.com/"/>
              <p:cNvSpPr txBox="1">
                <a:spLocks noChangeArrowheads="1"/>
              </p:cNvSpPr>
              <p:nvPr/>
            </p:nvSpPr>
            <p:spPr bwMode="gray">
              <a:xfrm>
                <a:off x="660400" y="1572337"/>
                <a:ext cx="1389063" cy="9905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</a:pPr>
                <a:r>
                  <a:rPr lang="en-GB" sz="1200" noProof="1"/>
                  <a:t>All phrases can be replaced with your own text.</a:t>
                </a:r>
              </a:p>
            </p:txBody>
          </p:sp>
          <p:sp>
            <p:nvSpPr>
              <p:cNvPr id="26" name="Line 10" descr="© INSCALE GmbH, 26.05.2010&#10;http://www.presentationload.com/"/>
              <p:cNvSpPr>
                <a:spLocks noChangeShapeType="1"/>
              </p:cNvSpPr>
              <p:nvPr/>
            </p:nvSpPr>
            <p:spPr bwMode="gray">
              <a:xfrm>
                <a:off x="660400" y="1636436"/>
                <a:ext cx="0" cy="162000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GB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  <p:grpSp>
          <p:nvGrpSpPr>
            <p:cNvPr id="27" name="Gruppieren 26"/>
            <p:cNvGrpSpPr/>
            <p:nvPr/>
          </p:nvGrpSpPr>
          <p:grpSpPr bwMode="gray">
            <a:xfrm>
              <a:off x="2279650" y="1479289"/>
              <a:ext cx="2165350" cy="1777148"/>
              <a:chOff x="2279650" y="1564042"/>
              <a:chExt cx="2165350" cy="1692394"/>
            </a:xfrm>
          </p:grpSpPr>
          <p:sp>
            <p:nvSpPr>
              <p:cNvPr id="28" name="Text Box 15" descr="© INSCALE GmbH, 26.05.2010&#10;http://www.presentationload.com/"/>
              <p:cNvSpPr txBox="1">
                <a:spLocks noChangeArrowheads="1"/>
              </p:cNvSpPr>
              <p:nvPr/>
            </p:nvSpPr>
            <p:spPr bwMode="gray">
              <a:xfrm>
                <a:off x="2279650" y="1564042"/>
                <a:ext cx="2165350" cy="9905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</a:pPr>
                <a:r>
                  <a:rPr lang="en-GB" sz="1200" noProof="1"/>
                  <a:t>This is placeholder text. All phrases can be replaced with your own text.</a:t>
                </a:r>
              </a:p>
            </p:txBody>
          </p:sp>
          <p:sp>
            <p:nvSpPr>
              <p:cNvPr id="29" name="Line 14" descr="© INSCALE GmbH, 26.05.2010&#10;http://www.presentationload.com/"/>
              <p:cNvSpPr>
                <a:spLocks noChangeShapeType="1"/>
              </p:cNvSpPr>
              <p:nvPr/>
            </p:nvSpPr>
            <p:spPr bwMode="gray">
              <a:xfrm>
                <a:off x="2279650" y="1636436"/>
                <a:ext cx="0" cy="162000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GB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  <p:grpSp>
          <p:nvGrpSpPr>
            <p:cNvPr id="30" name="Gruppieren 29"/>
            <p:cNvGrpSpPr/>
            <p:nvPr/>
          </p:nvGrpSpPr>
          <p:grpSpPr bwMode="gray">
            <a:xfrm>
              <a:off x="4445000" y="1479291"/>
              <a:ext cx="1820863" cy="1777146"/>
              <a:chOff x="4445000" y="1564044"/>
              <a:chExt cx="1820863" cy="1692392"/>
            </a:xfrm>
          </p:grpSpPr>
          <p:sp>
            <p:nvSpPr>
              <p:cNvPr id="31" name="Line 25" descr="© INSCALE GmbH, 26.05.2010&#10;http://www.presentationload.com/"/>
              <p:cNvSpPr>
                <a:spLocks noChangeShapeType="1"/>
              </p:cNvSpPr>
              <p:nvPr/>
            </p:nvSpPr>
            <p:spPr bwMode="gray">
              <a:xfrm>
                <a:off x="4445000" y="1636436"/>
                <a:ext cx="0" cy="162000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GB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32" name="Text Box 26" descr="© INSCALE GmbH, 26.05.2010&#10;http://www.presentationload.com/"/>
              <p:cNvSpPr txBox="1">
                <a:spLocks noChangeArrowheads="1"/>
              </p:cNvSpPr>
              <p:nvPr/>
            </p:nvSpPr>
            <p:spPr bwMode="gray">
              <a:xfrm>
                <a:off x="4445000" y="1564044"/>
                <a:ext cx="1820863" cy="10763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</a:pPr>
                <a:r>
                  <a:rPr lang="en-GB" sz="1200" noProof="1"/>
                  <a:t>The text demonstrates how your own text will look when you replace the placeholder text.</a:t>
                </a:r>
              </a:p>
            </p:txBody>
          </p:sp>
        </p:grpSp>
        <p:sp>
          <p:nvSpPr>
            <p:cNvPr id="33" name="Text Box 27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6911183" y="2741238"/>
              <a:ext cx="1908968" cy="19177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anchor="ctr" anchorCtr="0"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r>
                <a:rPr lang="en-GB" sz="1200" noProof="1"/>
                <a:t>This is placeholder text. </a:t>
              </a:r>
              <a:r>
                <a:rPr lang="en-GB" sz="1200" noProof="1" smtClean="0"/>
                <a:t/>
              </a:r>
              <a:br>
                <a:rPr lang="en-GB" sz="1200" noProof="1" smtClean="0"/>
              </a:br>
              <a:r>
                <a:rPr lang="en-GB" sz="1200" noProof="1" smtClean="0"/>
                <a:t>All </a:t>
              </a:r>
              <a:r>
                <a:rPr lang="en-GB" sz="1200" noProof="1"/>
                <a:t>phrases can be replaced with your own text. </a:t>
              </a:r>
            </a:p>
          </p:txBody>
        </p:sp>
        <p:grpSp>
          <p:nvGrpSpPr>
            <p:cNvPr id="4" name="Gruppieren 3"/>
            <p:cNvGrpSpPr/>
            <p:nvPr/>
          </p:nvGrpSpPr>
          <p:grpSpPr>
            <a:xfrm>
              <a:off x="315914" y="2872582"/>
              <a:ext cx="6595268" cy="1665288"/>
              <a:chOff x="315914" y="2872582"/>
              <a:chExt cx="6595268" cy="1665288"/>
            </a:xfrm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36" name="_color1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15914" y="3322638"/>
                <a:ext cx="5853112" cy="763588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>
                      <a:lumMod val="40000"/>
                      <a:lumOff val="60000"/>
                    </a:schemeClr>
                  </a:gs>
                  <a:gs pos="58000">
                    <a:srgbClr val="0070C0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defTabSz="628650">
                  <a:tabLst>
                    <a:tab pos="361950" algn="r"/>
                    <a:tab pos="1076325" algn="r"/>
                    <a:tab pos="1790700" algn="r"/>
                    <a:tab pos="2514600" algn="r"/>
                    <a:tab pos="3228975" algn="r"/>
                    <a:tab pos="3943350" algn="r"/>
                    <a:tab pos="4667250" algn="r"/>
                    <a:tab pos="5381625" algn="r"/>
                    <a:tab pos="6096000" algn="r"/>
                    <a:tab pos="6819900" algn="r"/>
                  </a:tabLst>
                </a:pPr>
                <a:endParaRPr lang="de-DE" sz="1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38" name="_color1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 rot="5400000">
                <a:off x="5707063" y="3333751"/>
                <a:ext cx="1665288" cy="742950"/>
              </a:xfrm>
              <a:prstGeom prst="flowChartExtract">
                <a:avLst/>
              </a:prstGeom>
              <a:solidFill>
                <a:srgbClr val="0070C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40" name="Rectangle 20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58775" y="3497787"/>
              <a:ext cx="5810250" cy="419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628650">
                <a:tabLst>
                  <a:tab pos="361950" algn="r"/>
                  <a:tab pos="1076325" algn="r"/>
                  <a:tab pos="1790700" algn="r"/>
                  <a:tab pos="2514600" algn="r"/>
                  <a:tab pos="3228975" algn="r"/>
                  <a:tab pos="3943350" algn="r"/>
                  <a:tab pos="4667250" algn="r"/>
                  <a:tab pos="5381625" algn="r"/>
                  <a:tab pos="6096000" algn="r"/>
                  <a:tab pos="6819900" algn="r"/>
                  <a:tab pos="7534275" algn="r"/>
                </a:tabLst>
              </a:pPr>
              <a:r>
                <a:rPr lang="en-GB" sz="1400" b="1" noProof="1" smtClea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2020   	2021   2022  2023   2024   2025   2026   2027   2028   2029</a:t>
              </a:r>
              <a:endParaRPr lang="en-GB" sz="1400" b="1" noProof="1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1266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/>
        </p:nvGrpSpPr>
        <p:grpSpPr>
          <a:xfrm>
            <a:off x="323895" y="1556864"/>
            <a:ext cx="4086540" cy="504000"/>
            <a:chOff x="323895" y="1556864"/>
            <a:chExt cx="4086540" cy="504000"/>
          </a:xfrm>
        </p:grpSpPr>
        <p:sp>
          <p:nvSpPr>
            <p:cNvPr id="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5" y="1556864"/>
              <a:ext cx="3683360" cy="503911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Agenda Slides</a:t>
              </a:r>
            </a:p>
          </p:txBody>
        </p:sp>
        <p:sp>
          <p:nvSpPr>
            <p:cNvPr id="3" name="Rechteck 2"/>
            <p:cNvSpPr/>
            <p:nvPr/>
          </p:nvSpPr>
          <p:spPr>
            <a:xfrm>
              <a:off x="323895" y="1556953"/>
              <a:ext cx="324000" cy="503911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323895" y="2180757"/>
            <a:ext cx="4086181" cy="504000"/>
            <a:chOff x="323895" y="2180757"/>
            <a:chExt cx="4086181" cy="504000"/>
          </a:xfrm>
        </p:grpSpPr>
        <p:sp>
          <p:nvSpPr>
            <p:cNvPr id="5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2180757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Gantt Charts</a:t>
              </a:r>
            </a:p>
          </p:txBody>
        </p:sp>
        <p:sp>
          <p:nvSpPr>
            <p:cNvPr id="92" name="Rechteck 91"/>
            <p:cNvSpPr/>
            <p:nvPr/>
          </p:nvSpPr>
          <p:spPr>
            <a:xfrm>
              <a:off x="323895" y="2180758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2</a:t>
              </a:r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323895" y="2804650"/>
            <a:ext cx="4086181" cy="504000"/>
            <a:chOff x="323895" y="2804650"/>
            <a:chExt cx="4086181" cy="504000"/>
          </a:xfrm>
        </p:grpSpPr>
        <p:sp>
          <p:nvSpPr>
            <p:cNvPr id="93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2804650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Funnels 3D</a:t>
              </a:r>
            </a:p>
          </p:txBody>
        </p:sp>
        <p:sp>
          <p:nvSpPr>
            <p:cNvPr id="94" name="Rechteck 93"/>
            <p:cNvSpPr/>
            <p:nvPr/>
          </p:nvSpPr>
          <p:spPr>
            <a:xfrm>
              <a:off x="323895" y="2804651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3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323895" y="3428543"/>
            <a:ext cx="4086181" cy="504000"/>
            <a:chOff x="323895" y="3428543"/>
            <a:chExt cx="4086181" cy="504000"/>
          </a:xfrm>
        </p:grpSpPr>
        <p:sp>
          <p:nvSpPr>
            <p:cNvPr id="9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3428543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Pie / Donut Charts</a:t>
              </a:r>
            </a:p>
          </p:txBody>
        </p:sp>
        <p:sp>
          <p:nvSpPr>
            <p:cNvPr id="96" name="Rechteck 95"/>
            <p:cNvSpPr/>
            <p:nvPr/>
          </p:nvSpPr>
          <p:spPr>
            <a:xfrm>
              <a:off x="323895" y="3428544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4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" name="Gruppieren 11"/>
          <p:cNvGrpSpPr/>
          <p:nvPr/>
        </p:nvGrpSpPr>
        <p:grpSpPr>
          <a:xfrm>
            <a:off x="323895" y="4052436"/>
            <a:ext cx="4086181" cy="504000"/>
            <a:chOff x="323895" y="4052436"/>
            <a:chExt cx="4086181" cy="504000"/>
          </a:xfrm>
        </p:grpSpPr>
        <p:sp>
          <p:nvSpPr>
            <p:cNvPr id="9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4052436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Overlapping Text Boxes</a:t>
              </a:r>
            </a:p>
          </p:txBody>
        </p:sp>
        <p:sp>
          <p:nvSpPr>
            <p:cNvPr id="98" name="Rechteck 97"/>
            <p:cNvSpPr/>
            <p:nvPr/>
          </p:nvSpPr>
          <p:spPr>
            <a:xfrm>
              <a:off x="323895" y="4052437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5</a:t>
              </a:r>
            </a:p>
          </p:txBody>
        </p:sp>
      </p:grpSp>
      <p:grpSp>
        <p:nvGrpSpPr>
          <p:cNvPr id="13" name="Gruppieren 12"/>
          <p:cNvGrpSpPr/>
          <p:nvPr/>
        </p:nvGrpSpPr>
        <p:grpSpPr>
          <a:xfrm>
            <a:off x="323895" y="4676329"/>
            <a:ext cx="4086181" cy="504000"/>
            <a:chOff x="323895" y="4676329"/>
            <a:chExt cx="4086181" cy="504000"/>
          </a:xfrm>
        </p:grpSpPr>
        <p:sp>
          <p:nvSpPr>
            <p:cNvPr id="9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4676329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Timelines Arrows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323895" y="4676330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6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323895" y="5300224"/>
            <a:ext cx="4086181" cy="504000"/>
            <a:chOff x="323895" y="5300224"/>
            <a:chExt cx="4086181" cy="504000"/>
          </a:xfrm>
        </p:grpSpPr>
        <p:sp>
          <p:nvSpPr>
            <p:cNvPr id="101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5300224"/>
              <a:ext cx="3682998" cy="503999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16200000" scaled="0"/>
              <a:tileRect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 smtClean="0">
                  <a:solidFill>
                    <a:schemeClr val="bg1"/>
                  </a:solidFill>
                </a:rPr>
                <a:t>3D Spheres </a:t>
              </a:r>
              <a:r>
                <a:rPr lang="en-US" sz="1600" b="1" noProof="1">
                  <a:solidFill>
                    <a:schemeClr val="bg1"/>
                  </a:solidFill>
                </a:rPr>
                <a:t>with </a:t>
              </a:r>
              <a:r>
                <a:rPr lang="en-US" sz="1600" b="1" noProof="1" smtClean="0">
                  <a:solidFill>
                    <a:schemeClr val="bg1"/>
                  </a:solidFill>
                </a:rPr>
                <a:t>Core</a:t>
              </a:r>
              <a:endParaRPr lang="en-US" sz="1600" b="1" noProof="1">
                <a:solidFill>
                  <a:schemeClr val="bg1"/>
                </a:solidFill>
              </a:endParaRPr>
            </a:p>
          </p:txBody>
        </p:sp>
        <p:sp>
          <p:nvSpPr>
            <p:cNvPr id="102" name="Rechteck 101"/>
            <p:cNvSpPr/>
            <p:nvPr/>
          </p:nvSpPr>
          <p:spPr>
            <a:xfrm>
              <a:off x="323895" y="5300225"/>
              <a:ext cx="324000" cy="503999"/>
            </a:xfrm>
            <a:prstGeom prst="rect">
              <a:avLst/>
            </a:pr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rgbClr val="0070C0"/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7</a:t>
              </a:r>
            </a:p>
          </p:txBody>
        </p:sp>
      </p:grpSp>
      <p:grpSp>
        <p:nvGrpSpPr>
          <p:cNvPr id="124" name="Gruppieren 123"/>
          <p:cNvGrpSpPr/>
          <p:nvPr/>
        </p:nvGrpSpPr>
        <p:grpSpPr>
          <a:xfrm>
            <a:off x="4733970" y="1556862"/>
            <a:ext cx="4086181" cy="504000"/>
            <a:chOff x="4733970" y="1556862"/>
            <a:chExt cx="4086181" cy="504000"/>
          </a:xfrm>
        </p:grpSpPr>
        <p:sp>
          <p:nvSpPr>
            <p:cNvPr id="5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1556862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Step Process Chart</a:t>
              </a:r>
            </a:p>
          </p:txBody>
        </p:sp>
        <p:sp>
          <p:nvSpPr>
            <p:cNvPr id="58" name="Rechteck 57"/>
            <p:cNvSpPr/>
            <p:nvPr/>
          </p:nvSpPr>
          <p:spPr>
            <a:xfrm>
              <a:off x="4733970" y="1556863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8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5" name="Gruppieren 124"/>
          <p:cNvGrpSpPr/>
          <p:nvPr/>
        </p:nvGrpSpPr>
        <p:grpSpPr>
          <a:xfrm>
            <a:off x="4733970" y="2180756"/>
            <a:ext cx="4086181" cy="504000"/>
            <a:chOff x="4733970" y="2180756"/>
            <a:chExt cx="4086181" cy="504000"/>
          </a:xfrm>
        </p:grpSpPr>
        <p:sp>
          <p:nvSpPr>
            <p:cNvPr id="5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2180756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Curves and Trend Charts</a:t>
              </a:r>
            </a:p>
          </p:txBody>
        </p:sp>
        <p:sp>
          <p:nvSpPr>
            <p:cNvPr id="60" name="Rechteck 59"/>
            <p:cNvSpPr/>
            <p:nvPr/>
          </p:nvSpPr>
          <p:spPr>
            <a:xfrm>
              <a:off x="4733970" y="2180757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9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6" name="Gruppieren 125"/>
          <p:cNvGrpSpPr/>
          <p:nvPr/>
        </p:nvGrpSpPr>
        <p:grpSpPr>
          <a:xfrm>
            <a:off x="4733970" y="2804650"/>
            <a:ext cx="4086181" cy="504000"/>
            <a:chOff x="4733970" y="2804650"/>
            <a:chExt cx="4086181" cy="504000"/>
          </a:xfrm>
        </p:grpSpPr>
        <p:sp>
          <p:nvSpPr>
            <p:cNvPr id="61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2804650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3D Spheres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Fill </a:t>
              </a:r>
              <a:r>
                <a:rPr lang="en-US" sz="1600" b="1" noProof="1">
                  <a:solidFill>
                    <a:srgbClr val="5F5F5F"/>
                  </a:solidFill>
                </a:rPr>
                <a:t>L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evels</a:t>
              </a:r>
              <a:r>
                <a:rPr lang="en-US" sz="1600" b="1" noProof="1">
                  <a:solidFill>
                    <a:srgbClr val="5F5F5F"/>
                  </a:solidFill>
                </a:rPr>
                <a:t>	</a:t>
              </a:r>
            </a:p>
          </p:txBody>
        </p:sp>
        <p:sp>
          <p:nvSpPr>
            <p:cNvPr id="62" name="Rechteck 61"/>
            <p:cNvSpPr/>
            <p:nvPr/>
          </p:nvSpPr>
          <p:spPr>
            <a:xfrm>
              <a:off x="4733970" y="2804651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0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7" name="Gruppieren 126"/>
          <p:cNvGrpSpPr/>
          <p:nvPr/>
        </p:nvGrpSpPr>
        <p:grpSpPr>
          <a:xfrm>
            <a:off x="4733970" y="3428544"/>
            <a:ext cx="4086181" cy="504000"/>
            <a:chOff x="4733970" y="3428544"/>
            <a:chExt cx="4086181" cy="504000"/>
          </a:xfrm>
        </p:grpSpPr>
        <p:sp>
          <p:nvSpPr>
            <p:cNvPr id="63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3428544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Data-driven Diagrams	</a:t>
              </a:r>
            </a:p>
          </p:txBody>
        </p:sp>
        <p:sp>
          <p:nvSpPr>
            <p:cNvPr id="64" name="Rechteck 63"/>
            <p:cNvSpPr/>
            <p:nvPr/>
          </p:nvSpPr>
          <p:spPr>
            <a:xfrm>
              <a:off x="4733970" y="3428545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1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8" name="Gruppieren 127"/>
          <p:cNvGrpSpPr/>
          <p:nvPr/>
        </p:nvGrpSpPr>
        <p:grpSpPr>
          <a:xfrm>
            <a:off x="4733970" y="4052438"/>
            <a:ext cx="4086181" cy="504000"/>
            <a:chOff x="4733970" y="4052438"/>
            <a:chExt cx="4086181" cy="504000"/>
          </a:xfrm>
        </p:grpSpPr>
        <p:sp>
          <p:nvSpPr>
            <p:cNvPr id="6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4052438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Arrow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Process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66" name="Rechteck 65"/>
            <p:cNvSpPr/>
            <p:nvPr/>
          </p:nvSpPr>
          <p:spPr>
            <a:xfrm>
              <a:off x="4733970" y="4052439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2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9" name="Gruppieren 128"/>
          <p:cNvGrpSpPr/>
          <p:nvPr/>
        </p:nvGrpSpPr>
        <p:grpSpPr>
          <a:xfrm>
            <a:off x="4733970" y="4676332"/>
            <a:ext cx="4086181" cy="504000"/>
            <a:chOff x="4733970" y="4676332"/>
            <a:chExt cx="4086181" cy="504000"/>
          </a:xfrm>
        </p:grpSpPr>
        <p:sp>
          <p:nvSpPr>
            <p:cNvPr id="6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4676332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Circle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Diagram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68" name="Rechteck 67"/>
            <p:cNvSpPr/>
            <p:nvPr/>
          </p:nvSpPr>
          <p:spPr>
            <a:xfrm>
              <a:off x="4733970" y="4676333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3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30" name="Gruppieren 129"/>
          <p:cNvGrpSpPr/>
          <p:nvPr/>
        </p:nvGrpSpPr>
        <p:grpSpPr>
          <a:xfrm>
            <a:off x="4733970" y="5300225"/>
            <a:ext cx="4086181" cy="504000"/>
            <a:chOff x="4733970" y="5300225"/>
            <a:chExt cx="4086181" cy="504000"/>
          </a:xfrm>
        </p:grpSpPr>
        <p:sp>
          <p:nvSpPr>
            <p:cNvPr id="6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5300225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3D Arrows</a:t>
              </a:r>
            </a:p>
          </p:txBody>
        </p:sp>
        <p:sp>
          <p:nvSpPr>
            <p:cNvPr id="70" name="Rechteck 69"/>
            <p:cNvSpPr/>
            <p:nvPr/>
          </p:nvSpPr>
          <p:spPr>
            <a:xfrm>
              <a:off x="4733970" y="5300226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4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siness Starter Package</a:t>
            </a:r>
            <a:endParaRPr lang="en-US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laceholder for your own sub headline</a:t>
            </a:r>
          </a:p>
        </p:txBody>
      </p:sp>
    </p:spTree>
    <p:extLst>
      <p:ext uri="{BB962C8B-B14F-4D97-AF65-F5344CB8AC3E}">
        <p14:creationId xmlns:p14="http://schemas.microsoft.com/office/powerpoint/2010/main" val="1644068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_effect" descr="C:\Users\marc.h\Desktop\Schatten-TES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84725" y="5508928"/>
            <a:ext cx="4035425" cy="608184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 smtClean="0"/>
              <a:t>Sphere </a:t>
            </a:r>
            <a:r>
              <a:rPr lang="de-DE" noProof="1"/>
              <a:t>with Cor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 smtClean="0"/>
              <a:t>6 Rings</a:t>
            </a:r>
            <a:endParaRPr lang="en-US" dirty="0"/>
          </a:p>
        </p:txBody>
      </p:sp>
      <p:grpSp>
        <p:nvGrpSpPr>
          <p:cNvPr id="7" name="Gruppieren 6"/>
          <p:cNvGrpSpPr/>
          <p:nvPr/>
        </p:nvGrpSpPr>
        <p:grpSpPr>
          <a:xfrm>
            <a:off x="4083050" y="2670175"/>
            <a:ext cx="5338763" cy="2946400"/>
            <a:chOff x="4083050" y="2670175"/>
            <a:chExt cx="5338763" cy="2946400"/>
          </a:xfrm>
        </p:grpSpPr>
        <p:sp>
          <p:nvSpPr>
            <p:cNvPr id="40" name="Freeform 36"/>
            <p:cNvSpPr>
              <a:spLocks/>
            </p:cNvSpPr>
            <p:nvPr/>
          </p:nvSpPr>
          <p:spPr bwMode="gray">
            <a:xfrm rot="-1800000">
              <a:off x="4660900" y="3230563"/>
              <a:ext cx="4760913" cy="2386012"/>
            </a:xfrm>
            <a:custGeom>
              <a:avLst/>
              <a:gdLst>
                <a:gd name="T0" fmla="*/ 749 w 1499"/>
                <a:gd name="T1" fmla="*/ 751 h 751"/>
                <a:gd name="T2" fmla="*/ 1499 w 1499"/>
                <a:gd name="T3" fmla="*/ 2 h 751"/>
                <a:gd name="T4" fmla="*/ 0 w 1499"/>
                <a:gd name="T5" fmla="*/ 0 h 751"/>
                <a:gd name="T6" fmla="*/ 749 w 1499"/>
                <a:gd name="T7" fmla="*/ 751 h 75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99"/>
                <a:gd name="T13" fmla="*/ 0 h 751"/>
                <a:gd name="T14" fmla="*/ 1499 w 1499"/>
                <a:gd name="T15" fmla="*/ 751 h 75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99" h="751">
                  <a:moveTo>
                    <a:pt x="749" y="751"/>
                  </a:moveTo>
                  <a:cubicBezTo>
                    <a:pt x="1163" y="751"/>
                    <a:pt x="1499" y="416"/>
                    <a:pt x="1499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14"/>
                    <a:pt x="335" y="750"/>
                    <a:pt x="749" y="751"/>
                  </a:cubicBezTo>
                  <a:close/>
                </a:path>
              </a:pathLst>
            </a:custGeom>
            <a:gradFill rotWithShape="1">
              <a:gsLst>
                <a:gs pos="0">
                  <a:srgbClr val="E9E9E9"/>
                </a:gs>
                <a:gs pos="100000">
                  <a:srgbClr val="777777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1" name="Oval 8"/>
            <p:cNvSpPr>
              <a:spLocks noChangeArrowheads="1"/>
            </p:cNvSpPr>
            <p:nvPr/>
          </p:nvSpPr>
          <p:spPr bwMode="gray">
            <a:xfrm rot="-1800000">
              <a:off x="4083050" y="2670175"/>
              <a:ext cx="4759325" cy="1452563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B4B4B4"/>
                </a:gs>
              </a:gsLst>
              <a:lin ang="189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2" name="Oval 9"/>
            <p:cNvSpPr>
              <a:spLocks noChangeArrowheads="1"/>
            </p:cNvSpPr>
            <p:nvPr/>
          </p:nvSpPr>
          <p:spPr bwMode="gray">
            <a:xfrm rot="-1800000">
              <a:off x="4289425" y="2741613"/>
              <a:ext cx="4289425" cy="1311275"/>
            </a:xfrm>
            <a:prstGeom prst="ellipse">
              <a:avLst/>
            </a:prstGeom>
            <a:gradFill rotWithShape="1">
              <a:gsLst>
                <a:gs pos="0">
                  <a:srgbClr val="EAEAEA"/>
                </a:gs>
                <a:gs pos="100000">
                  <a:srgbClr val="686868"/>
                </a:gs>
              </a:gsLst>
              <a:lin ang="18900000" scaled="1"/>
            </a:gradFill>
            <a:ln w="12700">
              <a:solidFill>
                <a:schemeClr val="bg1"/>
              </a:solidFill>
              <a:miter lim="800000"/>
              <a:headEnd/>
              <a:tailEnd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43" name="Oval 10"/>
            <p:cNvSpPr>
              <a:spLocks noChangeArrowheads="1"/>
            </p:cNvSpPr>
            <p:nvPr/>
          </p:nvSpPr>
          <p:spPr bwMode="gray">
            <a:xfrm rot="-1800000">
              <a:off x="4618038" y="2841625"/>
              <a:ext cx="3632200" cy="1111250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CDCDC"/>
                </a:gs>
              </a:gsLst>
              <a:lin ang="189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4" name="Oval 11"/>
            <p:cNvSpPr>
              <a:spLocks noChangeArrowheads="1"/>
            </p:cNvSpPr>
            <p:nvPr/>
          </p:nvSpPr>
          <p:spPr bwMode="gray">
            <a:xfrm rot="-1800000">
              <a:off x="4937125" y="2936875"/>
              <a:ext cx="2994025" cy="920750"/>
            </a:xfrm>
            <a:prstGeom prst="ellipse">
              <a:avLst/>
            </a:prstGeom>
            <a:gradFill rotWithShape="1">
              <a:gsLst>
                <a:gs pos="0">
                  <a:srgbClr val="EAEAEA"/>
                </a:gs>
                <a:gs pos="100000">
                  <a:srgbClr val="686868"/>
                </a:gs>
              </a:gsLst>
              <a:lin ang="18900000" scaled="1"/>
            </a:gradFill>
            <a:ln w="12700">
              <a:solidFill>
                <a:schemeClr val="bg1"/>
              </a:solidFill>
              <a:miter lim="800000"/>
              <a:headEnd/>
              <a:tailEnd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45" name="Oval 12"/>
            <p:cNvSpPr>
              <a:spLocks noChangeArrowheads="1"/>
            </p:cNvSpPr>
            <p:nvPr/>
          </p:nvSpPr>
          <p:spPr bwMode="gray">
            <a:xfrm rot="-1800000">
              <a:off x="5297488" y="3048000"/>
              <a:ext cx="2273300" cy="698500"/>
            </a:xfrm>
            <a:prstGeom prst="ellipse">
              <a:avLst/>
            </a:prstGeom>
            <a:gradFill rotWithShape="1">
              <a:gsLst>
                <a:gs pos="0">
                  <a:srgbClr val="AEAEAE"/>
                </a:gs>
                <a:gs pos="100000">
                  <a:srgbClr val="515151"/>
                </a:gs>
              </a:gsLst>
              <a:lin ang="18900000" scaled="1"/>
            </a:gradFill>
            <a:ln w="12700">
              <a:solidFill>
                <a:schemeClr val="bg1"/>
              </a:solidFill>
              <a:miter lim="800000"/>
              <a:headEnd/>
              <a:tailEnd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46" name="Oval 13"/>
            <p:cNvSpPr>
              <a:spLocks noChangeArrowheads="1"/>
            </p:cNvSpPr>
            <p:nvPr/>
          </p:nvSpPr>
          <p:spPr bwMode="gray">
            <a:xfrm rot="-1800000">
              <a:off x="5597525" y="3152775"/>
              <a:ext cx="1655763" cy="508000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767676"/>
                </a:gs>
              </a:gsLst>
              <a:lin ang="189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54" name="Oval 23"/>
            <p:cNvSpPr>
              <a:spLocks noChangeArrowheads="1"/>
            </p:cNvSpPr>
            <p:nvPr/>
          </p:nvSpPr>
          <p:spPr bwMode="gray">
            <a:xfrm rot="-1800000">
              <a:off x="5846763" y="3230563"/>
              <a:ext cx="1155700" cy="352425"/>
            </a:xfrm>
            <a:prstGeom prst="ellipse">
              <a:avLst/>
            </a:prstGeom>
            <a:gradFill rotWithShape="1">
              <a:gsLst>
                <a:gs pos="0">
                  <a:schemeClr val="tx2">
                    <a:lumMod val="75000"/>
                  </a:schemeClr>
                </a:gs>
                <a:gs pos="100000">
                  <a:srgbClr val="0070C0"/>
                </a:gs>
              </a:gsLst>
              <a:lin ang="2700000" scaled="1"/>
            </a:gradFill>
            <a:ln>
              <a:solidFill>
                <a:schemeClr val="bg1"/>
              </a:solidFill>
            </a:ln>
            <a:extLst/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55" name="Group 26"/>
          <p:cNvGrpSpPr>
            <a:grpSpLocks/>
          </p:cNvGrpSpPr>
          <p:nvPr/>
        </p:nvGrpSpPr>
        <p:grpSpPr bwMode="auto">
          <a:xfrm>
            <a:off x="3582988" y="2882902"/>
            <a:ext cx="2460625" cy="523875"/>
            <a:chOff x="2257" y="1229"/>
            <a:chExt cx="1550" cy="330"/>
          </a:xfrm>
        </p:grpSpPr>
        <p:sp>
          <p:nvSpPr>
            <p:cNvPr id="56" name="Line 18"/>
            <p:cNvSpPr>
              <a:spLocks noChangeShapeType="1"/>
            </p:cNvSpPr>
            <p:nvPr/>
          </p:nvSpPr>
          <p:spPr bwMode="gray">
            <a:xfrm flipH="1">
              <a:off x="2257" y="1229"/>
              <a:ext cx="161" cy="0"/>
            </a:xfrm>
            <a:prstGeom prst="line">
              <a:avLst/>
            </a:prstGeom>
            <a:noFill/>
            <a:ln w="19050" cap="rnd">
              <a:solidFill>
                <a:schemeClr val="tx1">
                  <a:lumMod val="65000"/>
                  <a:lumOff val="35000"/>
                </a:scheme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57" name="Line 25"/>
            <p:cNvSpPr>
              <a:spLocks noChangeShapeType="1"/>
            </p:cNvSpPr>
            <p:nvPr/>
          </p:nvSpPr>
          <p:spPr bwMode="gray">
            <a:xfrm>
              <a:off x="2437" y="1229"/>
              <a:ext cx="1370" cy="330"/>
            </a:xfrm>
            <a:prstGeom prst="line">
              <a:avLst/>
            </a:prstGeom>
            <a:noFill/>
            <a:ln w="19050" cap="rnd">
              <a:solidFill>
                <a:schemeClr val="tx1">
                  <a:lumMod val="65000"/>
                  <a:lumOff val="35000"/>
                </a:schemeClr>
              </a:solidFill>
              <a:prstDash val="sysDot"/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</p:grpSp>
      <p:grpSp>
        <p:nvGrpSpPr>
          <p:cNvPr id="49" name="Group 27"/>
          <p:cNvGrpSpPr>
            <a:grpSpLocks/>
          </p:cNvGrpSpPr>
          <p:nvPr/>
        </p:nvGrpSpPr>
        <p:grpSpPr bwMode="auto">
          <a:xfrm>
            <a:off x="3582988" y="4256088"/>
            <a:ext cx="2038350" cy="1535112"/>
            <a:chOff x="2257" y="2597"/>
            <a:chExt cx="1284" cy="967"/>
          </a:xfrm>
          <a:effectLst>
            <a:reflection blurRad="6350" stA="52000" endA="300" endPos="35000" dir="5400000" sy="-100000" algn="bl" rotWithShape="0"/>
          </a:effectLst>
        </p:grpSpPr>
        <p:sp>
          <p:nvSpPr>
            <p:cNvPr id="50" name="Line 16"/>
            <p:cNvSpPr>
              <a:spLocks noChangeShapeType="1"/>
            </p:cNvSpPr>
            <p:nvPr/>
          </p:nvSpPr>
          <p:spPr bwMode="gray">
            <a:xfrm flipV="1">
              <a:off x="2417" y="2597"/>
              <a:ext cx="1124" cy="967"/>
            </a:xfrm>
            <a:prstGeom prst="line">
              <a:avLst/>
            </a:prstGeom>
            <a:noFill/>
            <a:ln w="19050" cap="rnd">
              <a:solidFill>
                <a:schemeClr val="tx1">
                  <a:lumMod val="65000"/>
                  <a:lumOff val="35000"/>
                </a:schemeClr>
              </a:solidFill>
              <a:prstDash val="sysDot"/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51" name="Line 19"/>
            <p:cNvSpPr>
              <a:spLocks noChangeShapeType="1"/>
            </p:cNvSpPr>
            <p:nvPr/>
          </p:nvSpPr>
          <p:spPr bwMode="gray">
            <a:xfrm flipH="1">
              <a:off x="2257" y="3564"/>
              <a:ext cx="161" cy="0"/>
            </a:xfrm>
            <a:prstGeom prst="line">
              <a:avLst/>
            </a:prstGeom>
            <a:noFill/>
            <a:ln w="19050" cap="rnd">
              <a:solidFill>
                <a:schemeClr val="tx1">
                  <a:lumMod val="65000"/>
                  <a:lumOff val="35000"/>
                </a:scheme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</p:grpSp>
      <p:grpSp>
        <p:nvGrpSpPr>
          <p:cNvPr id="65" name="Gruppieren 64"/>
          <p:cNvGrpSpPr/>
          <p:nvPr/>
        </p:nvGrpSpPr>
        <p:grpSpPr>
          <a:xfrm>
            <a:off x="323850" y="1559391"/>
            <a:ext cx="3258445" cy="1320800"/>
            <a:chOff x="6084888" y="1555750"/>
            <a:chExt cx="2735262" cy="1320800"/>
          </a:xfrm>
        </p:grpSpPr>
        <p:sp>
          <p:nvSpPr>
            <p:cNvPr id="66" name="Rectangle 1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084888" y="1555750"/>
              <a:ext cx="2735262" cy="360363"/>
            </a:xfrm>
            <a:prstGeom prst="rect">
              <a:avLst/>
            </a:prstGeom>
            <a:gradFill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</a:gradFill>
            <a:ln w="12700" algn="ctr">
              <a:solidFill>
                <a:srgbClr val="DDDDDD"/>
              </a:solidFill>
              <a:miter lim="800000"/>
              <a:headEnd/>
              <a:tailEnd/>
            </a:ln>
            <a:effectLst/>
          </p:spPr>
          <p:txBody>
            <a:bodyPr lIns="288000" tIns="0" rIns="0" bIns="0" anchor="ctr"/>
            <a:lstStyle/>
            <a:p>
              <a:pPr defTabSz="801688" eaLnBrk="0" hangingPunct="0"/>
              <a:r>
                <a:rPr lang="en-GB" sz="1600" b="1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lanning</a:t>
              </a:r>
            </a:p>
          </p:txBody>
        </p:sp>
        <p:sp>
          <p:nvSpPr>
            <p:cNvPr id="68" name="Rectangle 5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084888" y="1916113"/>
              <a:ext cx="2735262" cy="960437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EAEAEA"/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/>
          </p:spPr>
          <p:txBody>
            <a:bodyPr lIns="108000" tIns="108000" rIns="144000" bIns="72000"/>
            <a:lstStyle/>
            <a:p>
              <a:pPr marL="190500" indent="-190500">
                <a:lnSpc>
                  <a:spcPct val="90000"/>
                </a:lnSpc>
                <a:spcAft>
                  <a:spcPct val="20000"/>
                </a:spcAft>
                <a:buClr>
                  <a:srgbClr val="292929"/>
                </a:buClr>
                <a:buFont typeface="Wingdings" pitchFamily="2" charset="2"/>
                <a:buChar char="§"/>
              </a:pPr>
              <a:r>
                <a:rPr lang="en-US" sz="1600" noProof="1">
                  <a:solidFill>
                    <a:srgbClr val="000000"/>
                  </a:solidFill>
                </a:rPr>
                <a:t>The text you type keeps the same style and formatting as the placeholder text.</a:t>
              </a:r>
            </a:p>
          </p:txBody>
        </p:sp>
      </p:grpSp>
      <p:grpSp>
        <p:nvGrpSpPr>
          <p:cNvPr id="26" name="Gruppieren 25"/>
          <p:cNvGrpSpPr/>
          <p:nvPr/>
        </p:nvGrpSpPr>
        <p:grpSpPr>
          <a:xfrm>
            <a:off x="323850" y="4262592"/>
            <a:ext cx="3258445" cy="1535113"/>
            <a:chOff x="6084888" y="1555750"/>
            <a:chExt cx="2735262" cy="1535113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  <a:reflection blurRad="6350" stA="52000" endA="300" endPos="35000" dir="5400000" sy="-100000" algn="bl" rotWithShape="0"/>
          </a:effectLst>
        </p:grpSpPr>
        <p:sp>
          <p:nvSpPr>
            <p:cNvPr id="27" name="Rectangle 1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084888" y="1555750"/>
              <a:ext cx="2735262" cy="360363"/>
            </a:xfrm>
            <a:prstGeom prst="rect">
              <a:avLst/>
            </a:prstGeom>
            <a:gradFill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</a:gradFill>
            <a:ln w="12700" algn="ctr">
              <a:solidFill>
                <a:srgbClr val="DDDDDD"/>
              </a:solidFill>
              <a:miter lim="800000"/>
              <a:headEnd/>
              <a:tailEnd/>
            </a:ln>
            <a:effectLst/>
          </p:spPr>
          <p:txBody>
            <a:bodyPr lIns="288000" tIns="0" rIns="0" bIns="0" anchor="ctr"/>
            <a:lstStyle/>
            <a:p>
              <a:pPr defTabSz="801688" eaLnBrk="0" hangingPunct="0"/>
              <a:r>
                <a:rPr lang="en-GB" sz="1600" b="1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lanning</a:t>
              </a:r>
            </a:p>
          </p:txBody>
        </p:sp>
        <p:sp>
          <p:nvSpPr>
            <p:cNvPr id="28" name="Rectangle 5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084888" y="1916113"/>
              <a:ext cx="2735262" cy="117475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EAEAEA"/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/>
          </p:spPr>
          <p:txBody>
            <a:bodyPr lIns="108000" tIns="108000" rIns="144000" bIns="72000"/>
            <a:lstStyle/>
            <a:p>
              <a:pPr marL="190500" indent="-190500">
                <a:lnSpc>
                  <a:spcPct val="90000"/>
                </a:lnSpc>
                <a:spcAft>
                  <a:spcPct val="20000"/>
                </a:spcAft>
                <a:buClr>
                  <a:srgbClr val="292929"/>
                </a:buClr>
                <a:buFont typeface="Wingdings" pitchFamily="2" charset="2"/>
                <a:buChar char="§"/>
              </a:pPr>
              <a:r>
                <a:rPr lang="en-US" sz="1600" noProof="1">
                  <a:solidFill>
                    <a:srgbClr val="000000"/>
                  </a:solidFill>
                </a:rPr>
                <a:t>If you don't want to use the exact style and size of fonts used by the placeholder, you can replace it by selecting different ones.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63943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uppieren 31"/>
          <p:cNvGrpSpPr/>
          <p:nvPr/>
        </p:nvGrpSpPr>
        <p:grpSpPr>
          <a:xfrm>
            <a:off x="323850" y="1557661"/>
            <a:ext cx="3258445" cy="1465238"/>
            <a:chOff x="6084888" y="1555750"/>
            <a:chExt cx="2735262" cy="1465238"/>
          </a:xfrm>
        </p:grpSpPr>
        <p:sp>
          <p:nvSpPr>
            <p:cNvPr id="33" name="Rectangle 1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084888" y="1555750"/>
              <a:ext cx="2735262" cy="360363"/>
            </a:xfrm>
            <a:prstGeom prst="rect">
              <a:avLst/>
            </a:prstGeom>
            <a:gradFill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</a:gradFill>
            <a:ln w="12700" algn="ctr">
              <a:solidFill>
                <a:srgbClr val="DDDDDD"/>
              </a:solidFill>
              <a:miter lim="800000"/>
              <a:headEnd/>
              <a:tailEnd/>
            </a:ln>
            <a:effectLst/>
          </p:spPr>
          <p:txBody>
            <a:bodyPr lIns="288000" tIns="0" rIns="0" bIns="0" anchor="ctr"/>
            <a:lstStyle/>
            <a:p>
              <a:pPr defTabSz="801688" eaLnBrk="0" hangingPunct="0"/>
              <a:r>
                <a:rPr lang="en-GB" sz="1600" b="1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eadline</a:t>
              </a:r>
            </a:p>
          </p:txBody>
        </p:sp>
        <p:sp>
          <p:nvSpPr>
            <p:cNvPr id="34" name="Rectangle 5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084888" y="1916113"/>
              <a:ext cx="2735262" cy="110487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EAEAEA"/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/>
          </p:spPr>
          <p:txBody>
            <a:bodyPr lIns="108000" tIns="108000" rIns="144000" bIns="72000"/>
            <a:lstStyle/>
            <a:p>
              <a:pPr marL="190500" indent="-190500">
                <a:lnSpc>
                  <a:spcPct val="90000"/>
                </a:lnSpc>
                <a:spcAft>
                  <a:spcPct val="20000"/>
                </a:spcAft>
                <a:buClr>
                  <a:srgbClr val="292929"/>
                </a:buClr>
                <a:buFont typeface="Wingdings" pitchFamily="2" charset="2"/>
                <a:buChar char="§"/>
              </a:pPr>
              <a:r>
                <a:rPr lang="en-US" sz="1600" noProof="1">
                  <a:solidFill>
                    <a:srgbClr val="000000"/>
                  </a:solidFill>
                </a:rPr>
                <a:t>The text is meant only to demonstrate how your own text will look when you replace the placeholder text. 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Sphere with Cor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 smtClean="0"/>
              <a:t>5 Rings</a:t>
            </a:r>
            <a:endParaRPr lang="en-US" dirty="0"/>
          </a:p>
        </p:txBody>
      </p:sp>
      <p:pic>
        <p:nvPicPr>
          <p:cNvPr id="31" name="_effect" descr="C:\Users\marc.h\Desktop\Schatten-TES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84725" y="5508928"/>
            <a:ext cx="4035425" cy="608184"/>
          </a:xfrm>
          <a:prstGeom prst="rect">
            <a:avLst/>
          </a:prstGeom>
          <a:noFill/>
        </p:spPr>
      </p:pic>
      <p:grpSp>
        <p:nvGrpSpPr>
          <p:cNvPr id="6" name="Gruppieren 5"/>
          <p:cNvGrpSpPr/>
          <p:nvPr/>
        </p:nvGrpSpPr>
        <p:grpSpPr>
          <a:xfrm>
            <a:off x="4057650" y="2670175"/>
            <a:ext cx="5364163" cy="2946400"/>
            <a:chOff x="4057650" y="2670175"/>
            <a:chExt cx="5364163" cy="2946400"/>
          </a:xfrm>
        </p:grpSpPr>
        <p:sp>
          <p:nvSpPr>
            <p:cNvPr id="19" name="Freeform 22"/>
            <p:cNvSpPr>
              <a:spLocks/>
            </p:cNvSpPr>
            <p:nvPr/>
          </p:nvSpPr>
          <p:spPr bwMode="gray">
            <a:xfrm rot="-1800000">
              <a:off x="4660900" y="3230563"/>
              <a:ext cx="4760913" cy="2386012"/>
            </a:xfrm>
            <a:custGeom>
              <a:avLst/>
              <a:gdLst>
                <a:gd name="T0" fmla="*/ 749 w 1499"/>
                <a:gd name="T1" fmla="*/ 751 h 751"/>
                <a:gd name="T2" fmla="*/ 1499 w 1499"/>
                <a:gd name="T3" fmla="*/ 2 h 751"/>
                <a:gd name="T4" fmla="*/ 0 w 1499"/>
                <a:gd name="T5" fmla="*/ 0 h 751"/>
                <a:gd name="T6" fmla="*/ 749 w 1499"/>
                <a:gd name="T7" fmla="*/ 751 h 75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99"/>
                <a:gd name="T13" fmla="*/ 0 h 751"/>
                <a:gd name="T14" fmla="*/ 1499 w 1499"/>
                <a:gd name="T15" fmla="*/ 751 h 75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99" h="751">
                  <a:moveTo>
                    <a:pt x="749" y="751"/>
                  </a:moveTo>
                  <a:cubicBezTo>
                    <a:pt x="1163" y="751"/>
                    <a:pt x="1499" y="416"/>
                    <a:pt x="1499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14"/>
                    <a:pt x="335" y="750"/>
                    <a:pt x="749" y="751"/>
                  </a:cubicBezTo>
                  <a:close/>
                </a:path>
              </a:pathLst>
            </a:custGeom>
            <a:gradFill rotWithShape="1">
              <a:gsLst>
                <a:gs pos="0">
                  <a:srgbClr val="E9E9E9"/>
                </a:gs>
                <a:gs pos="100000">
                  <a:srgbClr val="777777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" name="Oval 7"/>
            <p:cNvSpPr>
              <a:spLocks noChangeArrowheads="1"/>
            </p:cNvSpPr>
            <p:nvPr/>
          </p:nvSpPr>
          <p:spPr bwMode="gray">
            <a:xfrm rot="-1800000">
              <a:off x="4057650" y="2670175"/>
              <a:ext cx="4759325" cy="1452563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B4B4B4"/>
                </a:gs>
              </a:gsLst>
              <a:lin ang="189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1" name="Oval 8"/>
            <p:cNvSpPr>
              <a:spLocks noChangeArrowheads="1"/>
            </p:cNvSpPr>
            <p:nvPr/>
          </p:nvSpPr>
          <p:spPr bwMode="gray">
            <a:xfrm rot="-1800000">
              <a:off x="4289425" y="2741613"/>
              <a:ext cx="4289425" cy="1311275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lumMod val="75000"/>
                  </a:schemeClr>
                </a:gs>
                <a:gs pos="100000">
                  <a:srgbClr val="0070C0"/>
                </a:gs>
              </a:gsLst>
              <a:lin ang="2700000" scaled="1"/>
            </a:gradFill>
            <a:ln>
              <a:solidFill>
                <a:schemeClr val="bg1"/>
              </a:solidFill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2" name="Oval 9"/>
            <p:cNvSpPr>
              <a:spLocks noChangeArrowheads="1"/>
            </p:cNvSpPr>
            <p:nvPr/>
          </p:nvSpPr>
          <p:spPr bwMode="gray">
            <a:xfrm rot="-1800000">
              <a:off x="4618038" y="2841625"/>
              <a:ext cx="3632200" cy="1111250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767676"/>
                </a:gs>
              </a:gsLst>
              <a:lin ang="189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3" name="Oval 10"/>
            <p:cNvSpPr>
              <a:spLocks noChangeArrowheads="1"/>
            </p:cNvSpPr>
            <p:nvPr/>
          </p:nvSpPr>
          <p:spPr bwMode="gray">
            <a:xfrm rot="-1800000">
              <a:off x="4937125" y="2936875"/>
              <a:ext cx="2994025" cy="920750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lumMod val="75000"/>
                  </a:schemeClr>
                </a:gs>
                <a:gs pos="100000">
                  <a:srgbClr val="0070C0"/>
                </a:gs>
              </a:gsLst>
              <a:lin ang="2700000" scaled="1"/>
            </a:gradFill>
            <a:ln>
              <a:solidFill>
                <a:schemeClr val="bg1"/>
              </a:solidFill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4" name="Oval 11"/>
            <p:cNvSpPr>
              <a:spLocks noChangeArrowheads="1"/>
            </p:cNvSpPr>
            <p:nvPr/>
          </p:nvSpPr>
          <p:spPr bwMode="gray">
            <a:xfrm rot="-1800000">
              <a:off x="5297488" y="3048000"/>
              <a:ext cx="2273300" cy="698500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767676"/>
                </a:gs>
              </a:gsLst>
              <a:lin ang="189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0" name="Oval 20"/>
            <p:cNvSpPr>
              <a:spLocks noChangeArrowheads="1"/>
            </p:cNvSpPr>
            <p:nvPr/>
          </p:nvSpPr>
          <p:spPr bwMode="gray">
            <a:xfrm rot="-1800000">
              <a:off x="5845175" y="3216275"/>
              <a:ext cx="1177925" cy="361950"/>
            </a:xfrm>
            <a:prstGeom prst="ellipse">
              <a:avLst/>
            </a:prstGeom>
            <a:gradFill rotWithShape="1">
              <a:gsLst>
                <a:gs pos="0">
                  <a:schemeClr val="tx2">
                    <a:lumMod val="75000"/>
                  </a:schemeClr>
                </a:gs>
                <a:gs pos="100000">
                  <a:srgbClr val="0070C0"/>
                </a:gs>
              </a:gsLst>
              <a:lin ang="2700000" scaled="1"/>
            </a:gradFill>
            <a:ln>
              <a:solidFill>
                <a:schemeClr val="bg1"/>
              </a:solidFill>
            </a:ln>
            <a:extLst/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35" name="Gruppieren 34"/>
          <p:cNvGrpSpPr/>
          <p:nvPr/>
        </p:nvGrpSpPr>
        <p:grpSpPr>
          <a:xfrm>
            <a:off x="323850" y="4262592"/>
            <a:ext cx="3258445" cy="1535113"/>
            <a:chOff x="6084888" y="1555750"/>
            <a:chExt cx="2735262" cy="1535113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  <a:reflection blurRad="6350" stA="52000" endA="300" endPos="35000" dir="5400000" sy="-100000" algn="bl" rotWithShape="0"/>
          </a:effectLst>
        </p:grpSpPr>
        <p:sp>
          <p:nvSpPr>
            <p:cNvPr id="36" name="Rectangle 1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084888" y="1555750"/>
              <a:ext cx="2735262" cy="360363"/>
            </a:xfrm>
            <a:prstGeom prst="rect">
              <a:avLst/>
            </a:prstGeom>
            <a:gradFill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</a:gradFill>
            <a:ln w="12700" algn="ctr">
              <a:solidFill>
                <a:srgbClr val="DDDDDD"/>
              </a:solidFill>
              <a:miter lim="800000"/>
              <a:headEnd/>
              <a:tailEnd/>
            </a:ln>
            <a:effectLst/>
          </p:spPr>
          <p:txBody>
            <a:bodyPr lIns="288000" tIns="0" rIns="0" bIns="0" anchor="ctr"/>
            <a:lstStyle/>
            <a:p>
              <a:pPr defTabSz="801688" eaLnBrk="0" hangingPunct="0"/>
              <a:r>
                <a:rPr lang="en-GB" sz="16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eadline</a:t>
              </a:r>
              <a:endParaRPr lang="en-GB" sz="1600" b="1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7" name="Rectangle 5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084888" y="1916113"/>
              <a:ext cx="2735262" cy="117475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EAEAEA"/>
                </a:gs>
              </a:gsLst>
              <a:lin ang="54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/>
          </p:spPr>
          <p:txBody>
            <a:bodyPr lIns="108000" tIns="108000" rIns="144000" bIns="72000"/>
            <a:lstStyle/>
            <a:p>
              <a:pPr marL="190500" indent="-190500">
                <a:lnSpc>
                  <a:spcPct val="90000"/>
                </a:lnSpc>
                <a:spcAft>
                  <a:spcPct val="20000"/>
                </a:spcAft>
                <a:buClr>
                  <a:srgbClr val="292929"/>
                </a:buClr>
                <a:buFont typeface="Wingdings" pitchFamily="2" charset="2"/>
                <a:buChar char="§"/>
              </a:pPr>
              <a:r>
                <a:rPr lang="en-US" sz="1600" noProof="1">
                  <a:solidFill>
                    <a:srgbClr val="000000"/>
                  </a:solidFill>
                </a:rPr>
                <a:t>If you don't want to use the exact style and size of fonts used by the placeholder, you can replace it by selecting different ones. </a:t>
              </a:r>
            </a:p>
          </p:txBody>
        </p:sp>
      </p:grpSp>
      <p:grpSp>
        <p:nvGrpSpPr>
          <p:cNvPr id="49" name="Group 27"/>
          <p:cNvGrpSpPr>
            <a:grpSpLocks/>
          </p:cNvGrpSpPr>
          <p:nvPr/>
        </p:nvGrpSpPr>
        <p:grpSpPr bwMode="auto">
          <a:xfrm>
            <a:off x="3582988" y="4256088"/>
            <a:ext cx="2038350" cy="1535112"/>
            <a:chOff x="2257" y="2597"/>
            <a:chExt cx="1284" cy="967"/>
          </a:xfrm>
          <a:effectLst>
            <a:reflection blurRad="6350" stA="52000" endA="300" endPos="35000" dir="5400000" sy="-100000" algn="bl" rotWithShape="0"/>
          </a:effectLst>
        </p:grpSpPr>
        <p:sp>
          <p:nvSpPr>
            <p:cNvPr id="50" name="Line 16"/>
            <p:cNvSpPr>
              <a:spLocks noChangeShapeType="1"/>
            </p:cNvSpPr>
            <p:nvPr/>
          </p:nvSpPr>
          <p:spPr bwMode="gray">
            <a:xfrm flipV="1">
              <a:off x="2417" y="2597"/>
              <a:ext cx="1124" cy="967"/>
            </a:xfrm>
            <a:prstGeom prst="line">
              <a:avLst/>
            </a:prstGeom>
            <a:noFill/>
            <a:ln w="19050" cap="rnd">
              <a:solidFill>
                <a:schemeClr val="tx1">
                  <a:lumMod val="65000"/>
                  <a:lumOff val="35000"/>
                </a:schemeClr>
              </a:solidFill>
              <a:prstDash val="sysDot"/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51" name="Line 19"/>
            <p:cNvSpPr>
              <a:spLocks noChangeShapeType="1"/>
            </p:cNvSpPr>
            <p:nvPr/>
          </p:nvSpPr>
          <p:spPr bwMode="gray">
            <a:xfrm flipH="1">
              <a:off x="2257" y="3564"/>
              <a:ext cx="161" cy="0"/>
            </a:xfrm>
            <a:prstGeom prst="line">
              <a:avLst/>
            </a:prstGeom>
            <a:noFill/>
            <a:ln w="19050" cap="rnd">
              <a:solidFill>
                <a:schemeClr val="tx1">
                  <a:lumMod val="65000"/>
                  <a:lumOff val="35000"/>
                </a:scheme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</p:grpSp>
      <p:grpSp>
        <p:nvGrpSpPr>
          <p:cNvPr id="52" name="Group 26"/>
          <p:cNvGrpSpPr>
            <a:grpSpLocks/>
          </p:cNvGrpSpPr>
          <p:nvPr/>
        </p:nvGrpSpPr>
        <p:grpSpPr bwMode="auto">
          <a:xfrm>
            <a:off x="3582988" y="3009902"/>
            <a:ext cx="2460625" cy="396875"/>
            <a:chOff x="2257" y="1309"/>
            <a:chExt cx="1550" cy="250"/>
          </a:xfrm>
        </p:grpSpPr>
        <p:sp>
          <p:nvSpPr>
            <p:cNvPr id="53" name="Line 18"/>
            <p:cNvSpPr>
              <a:spLocks noChangeShapeType="1"/>
            </p:cNvSpPr>
            <p:nvPr/>
          </p:nvSpPr>
          <p:spPr bwMode="gray">
            <a:xfrm flipH="1">
              <a:off x="2257" y="1309"/>
              <a:ext cx="161" cy="0"/>
            </a:xfrm>
            <a:prstGeom prst="line">
              <a:avLst/>
            </a:prstGeom>
            <a:noFill/>
            <a:ln w="19050" cap="rnd">
              <a:solidFill>
                <a:schemeClr val="tx1">
                  <a:lumMod val="65000"/>
                  <a:lumOff val="35000"/>
                </a:scheme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54" name="Line 25"/>
            <p:cNvSpPr>
              <a:spLocks noChangeShapeType="1"/>
            </p:cNvSpPr>
            <p:nvPr/>
          </p:nvSpPr>
          <p:spPr bwMode="gray">
            <a:xfrm>
              <a:off x="2418" y="1309"/>
              <a:ext cx="1389" cy="250"/>
            </a:xfrm>
            <a:prstGeom prst="line">
              <a:avLst/>
            </a:prstGeom>
            <a:noFill/>
            <a:ln w="19050" cap="rnd">
              <a:solidFill>
                <a:schemeClr val="tx1">
                  <a:lumMod val="65000"/>
                  <a:lumOff val="35000"/>
                </a:schemeClr>
              </a:solidFill>
              <a:prstDash val="sysDot"/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265814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 - 3 Items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laceholder for your own sub headline</a:t>
            </a:r>
          </a:p>
          <a:p>
            <a:endParaRPr lang="de-DE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324643" y="1561307"/>
            <a:ext cx="8496299" cy="1308255"/>
            <a:chOff x="324643" y="1561307"/>
            <a:chExt cx="8496299" cy="1308255"/>
          </a:xfrm>
        </p:grpSpPr>
        <p:sp>
          <p:nvSpPr>
            <p:cNvPr id="43" name="Rectangle 19"/>
            <p:cNvSpPr>
              <a:spLocks noChangeArrowheads="1"/>
            </p:cNvSpPr>
            <p:nvPr/>
          </p:nvSpPr>
          <p:spPr bwMode="gray">
            <a:xfrm>
              <a:off x="1001485" y="1561307"/>
              <a:ext cx="7818680" cy="360363"/>
            </a:xfrm>
            <a:prstGeom prst="rect">
              <a:avLst/>
            </a:prstGeom>
            <a:gradFill rotWithShape="1">
              <a:gsLst>
                <a:gs pos="0">
                  <a:srgbClr val="EAEAEA"/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0" rIns="0" bIns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01688" eaLnBrk="0" hangingPunct="0"/>
              <a:r>
                <a:rPr lang="de-DE" b="1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This is a placeholder text</a:t>
              </a:r>
            </a:p>
          </p:txBody>
        </p:sp>
        <p:sp>
          <p:nvSpPr>
            <p:cNvPr id="44" name="Rectangle 5"/>
            <p:cNvSpPr>
              <a:spLocks noChangeArrowheads="1"/>
            </p:cNvSpPr>
            <p:nvPr/>
          </p:nvSpPr>
          <p:spPr bwMode="gray">
            <a:xfrm>
              <a:off x="1001485" y="1921671"/>
              <a:ext cx="7819457" cy="94344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108000" rIns="144000" bIns="72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de-DE" noProof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The text demonstrates how your own text will look </a:t>
              </a:r>
              <a:br>
                <a:rPr lang="de-DE" noProof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de-DE" noProof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when you replace the placeholder text</a:t>
              </a:r>
              <a:r>
                <a:rPr lang="de-DE" noProof="1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</a:t>
              </a:r>
              <a:endParaRPr lang="de-DE" noProof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6" name="Rechteck 45"/>
            <p:cNvSpPr/>
            <p:nvPr/>
          </p:nvSpPr>
          <p:spPr>
            <a:xfrm>
              <a:off x="324643" y="1561307"/>
              <a:ext cx="555671" cy="1308255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4400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</a:t>
              </a:r>
              <a:endParaRPr lang="en-US" sz="4400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324643" y="3026814"/>
            <a:ext cx="8496299" cy="1308255"/>
            <a:chOff x="324643" y="1561307"/>
            <a:chExt cx="8496299" cy="1308255"/>
          </a:xfrm>
        </p:grpSpPr>
        <p:sp>
          <p:nvSpPr>
            <p:cNvPr id="51" name="Rectangle 19"/>
            <p:cNvSpPr>
              <a:spLocks noChangeArrowheads="1"/>
            </p:cNvSpPr>
            <p:nvPr/>
          </p:nvSpPr>
          <p:spPr bwMode="gray">
            <a:xfrm>
              <a:off x="1001485" y="1561307"/>
              <a:ext cx="7818680" cy="360363"/>
            </a:xfrm>
            <a:prstGeom prst="rect">
              <a:avLst/>
            </a:pr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rgbClr val="0070C0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0" rIns="0" bIns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01688" eaLnBrk="0" hangingPunct="0"/>
              <a:r>
                <a:rPr lang="de-DE" b="1" noProof="1">
                  <a:solidFill>
                    <a:srgbClr val="F8F8F8"/>
                  </a:solidFill>
                  <a:cs typeface="Arial" charset="0"/>
                </a:rPr>
                <a:t>This is a placeholder text</a:t>
              </a:r>
            </a:p>
          </p:txBody>
        </p:sp>
        <p:sp>
          <p:nvSpPr>
            <p:cNvPr id="52" name="Rectangle 5"/>
            <p:cNvSpPr>
              <a:spLocks noChangeArrowheads="1"/>
            </p:cNvSpPr>
            <p:nvPr/>
          </p:nvSpPr>
          <p:spPr bwMode="gray">
            <a:xfrm>
              <a:off x="1001485" y="1921671"/>
              <a:ext cx="7819457" cy="94344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108000" rIns="144000" bIns="72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en-US" noProof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The text that you insert will retain the same style </a:t>
              </a:r>
              <a:br>
                <a:rPr lang="en-US" noProof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en-US" noProof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nd format as the placeholder text.</a:t>
              </a:r>
            </a:p>
          </p:txBody>
        </p:sp>
        <p:sp>
          <p:nvSpPr>
            <p:cNvPr id="53" name="Rechteck 52"/>
            <p:cNvSpPr/>
            <p:nvPr/>
          </p:nvSpPr>
          <p:spPr>
            <a:xfrm>
              <a:off x="324643" y="1561307"/>
              <a:ext cx="555671" cy="1308255"/>
            </a:xfrm>
            <a:prstGeom prst="rect">
              <a:avLst/>
            </a:pr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rgbClr val="0070C0"/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4400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2</a:t>
              </a:r>
              <a:endParaRPr lang="en-US" sz="4400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54" name="Gruppieren 53"/>
          <p:cNvGrpSpPr/>
          <p:nvPr/>
        </p:nvGrpSpPr>
        <p:grpSpPr>
          <a:xfrm>
            <a:off x="324643" y="4495970"/>
            <a:ext cx="8496299" cy="1308255"/>
            <a:chOff x="324643" y="1561307"/>
            <a:chExt cx="8496299" cy="1308255"/>
          </a:xfrm>
        </p:grpSpPr>
        <p:sp>
          <p:nvSpPr>
            <p:cNvPr id="56" name="Rectangle 19"/>
            <p:cNvSpPr>
              <a:spLocks noChangeArrowheads="1"/>
            </p:cNvSpPr>
            <p:nvPr/>
          </p:nvSpPr>
          <p:spPr bwMode="gray">
            <a:xfrm>
              <a:off x="1001485" y="1561307"/>
              <a:ext cx="7818680" cy="360363"/>
            </a:xfrm>
            <a:prstGeom prst="rect">
              <a:avLst/>
            </a:prstGeom>
            <a:gradFill rotWithShape="1">
              <a:gsLst>
                <a:gs pos="0">
                  <a:srgbClr val="EAEAEA"/>
                </a:gs>
                <a:gs pos="100000">
                  <a:srgbClr val="B2B2B2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0" rIns="0" bIns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01688" eaLnBrk="0" hangingPunct="0"/>
              <a:r>
                <a:rPr lang="de-DE" b="1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This is a placeholder text</a:t>
              </a:r>
            </a:p>
          </p:txBody>
        </p:sp>
        <p:sp>
          <p:nvSpPr>
            <p:cNvPr id="57" name="Rectangle 5"/>
            <p:cNvSpPr>
              <a:spLocks noChangeArrowheads="1"/>
            </p:cNvSpPr>
            <p:nvPr/>
          </p:nvSpPr>
          <p:spPr bwMode="gray">
            <a:xfrm>
              <a:off x="1001485" y="1921671"/>
              <a:ext cx="7819457" cy="94344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108000" rIns="144000" bIns="72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de-DE" noProof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The text demonstrates how your own text will look </a:t>
              </a:r>
              <a:br>
                <a:rPr lang="de-DE" noProof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de-DE" noProof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when you replace the placeholder text</a:t>
              </a:r>
              <a:r>
                <a:rPr lang="de-DE" noProof="1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</a:t>
              </a:r>
              <a:endParaRPr lang="de-DE" noProof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58" name="Rechteck 57"/>
            <p:cNvSpPr/>
            <p:nvPr/>
          </p:nvSpPr>
          <p:spPr>
            <a:xfrm>
              <a:off x="324643" y="1561307"/>
              <a:ext cx="555671" cy="1308255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4400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3</a:t>
              </a:r>
              <a:endParaRPr lang="en-US" sz="4400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86305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Sphere with </a:t>
            </a:r>
            <a:r>
              <a:rPr lang="de-DE" noProof="1" smtClean="0"/>
              <a:t>Core</a:t>
            </a:r>
            <a:endParaRPr lang="de-DE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 smtClean="0"/>
              <a:t>Placeholder for your own sub headline</a:t>
            </a:r>
            <a:endParaRPr lang="en-US" dirty="0"/>
          </a:p>
        </p:txBody>
      </p:sp>
      <p:pic>
        <p:nvPicPr>
          <p:cNvPr id="47" name="_effect" descr="C:\Users\marc.h\Desktop\Schatten-TES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38701" y="5185229"/>
            <a:ext cx="4035425" cy="608184"/>
          </a:xfrm>
          <a:prstGeom prst="rect">
            <a:avLst/>
          </a:prstGeom>
          <a:noFill/>
        </p:spPr>
      </p:pic>
      <p:grpSp>
        <p:nvGrpSpPr>
          <p:cNvPr id="48" name="Gruppieren 47"/>
          <p:cNvGrpSpPr/>
          <p:nvPr/>
        </p:nvGrpSpPr>
        <p:grpSpPr bwMode="gray">
          <a:xfrm>
            <a:off x="2808633" y="1916113"/>
            <a:ext cx="3519488" cy="3519487"/>
            <a:chOff x="2808633" y="1916113"/>
            <a:chExt cx="3519488" cy="3519487"/>
          </a:xfrm>
        </p:grpSpPr>
        <p:sp>
          <p:nvSpPr>
            <p:cNvPr id="49" name="Oval 4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2808633" y="1916113"/>
              <a:ext cx="3519488" cy="3519487"/>
            </a:xfrm>
            <a:prstGeom prst="ellipse">
              <a:avLst/>
            </a:prstGeom>
            <a:gradFill flip="none" rotWithShape="1">
              <a:gsLst>
                <a:gs pos="0">
                  <a:srgbClr val="E6E6E6"/>
                </a:gs>
                <a:gs pos="100000">
                  <a:srgbClr val="7D7D7D"/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Freeform 5" descr="© INSCALE GmbH, 26.05.2010&#10;http://www.presentationload.com/"/>
            <p:cNvSpPr>
              <a:spLocks/>
            </p:cNvSpPr>
            <p:nvPr/>
          </p:nvSpPr>
          <p:spPr bwMode="gray">
            <a:xfrm>
              <a:off x="4569171" y="1916113"/>
              <a:ext cx="1758950" cy="35194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064"/>
                </a:cxn>
                <a:cxn ang="0">
                  <a:pos x="532" y="532"/>
                </a:cxn>
                <a:cxn ang="0">
                  <a:pos x="0" y="0"/>
                </a:cxn>
              </a:cxnLst>
              <a:rect l="0" t="0" r="r" b="b"/>
              <a:pathLst>
                <a:path w="532" h="1064">
                  <a:moveTo>
                    <a:pt x="0" y="0"/>
                  </a:moveTo>
                  <a:cubicBezTo>
                    <a:pt x="0" y="1064"/>
                    <a:pt x="0" y="1064"/>
                    <a:pt x="0" y="1064"/>
                  </a:cubicBezTo>
                  <a:cubicBezTo>
                    <a:pt x="294" y="1064"/>
                    <a:pt x="532" y="826"/>
                    <a:pt x="532" y="532"/>
                  </a:cubicBezTo>
                  <a:cubicBezTo>
                    <a:pt x="532" y="238"/>
                    <a:pt x="294" y="0"/>
                    <a:pt x="0" y="0"/>
                  </a:cubicBezTo>
                  <a:close/>
                </a:path>
              </a:pathLst>
            </a:custGeom>
            <a:solidFill>
              <a:srgbClr val="8C8C8C"/>
            </a:solidFill>
            <a:ln w="12700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1" name="Freeform 6" descr="© INSCALE GmbH, 26.05.2010&#10;http://www.presentationload.com/"/>
            <p:cNvSpPr>
              <a:spLocks/>
            </p:cNvSpPr>
            <p:nvPr/>
          </p:nvSpPr>
          <p:spPr bwMode="gray">
            <a:xfrm>
              <a:off x="4569171" y="1916113"/>
              <a:ext cx="1758950" cy="35194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77"/>
                </a:cxn>
                <a:cxn ang="0">
                  <a:pos x="0" y="177"/>
                </a:cxn>
                <a:cxn ang="0">
                  <a:pos x="355" y="532"/>
                </a:cxn>
                <a:cxn ang="0">
                  <a:pos x="0" y="887"/>
                </a:cxn>
                <a:cxn ang="0">
                  <a:pos x="0" y="887"/>
                </a:cxn>
                <a:cxn ang="0">
                  <a:pos x="0" y="1064"/>
                </a:cxn>
                <a:cxn ang="0">
                  <a:pos x="532" y="532"/>
                </a:cxn>
                <a:cxn ang="0">
                  <a:pos x="0" y="0"/>
                </a:cxn>
              </a:cxnLst>
              <a:rect l="0" t="0" r="r" b="b"/>
              <a:pathLst>
                <a:path w="532" h="1064">
                  <a:moveTo>
                    <a:pt x="0" y="0"/>
                  </a:moveTo>
                  <a:cubicBezTo>
                    <a:pt x="0" y="177"/>
                    <a:pt x="0" y="177"/>
                    <a:pt x="0" y="177"/>
                  </a:cubicBezTo>
                  <a:cubicBezTo>
                    <a:pt x="0" y="177"/>
                    <a:pt x="0" y="177"/>
                    <a:pt x="0" y="177"/>
                  </a:cubicBezTo>
                  <a:cubicBezTo>
                    <a:pt x="196" y="177"/>
                    <a:pt x="355" y="336"/>
                    <a:pt x="355" y="532"/>
                  </a:cubicBezTo>
                  <a:cubicBezTo>
                    <a:pt x="355" y="728"/>
                    <a:pt x="196" y="887"/>
                    <a:pt x="0" y="887"/>
                  </a:cubicBezTo>
                  <a:cubicBezTo>
                    <a:pt x="0" y="887"/>
                    <a:pt x="0" y="887"/>
                    <a:pt x="0" y="887"/>
                  </a:cubicBezTo>
                  <a:cubicBezTo>
                    <a:pt x="0" y="1064"/>
                    <a:pt x="0" y="1064"/>
                    <a:pt x="0" y="1064"/>
                  </a:cubicBezTo>
                  <a:cubicBezTo>
                    <a:pt x="294" y="1064"/>
                    <a:pt x="532" y="826"/>
                    <a:pt x="532" y="532"/>
                  </a:cubicBezTo>
                  <a:cubicBezTo>
                    <a:pt x="532" y="238"/>
                    <a:pt x="294" y="0"/>
                    <a:pt x="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D7D7D7">
                    <a:shade val="30000"/>
                    <a:satMod val="115000"/>
                  </a:srgbClr>
                </a:gs>
                <a:gs pos="50000">
                  <a:srgbClr val="D7D7D7">
                    <a:shade val="67500"/>
                    <a:satMod val="115000"/>
                  </a:srgbClr>
                </a:gs>
                <a:gs pos="100000">
                  <a:srgbClr val="D7D7D7">
                    <a:shade val="100000"/>
                    <a:satMod val="115000"/>
                  </a:srgbClr>
                </a:gs>
              </a:gsLst>
              <a:lin ang="135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_color1" descr="© INSCALE GmbH, 26.05.2010&#10;http://www.presentationload.com/"/>
            <p:cNvSpPr>
              <a:spLocks/>
            </p:cNvSpPr>
            <p:nvPr/>
          </p:nvSpPr>
          <p:spPr bwMode="gray">
            <a:xfrm>
              <a:off x="4569171" y="2501900"/>
              <a:ext cx="1173162" cy="2347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78"/>
                </a:cxn>
                <a:cxn ang="0">
                  <a:pos x="177" y="355"/>
                </a:cxn>
                <a:cxn ang="0">
                  <a:pos x="0" y="532"/>
                </a:cxn>
                <a:cxn ang="0">
                  <a:pos x="0" y="710"/>
                </a:cxn>
                <a:cxn ang="0">
                  <a:pos x="0" y="710"/>
                </a:cxn>
                <a:cxn ang="0">
                  <a:pos x="355" y="355"/>
                </a:cxn>
                <a:cxn ang="0">
                  <a:pos x="0" y="0"/>
                </a:cxn>
              </a:cxnLst>
              <a:rect l="0" t="0" r="r" b="b"/>
              <a:pathLst>
                <a:path w="355" h="71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78"/>
                    <a:pt x="0" y="178"/>
                    <a:pt x="0" y="178"/>
                  </a:cubicBezTo>
                  <a:cubicBezTo>
                    <a:pt x="98" y="178"/>
                    <a:pt x="177" y="257"/>
                    <a:pt x="177" y="355"/>
                  </a:cubicBezTo>
                  <a:cubicBezTo>
                    <a:pt x="177" y="453"/>
                    <a:pt x="98" y="532"/>
                    <a:pt x="0" y="532"/>
                  </a:cubicBezTo>
                  <a:cubicBezTo>
                    <a:pt x="0" y="710"/>
                    <a:pt x="0" y="710"/>
                    <a:pt x="0" y="710"/>
                  </a:cubicBezTo>
                  <a:cubicBezTo>
                    <a:pt x="0" y="710"/>
                    <a:pt x="0" y="710"/>
                    <a:pt x="0" y="710"/>
                  </a:cubicBezTo>
                  <a:cubicBezTo>
                    <a:pt x="196" y="710"/>
                    <a:pt x="355" y="551"/>
                    <a:pt x="355" y="355"/>
                  </a:cubicBezTo>
                  <a:cubicBezTo>
                    <a:pt x="355" y="159"/>
                    <a:pt x="196" y="0"/>
                    <a:pt x="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shade val="30000"/>
                    <a:satMod val="115000"/>
                  </a:srgbClr>
                </a:gs>
                <a:gs pos="50000">
                  <a:srgbClr val="0070C0">
                    <a:shade val="67500"/>
                    <a:satMod val="115000"/>
                  </a:srgbClr>
                </a:gs>
                <a:gs pos="100000">
                  <a:srgbClr val="0070C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txBody>
            <a:bodyPr/>
            <a:lstStyle/>
            <a:p>
              <a:endParaRPr lang="en-GB"/>
            </a:p>
          </p:txBody>
        </p:sp>
        <p:sp>
          <p:nvSpPr>
            <p:cNvPr id="53" name="Freeform 8" descr="© INSCALE GmbH, 26.05.2010&#10;http://www.presentationload.com/"/>
            <p:cNvSpPr>
              <a:spLocks/>
            </p:cNvSpPr>
            <p:nvPr/>
          </p:nvSpPr>
          <p:spPr bwMode="gray">
            <a:xfrm>
              <a:off x="4569171" y="3090863"/>
              <a:ext cx="584200" cy="11699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354"/>
                </a:cxn>
                <a:cxn ang="0">
                  <a:pos x="177" y="177"/>
                </a:cxn>
                <a:cxn ang="0">
                  <a:pos x="0" y="0"/>
                </a:cxn>
              </a:cxnLst>
              <a:rect l="0" t="0" r="r" b="b"/>
              <a:pathLst>
                <a:path w="177" h="354">
                  <a:moveTo>
                    <a:pt x="0" y="0"/>
                  </a:moveTo>
                  <a:cubicBezTo>
                    <a:pt x="0" y="354"/>
                    <a:pt x="0" y="354"/>
                    <a:pt x="0" y="354"/>
                  </a:cubicBezTo>
                  <a:cubicBezTo>
                    <a:pt x="98" y="354"/>
                    <a:pt x="177" y="275"/>
                    <a:pt x="177" y="177"/>
                  </a:cubicBezTo>
                  <a:cubicBezTo>
                    <a:pt x="177" y="79"/>
                    <a:pt x="98" y="0"/>
                    <a:pt x="0" y="0"/>
                  </a:cubicBezTo>
                  <a:close/>
                </a:path>
              </a:pathLst>
            </a:custGeom>
            <a:solidFill>
              <a:srgbClr val="E6E6E6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endParaRPr lang="en-GB"/>
            </a:p>
          </p:txBody>
        </p:sp>
        <p:sp>
          <p:nvSpPr>
            <p:cNvPr id="54" name="Freeform 9" descr="© INSCALE GmbH, 26.05.2010&#10;http://www.presentationload.com/"/>
            <p:cNvSpPr>
              <a:spLocks/>
            </p:cNvSpPr>
            <p:nvPr/>
          </p:nvSpPr>
          <p:spPr bwMode="gray">
            <a:xfrm>
              <a:off x="3692871" y="1916113"/>
              <a:ext cx="876300" cy="3519487"/>
            </a:xfrm>
            <a:custGeom>
              <a:avLst/>
              <a:gdLst/>
              <a:ahLst/>
              <a:cxnLst>
                <a:cxn ang="0">
                  <a:pos x="0" y="532"/>
                </a:cxn>
                <a:cxn ang="0">
                  <a:pos x="265" y="1064"/>
                </a:cxn>
                <a:cxn ang="0">
                  <a:pos x="265" y="887"/>
                </a:cxn>
                <a:cxn ang="0">
                  <a:pos x="88" y="532"/>
                </a:cxn>
                <a:cxn ang="0">
                  <a:pos x="265" y="177"/>
                </a:cxn>
                <a:cxn ang="0">
                  <a:pos x="265" y="0"/>
                </a:cxn>
                <a:cxn ang="0">
                  <a:pos x="0" y="532"/>
                </a:cxn>
              </a:cxnLst>
              <a:rect l="0" t="0" r="r" b="b"/>
              <a:pathLst>
                <a:path w="265" h="1064">
                  <a:moveTo>
                    <a:pt x="0" y="532"/>
                  </a:moveTo>
                  <a:cubicBezTo>
                    <a:pt x="0" y="826"/>
                    <a:pt x="118" y="1064"/>
                    <a:pt x="265" y="1064"/>
                  </a:cubicBezTo>
                  <a:cubicBezTo>
                    <a:pt x="265" y="887"/>
                    <a:pt x="265" y="887"/>
                    <a:pt x="265" y="887"/>
                  </a:cubicBezTo>
                  <a:cubicBezTo>
                    <a:pt x="167" y="887"/>
                    <a:pt x="88" y="728"/>
                    <a:pt x="88" y="532"/>
                  </a:cubicBezTo>
                  <a:cubicBezTo>
                    <a:pt x="88" y="336"/>
                    <a:pt x="167" y="177"/>
                    <a:pt x="265" y="177"/>
                  </a:cubicBezTo>
                  <a:cubicBezTo>
                    <a:pt x="265" y="0"/>
                    <a:pt x="265" y="0"/>
                    <a:pt x="265" y="0"/>
                  </a:cubicBezTo>
                  <a:cubicBezTo>
                    <a:pt x="118" y="0"/>
                    <a:pt x="0" y="238"/>
                    <a:pt x="0" y="532"/>
                  </a:cubicBezTo>
                  <a:close/>
                </a:path>
              </a:pathLst>
            </a:custGeom>
            <a:solidFill>
              <a:srgbClr val="969696"/>
            </a:solidFill>
            <a:ln w="12700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5" name="_color1" descr="© INSCALE GmbH, 26.05.2010&#10;http://www.presentationload.com/"/>
            <p:cNvSpPr>
              <a:spLocks/>
            </p:cNvSpPr>
            <p:nvPr/>
          </p:nvSpPr>
          <p:spPr bwMode="gray">
            <a:xfrm>
              <a:off x="3983383" y="2501900"/>
              <a:ext cx="585788" cy="2347913"/>
            </a:xfrm>
            <a:custGeom>
              <a:avLst/>
              <a:gdLst/>
              <a:ahLst/>
              <a:cxnLst>
                <a:cxn ang="0">
                  <a:pos x="0" y="355"/>
                </a:cxn>
                <a:cxn ang="0">
                  <a:pos x="177" y="710"/>
                </a:cxn>
                <a:cxn ang="0">
                  <a:pos x="177" y="532"/>
                </a:cxn>
                <a:cxn ang="0">
                  <a:pos x="89" y="355"/>
                </a:cxn>
                <a:cxn ang="0">
                  <a:pos x="177" y="178"/>
                </a:cxn>
                <a:cxn ang="0">
                  <a:pos x="177" y="0"/>
                </a:cxn>
                <a:cxn ang="0">
                  <a:pos x="0" y="355"/>
                </a:cxn>
              </a:cxnLst>
              <a:rect l="0" t="0" r="r" b="b"/>
              <a:pathLst>
                <a:path w="177" h="710">
                  <a:moveTo>
                    <a:pt x="0" y="355"/>
                  </a:moveTo>
                  <a:cubicBezTo>
                    <a:pt x="0" y="551"/>
                    <a:pt x="79" y="710"/>
                    <a:pt x="177" y="710"/>
                  </a:cubicBezTo>
                  <a:cubicBezTo>
                    <a:pt x="177" y="532"/>
                    <a:pt x="177" y="532"/>
                    <a:pt x="177" y="532"/>
                  </a:cubicBezTo>
                  <a:cubicBezTo>
                    <a:pt x="128" y="532"/>
                    <a:pt x="89" y="453"/>
                    <a:pt x="89" y="355"/>
                  </a:cubicBezTo>
                  <a:cubicBezTo>
                    <a:pt x="89" y="257"/>
                    <a:pt x="128" y="178"/>
                    <a:pt x="177" y="178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79" y="0"/>
                    <a:pt x="0" y="159"/>
                    <a:pt x="0" y="355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12700">
              <a:noFill/>
              <a:round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/>
            <a:lstStyle/>
            <a:p>
              <a:endParaRPr lang="en-GB"/>
            </a:p>
          </p:txBody>
        </p:sp>
        <p:sp>
          <p:nvSpPr>
            <p:cNvPr id="56" name="Freeform 11" descr="© INSCALE GmbH, 26.05.2010&#10;http://www.presentationload.com/"/>
            <p:cNvSpPr>
              <a:spLocks/>
            </p:cNvSpPr>
            <p:nvPr/>
          </p:nvSpPr>
          <p:spPr bwMode="gray">
            <a:xfrm>
              <a:off x="4277071" y="3090863"/>
              <a:ext cx="292100" cy="1169987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88" y="354"/>
                </a:cxn>
                <a:cxn ang="0">
                  <a:pos x="88" y="0"/>
                </a:cxn>
                <a:cxn ang="0">
                  <a:pos x="0" y="177"/>
                </a:cxn>
              </a:cxnLst>
              <a:rect l="0" t="0" r="r" b="b"/>
              <a:pathLst>
                <a:path w="88" h="354">
                  <a:moveTo>
                    <a:pt x="0" y="177"/>
                  </a:moveTo>
                  <a:cubicBezTo>
                    <a:pt x="0" y="275"/>
                    <a:pt x="39" y="354"/>
                    <a:pt x="88" y="354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39" y="0"/>
                    <a:pt x="0" y="79"/>
                    <a:pt x="0" y="177"/>
                  </a:cubicBezTo>
                  <a:close/>
                </a:path>
              </a:pathLst>
            </a:custGeom>
            <a:solidFill>
              <a:srgbClr val="AFAFA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grpSp>
        <p:nvGrpSpPr>
          <p:cNvPr id="57" name="Gruppieren 56"/>
          <p:cNvGrpSpPr/>
          <p:nvPr/>
        </p:nvGrpSpPr>
        <p:grpSpPr bwMode="gray">
          <a:xfrm>
            <a:off x="4819650" y="3294342"/>
            <a:ext cx="4018535" cy="365639"/>
            <a:chOff x="4819650" y="3294342"/>
            <a:chExt cx="4018535" cy="365639"/>
          </a:xfrm>
        </p:grpSpPr>
        <p:cxnSp>
          <p:nvCxnSpPr>
            <p:cNvPr id="58" name="Gerade Verbindung 57"/>
            <p:cNvCxnSpPr/>
            <p:nvPr/>
          </p:nvCxnSpPr>
          <p:spPr bwMode="gray">
            <a:xfrm rot="10800000">
              <a:off x="4819650" y="3659981"/>
              <a:ext cx="3987252" cy="0"/>
            </a:xfrm>
            <a:prstGeom prst="line">
              <a:avLst/>
            </a:prstGeom>
            <a:ln w="19050">
              <a:solidFill>
                <a:srgbClr val="7D7D7D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Text Box 15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7541742" y="3294342"/>
              <a:ext cx="1296443" cy="3540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90000" anchor="t" anchorCtr="0">
              <a:spAutoFit/>
            </a:bodyPr>
            <a:lstStyle/>
            <a:p>
              <a:pPr algn="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US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Description 2</a:t>
              </a:r>
            </a:p>
          </p:txBody>
        </p:sp>
      </p:grpSp>
      <p:grpSp>
        <p:nvGrpSpPr>
          <p:cNvPr id="61" name="Gruppieren 60"/>
          <p:cNvGrpSpPr/>
          <p:nvPr/>
        </p:nvGrpSpPr>
        <p:grpSpPr bwMode="gray">
          <a:xfrm>
            <a:off x="5457826" y="4479530"/>
            <a:ext cx="3380359" cy="362899"/>
            <a:chOff x="5457826" y="4479530"/>
            <a:chExt cx="3380359" cy="362899"/>
          </a:xfrm>
        </p:grpSpPr>
        <p:cxnSp>
          <p:nvCxnSpPr>
            <p:cNvPr id="62" name="Gerade Verbindung 61"/>
            <p:cNvCxnSpPr/>
            <p:nvPr/>
          </p:nvCxnSpPr>
          <p:spPr bwMode="gray">
            <a:xfrm rot="10800000">
              <a:off x="5457826" y="4842429"/>
              <a:ext cx="3349073" cy="0"/>
            </a:xfrm>
            <a:prstGeom prst="line">
              <a:avLst/>
            </a:prstGeom>
            <a:ln w="19050">
              <a:solidFill>
                <a:srgbClr val="7D7D7D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Text Box 15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7541742" y="4479530"/>
              <a:ext cx="1296443" cy="3540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90000" anchor="t" anchorCtr="0">
              <a:spAutoFit/>
            </a:bodyPr>
            <a:lstStyle/>
            <a:p>
              <a:pPr algn="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US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Description 3</a:t>
              </a:r>
            </a:p>
          </p:txBody>
        </p:sp>
      </p:grpSp>
      <p:grpSp>
        <p:nvGrpSpPr>
          <p:cNvPr id="65" name="Gruppieren 64"/>
          <p:cNvGrpSpPr/>
          <p:nvPr/>
        </p:nvGrpSpPr>
        <p:grpSpPr bwMode="gray">
          <a:xfrm>
            <a:off x="5172076" y="2688830"/>
            <a:ext cx="3666109" cy="362899"/>
            <a:chOff x="5172076" y="4479530"/>
            <a:chExt cx="3666109" cy="362899"/>
          </a:xfrm>
        </p:grpSpPr>
        <p:cxnSp>
          <p:nvCxnSpPr>
            <p:cNvPr id="66" name="Gerade Verbindung 65"/>
            <p:cNvCxnSpPr/>
            <p:nvPr/>
          </p:nvCxnSpPr>
          <p:spPr bwMode="gray">
            <a:xfrm rot="10800000">
              <a:off x="5172076" y="4842429"/>
              <a:ext cx="3634823" cy="0"/>
            </a:xfrm>
            <a:prstGeom prst="line">
              <a:avLst/>
            </a:prstGeom>
            <a:ln w="19050">
              <a:solidFill>
                <a:srgbClr val="7D7D7D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Text Box 15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7541742" y="4479530"/>
              <a:ext cx="1296443" cy="3540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90000" anchor="t" anchorCtr="0">
              <a:spAutoFit/>
            </a:bodyPr>
            <a:lstStyle/>
            <a:p>
              <a:pPr algn="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US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Description 1</a:t>
              </a:r>
            </a:p>
          </p:txBody>
        </p:sp>
      </p:grpSp>
      <p:grpSp>
        <p:nvGrpSpPr>
          <p:cNvPr id="69" name="Gruppieren 28"/>
          <p:cNvGrpSpPr/>
          <p:nvPr/>
        </p:nvGrpSpPr>
        <p:grpSpPr bwMode="gray">
          <a:xfrm>
            <a:off x="312267" y="3294342"/>
            <a:ext cx="3878734" cy="365639"/>
            <a:chOff x="321792" y="3313392"/>
            <a:chExt cx="3878734" cy="365639"/>
          </a:xfrm>
        </p:grpSpPr>
        <p:cxnSp>
          <p:nvCxnSpPr>
            <p:cNvPr id="70" name="Gerade Verbindung 69"/>
            <p:cNvCxnSpPr/>
            <p:nvPr/>
          </p:nvCxnSpPr>
          <p:spPr bwMode="gray">
            <a:xfrm rot="10800000">
              <a:off x="337937" y="3679031"/>
              <a:ext cx="3862589" cy="0"/>
            </a:xfrm>
            <a:prstGeom prst="line">
              <a:avLst/>
            </a:prstGeom>
            <a:ln w="19050">
              <a:solidFill>
                <a:srgbClr val="7D7D7D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Text Box 15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321792" y="3313392"/>
              <a:ext cx="1296443" cy="3540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90000" anchor="b" anchorCtr="0">
              <a:spAutoFit/>
            </a:bodyPr>
            <a:lstStyle/>
            <a:p>
              <a:pPr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US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Description 5</a:t>
              </a:r>
            </a:p>
          </p:txBody>
        </p:sp>
      </p:grpSp>
      <p:grpSp>
        <p:nvGrpSpPr>
          <p:cNvPr id="73" name="Gruppieren 24"/>
          <p:cNvGrpSpPr/>
          <p:nvPr/>
        </p:nvGrpSpPr>
        <p:grpSpPr bwMode="gray">
          <a:xfrm>
            <a:off x="331316" y="4650998"/>
            <a:ext cx="3250085" cy="370970"/>
            <a:chOff x="333653" y="3973260"/>
            <a:chExt cx="2023573" cy="230973"/>
          </a:xfrm>
        </p:grpSpPr>
        <p:cxnSp>
          <p:nvCxnSpPr>
            <p:cNvPr id="74" name="Gerade Verbindung 73"/>
            <p:cNvCxnSpPr/>
            <p:nvPr/>
          </p:nvCxnSpPr>
          <p:spPr bwMode="gray">
            <a:xfrm rot="10800000">
              <a:off x="337935" y="4204233"/>
              <a:ext cx="2019291" cy="0"/>
            </a:xfrm>
            <a:prstGeom prst="line">
              <a:avLst/>
            </a:prstGeom>
            <a:ln w="19050">
              <a:solidFill>
                <a:srgbClr val="7D7D7D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Text Box 15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333653" y="3973260"/>
              <a:ext cx="1296443" cy="2204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90000" anchor="b" anchorCtr="0">
              <a:spAutoFit/>
            </a:bodyPr>
            <a:lstStyle/>
            <a:p>
              <a:pPr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US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Description 4</a:t>
              </a:r>
            </a:p>
          </p:txBody>
        </p:sp>
      </p:grpSp>
      <p:grpSp>
        <p:nvGrpSpPr>
          <p:cNvPr id="77" name="Gruppieren 17"/>
          <p:cNvGrpSpPr/>
          <p:nvPr/>
        </p:nvGrpSpPr>
        <p:grpSpPr bwMode="gray">
          <a:xfrm>
            <a:off x="312267" y="2136380"/>
            <a:ext cx="3707284" cy="362899"/>
            <a:chOff x="321792" y="3841355"/>
            <a:chExt cx="3707284" cy="362899"/>
          </a:xfrm>
        </p:grpSpPr>
        <p:cxnSp>
          <p:nvCxnSpPr>
            <p:cNvPr id="78" name="Gerade Verbindung 77"/>
            <p:cNvCxnSpPr/>
            <p:nvPr/>
          </p:nvCxnSpPr>
          <p:spPr bwMode="gray">
            <a:xfrm rot="10800000">
              <a:off x="337937" y="4204254"/>
              <a:ext cx="3691139" cy="0"/>
            </a:xfrm>
            <a:prstGeom prst="line">
              <a:avLst/>
            </a:prstGeom>
            <a:ln w="19050">
              <a:solidFill>
                <a:srgbClr val="7D7D7D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 Box 15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321792" y="3841355"/>
              <a:ext cx="1296443" cy="3540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90000" anchor="b" anchorCtr="0">
              <a:spAutoFit/>
            </a:bodyPr>
            <a:lstStyle/>
            <a:p>
              <a:pPr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US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Description 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65814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Sphere with </a:t>
            </a:r>
            <a:r>
              <a:rPr lang="de-DE" noProof="1" smtClean="0"/>
              <a:t>Core</a:t>
            </a:r>
            <a:endParaRPr lang="de-DE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Placeholder for your own sub headline</a:t>
            </a:r>
          </a:p>
        </p:txBody>
      </p:sp>
      <p:pic>
        <p:nvPicPr>
          <p:cNvPr id="29" name="_effect" descr="C:\Users\marc.h\Desktop\Schatten-TES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38701" y="5185229"/>
            <a:ext cx="4035425" cy="608184"/>
          </a:xfrm>
          <a:prstGeom prst="rect">
            <a:avLst/>
          </a:prstGeom>
          <a:noFill/>
        </p:spPr>
      </p:pic>
      <p:grpSp>
        <p:nvGrpSpPr>
          <p:cNvPr id="30" name="Gruppieren 29"/>
          <p:cNvGrpSpPr/>
          <p:nvPr/>
        </p:nvGrpSpPr>
        <p:grpSpPr bwMode="gray">
          <a:xfrm>
            <a:off x="2805113" y="1916113"/>
            <a:ext cx="3513137" cy="3506787"/>
            <a:chOff x="2805113" y="1916113"/>
            <a:chExt cx="3513137" cy="3506787"/>
          </a:xfrm>
        </p:grpSpPr>
        <p:sp>
          <p:nvSpPr>
            <p:cNvPr id="31" name="Oval 10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2805113" y="1916113"/>
              <a:ext cx="3513137" cy="3506787"/>
            </a:xfrm>
            <a:prstGeom prst="ellipse">
              <a:avLst/>
            </a:prstGeom>
            <a:gradFill flip="none" rotWithShape="1">
              <a:gsLst>
                <a:gs pos="0">
                  <a:srgbClr val="E6E6E6"/>
                </a:gs>
                <a:gs pos="100000">
                  <a:srgbClr val="7D7D7D"/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Freeform 11" descr="© INSCALE GmbH, 26.05.2010&#10;http://www.presentationload.com/"/>
            <p:cNvSpPr>
              <a:spLocks/>
            </p:cNvSpPr>
            <p:nvPr/>
          </p:nvSpPr>
          <p:spPr bwMode="gray">
            <a:xfrm>
              <a:off x="4560888" y="1916113"/>
              <a:ext cx="1757362" cy="35067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063"/>
                </a:cxn>
                <a:cxn ang="0">
                  <a:pos x="532" y="531"/>
                </a:cxn>
                <a:cxn ang="0">
                  <a:pos x="0" y="0"/>
                </a:cxn>
              </a:cxnLst>
              <a:rect l="0" t="0" r="r" b="b"/>
              <a:pathLst>
                <a:path w="532" h="1063">
                  <a:moveTo>
                    <a:pt x="0" y="0"/>
                  </a:moveTo>
                  <a:cubicBezTo>
                    <a:pt x="0" y="1063"/>
                    <a:pt x="0" y="1063"/>
                    <a:pt x="0" y="1063"/>
                  </a:cubicBezTo>
                  <a:cubicBezTo>
                    <a:pt x="294" y="1063"/>
                    <a:pt x="532" y="825"/>
                    <a:pt x="532" y="531"/>
                  </a:cubicBezTo>
                  <a:cubicBezTo>
                    <a:pt x="532" y="238"/>
                    <a:pt x="294" y="0"/>
                    <a:pt x="0" y="0"/>
                  </a:cubicBezTo>
                  <a:close/>
                </a:path>
              </a:pathLst>
            </a:custGeom>
            <a:solidFill>
              <a:srgbClr val="C8C8C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Freeform 13" descr="© INSCALE GmbH, 26.05.2010&#10;http://www.presentationload.com/"/>
            <p:cNvSpPr>
              <a:spLocks/>
            </p:cNvSpPr>
            <p:nvPr/>
          </p:nvSpPr>
          <p:spPr bwMode="gray">
            <a:xfrm>
              <a:off x="4560888" y="2206625"/>
              <a:ext cx="1466850" cy="2925763"/>
            </a:xfrm>
            <a:custGeom>
              <a:avLst/>
              <a:gdLst/>
              <a:ahLst/>
              <a:cxnLst>
                <a:cxn ang="0">
                  <a:pos x="0" y="89"/>
                </a:cxn>
                <a:cxn ang="0">
                  <a:pos x="355" y="443"/>
                </a:cxn>
                <a:cxn ang="0">
                  <a:pos x="0" y="798"/>
                </a:cxn>
                <a:cxn ang="0">
                  <a:pos x="0" y="798"/>
                </a:cxn>
                <a:cxn ang="0">
                  <a:pos x="0" y="887"/>
                </a:cxn>
                <a:cxn ang="0">
                  <a:pos x="0" y="887"/>
                </a:cxn>
                <a:cxn ang="0">
                  <a:pos x="444" y="443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89"/>
                </a:cxn>
              </a:cxnLst>
              <a:rect l="0" t="0" r="r" b="b"/>
              <a:pathLst>
                <a:path w="444" h="887">
                  <a:moveTo>
                    <a:pt x="0" y="89"/>
                  </a:moveTo>
                  <a:cubicBezTo>
                    <a:pt x="196" y="89"/>
                    <a:pt x="355" y="248"/>
                    <a:pt x="355" y="443"/>
                  </a:cubicBezTo>
                  <a:cubicBezTo>
                    <a:pt x="355" y="639"/>
                    <a:pt x="196" y="798"/>
                    <a:pt x="0" y="798"/>
                  </a:cubicBezTo>
                  <a:cubicBezTo>
                    <a:pt x="0" y="798"/>
                    <a:pt x="0" y="798"/>
                    <a:pt x="0" y="798"/>
                  </a:cubicBezTo>
                  <a:cubicBezTo>
                    <a:pt x="0" y="887"/>
                    <a:pt x="0" y="887"/>
                    <a:pt x="0" y="887"/>
                  </a:cubicBezTo>
                  <a:cubicBezTo>
                    <a:pt x="0" y="887"/>
                    <a:pt x="0" y="887"/>
                    <a:pt x="0" y="887"/>
                  </a:cubicBezTo>
                  <a:cubicBezTo>
                    <a:pt x="245" y="887"/>
                    <a:pt x="444" y="688"/>
                    <a:pt x="444" y="443"/>
                  </a:cubicBezTo>
                  <a:cubicBezTo>
                    <a:pt x="444" y="199"/>
                    <a:pt x="245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9"/>
                    <a:pt x="0" y="89"/>
                    <a:pt x="0" y="89"/>
                  </a:cubicBezTo>
                  <a:close/>
                </a:path>
              </a:pathLst>
            </a:custGeom>
            <a:solidFill>
              <a:srgbClr val="D7D7D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4" name="Freeform 14" descr="© INSCALE GmbH, 26.05.2010&#10;http://www.presentationload.com/"/>
            <p:cNvSpPr>
              <a:spLocks/>
            </p:cNvSpPr>
            <p:nvPr/>
          </p:nvSpPr>
          <p:spPr bwMode="gray">
            <a:xfrm>
              <a:off x="4560888" y="2500313"/>
              <a:ext cx="1173162" cy="2338387"/>
            </a:xfrm>
            <a:custGeom>
              <a:avLst/>
              <a:gdLst/>
              <a:ahLst/>
              <a:cxnLst>
                <a:cxn ang="0">
                  <a:pos x="355" y="35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88"/>
                </a:cxn>
                <a:cxn ang="0">
                  <a:pos x="0" y="88"/>
                </a:cxn>
                <a:cxn ang="0">
                  <a:pos x="266" y="354"/>
                </a:cxn>
                <a:cxn ang="0">
                  <a:pos x="0" y="620"/>
                </a:cxn>
                <a:cxn ang="0">
                  <a:pos x="0" y="620"/>
                </a:cxn>
                <a:cxn ang="0">
                  <a:pos x="0" y="709"/>
                </a:cxn>
                <a:cxn ang="0">
                  <a:pos x="0" y="709"/>
                </a:cxn>
                <a:cxn ang="0">
                  <a:pos x="355" y="354"/>
                </a:cxn>
              </a:cxnLst>
              <a:rect l="0" t="0" r="r" b="b"/>
              <a:pathLst>
                <a:path w="355" h="709">
                  <a:moveTo>
                    <a:pt x="355" y="354"/>
                  </a:moveTo>
                  <a:cubicBezTo>
                    <a:pt x="355" y="159"/>
                    <a:pt x="196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147" y="88"/>
                    <a:pt x="266" y="208"/>
                    <a:pt x="266" y="354"/>
                  </a:cubicBezTo>
                  <a:cubicBezTo>
                    <a:pt x="266" y="501"/>
                    <a:pt x="147" y="620"/>
                    <a:pt x="0" y="620"/>
                  </a:cubicBezTo>
                  <a:cubicBezTo>
                    <a:pt x="0" y="620"/>
                    <a:pt x="0" y="620"/>
                    <a:pt x="0" y="620"/>
                  </a:cubicBezTo>
                  <a:cubicBezTo>
                    <a:pt x="0" y="709"/>
                    <a:pt x="0" y="709"/>
                    <a:pt x="0" y="709"/>
                  </a:cubicBezTo>
                  <a:cubicBezTo>
                    <a:pt x="0" y="709"/>
                    <a:pt x="0" y="709"/>
                    <a:pt x="0" y="709"/>
                  </a:cubicBezTo>
                  <a:cubicBezTo>
                    <a:pt x="196" y="709"/>
                    <a:pt x="355" y="550"/>
                    <a:pt x="355" y="354"/>
                  </a:cubicBezTo>
                  <a:close/>
                </a:path>
              </a:pathLst>
            </a:custGeom>
            <a:solidFill>
              <a:srgbClr val="C8C8C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Freeform 15" descr="© INSCALE GmbH, 26.05.2010&#10;http://www.presentationload.com/"/>
            <p:cNvSpPr>
              <a:spLocks/>
            </p:cNvSpPr>
            <p:nvPr/>
          </p:nvSpPr>
          <p:spPr bwMode="gray">
            <a:xfrm>
              <a:off x="4560888" y="2790825"/>
              <a:ext cx="877887" cy="1755775"/>
            </a:xfrm>
            <a:custGeom>
              <a:avLst/>
              <a:gdLst/>
              <a:ahLst/>
              <a:cxnLst>
                <a:cxn ang="0">
                  <a:pos x="0" y="89"/>
                </a:cxn>
                <a:cxn ang="0">
                  <a:pos x="178" y="266"/>
                </a:cxn>
                <a:cxn ang="0">
                  <a:pos x="0" y="444"/>
                </a:cxn>
                <a:cxn ang="0">
                  <a:pos x="0" y="444"/>
                </a:cxn>
                <a:cxn ang="0">
                  <a:pos x="0" y="532"/>
                </a:cxn>
                <a:cxn ang="0">
                  <a:pos x="0" y="532"/>
                </a:cxn>
                <a:cxn ang="0">
                  <a:pos x="266" y="266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89"/>
                </a:cxn>
              </a:cxnLst>
              <a:rect l="0" t="0" r="r" b="b"/>
              <a:pathLst>
                <a:path w="266" h="532">
                  <a:moveTo>
                    <a:pt x="0" y="89"/>
                  </a:moveTo>
                  <a:cubicBezTo>
                    <a:pt x="98" y="89"/>
                    <a:pt x="178" y="168"/>
                    <a:pt x="178" y="266"/>
                  </a:cubicBezTo>
                  <a:cubicBezTo>
                    <a:pt x="178" y="364"/>
                    <a:pt x="98" y="444"/>
                    <a:pt x="0" y="444"/>
                  </a:cubicBezTo>
                  <a:cubicBezTo>
                    <a:pt x="0" y="444"/>
                    <a:pt x="0" y="444"/>
                    <a:pt x="0" y="444"/>
                  </a:cubicBezTo>
                  <a:cubicBezTo>
                    <a:pt x="0" y="532"/>
                    <a:pt x="0" y="532"/>
                    <a:pt x="0" y="532"/>
                  </a:cubicBezTo>
                  <a:cubicBezTo>
                    <a:pt x="0" y="532"/>
                    <a:pt x="0" y="532"/>
                    <a:pt x="0" y="532"/>
                  </a:cubicBezTo>
                  <a:cubicBezTo>
                    <a:pt x="147" y="532"/>
                    <a:pt x="266" y="413"/>
                    <a:pt x="266" y="266"/>
                  </a:cubicBezTo>
                  <a:cubicBezTo>
                    <a:pt x="266" y="120"/>
                    <a:pt x="147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9"/>
                    <a:pt x="0" y="89"/>
                    <a:pt x="0" y="89"/>
                  </a:cubicBezTo>
                  <a:close/>
                </a:path>
              </a:pathLst>
            </a:custGeom>
            <a:solidFill>
              <a:srgbClr val="C0C0C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Freeform 16" descr="© INSCALE GmbH, 26.05.2010&#10;http://www.presentationload.com/"/>
            <p:cNvSpPr>
              <a:spLocks/>
            </p:cNvSpPr>
            <p:nvPr/>
          </p:nvSpPr>
          <p:spPr bwMode="gray">
            <a:xfrm>
              <a:off x="4560888" y="3084513"/>
              <a:ext cx="587375" cy="1169987"/>
            </a:xfrm>
            <a:custGeom>
              <a:avLst/>
              <a:gdLst/>
              <a:ahLst/>
              <a:cxnLst>
                <a:cxn ang="0">
                  <a:pos x="178" y="177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89"/>
                </a:cxn>
                <a:cxn ang="0">
                  <a:pos x="89" y="177"/>
                </a:cxn>
                <a:cxn ang="0">
                  <a:pos x="0" y="266"/>
                </a:cxn>
                <a:cxn ang="0">
                  <a:pos x="0" y="355"/>
                </a:cxn>
                <a:cxn ang="0">
                  <a:pos x="0" y="355"/>
                </a:cxn>
                <a:cxn ang="0">
                  <a:pos x="178" y="177"/>
                </a:cxn>
              </a:cxnLst>
              <a:rect l="0" t="0" r="r" b="b"/>
              <a:pathLst>
                <a:path w="178" h="355">
                  <a:moveTo>
                    <a:pt x="178" y="177"/>
                  </a:moveTo>
                  <a:cubicBezTo>
                    <a:pt x="178" y="79"/>
                    <a:pt x="98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49" y="89"/>
                    <a:pt x="89" y="128"/>
                    <a:pt x="89" y="177"/>
                  </a:cubicBezTo>
                  <a:cubicBezTo>
                    <a:pt x="89" y="226"/>
                    <a:pt x="49" y="266"/>
                    <a:pt x="0" y="266"/>
                  </a:cubicBezTo>
                  <a:cubicBezTo>
                    <a:pt x="0" y="355"/>
                    <a:pt x="0" y="355"/>
                    <a:pt x="0" y="355"/>
                  </a:cubicBezTo>
                  <a:cubicBezTo>
                    <a:pt x="0" y="355"/>
                    <a:pt x="0" y="355"/>
                    <a:pt x="0" y="355"/>
                  </a:cubicBezTo>
                  <a:cubicBezTo>
                    <a:pt x="98" y="355"/>
                    <a:pt x="178" y="275"/>
                    <a:pt x="178" y="177"/>
                  </a:cubicBezTo>
                  <a:close/>
                </a:path>
              </a:pathLst>
            </a:custGeom>
            <a:solidFill>
              <a:srgbClr val="AFAFA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_color1" descr="© INSCALE GmbH, 26.05.2010&#10;http://www.presentationload.com/"/>
            <p:cNvSpPr>
              <a:spLocks/>
            </p:cNvSpPr>
            <p:nvPr/>
          </p:nvSpPr>
          <p:spPr bwMode="gray">
            <a:xfrm>
              <a:off x="4560888" y="3378200"/>
              <a:ext cx="293687" cy="584200"/>
            </a:xfrm>
            <a:custGeom>
              <a:avLst/>
              <a:gdLst/>
              <a:ahLst/>
              <a:cxnLst>
                <a:cxn ang="0">
                  <a:pos x="89" y="88"/>
                </a:cxn>
                <a:cxn ang="0">
                  <a:pos x="0" y="0"/>
                </a:cxn>
                <a:cxn ang="0">
                  <a:pos x="0" y="177"/>
                </a:cxn>
                <a:cxn ang="0">
                  <a:pos x="89" y="88"/>
                </a:cxn>
              </a:cxnLst>
              <a:rect l="0" t="0" r="r" b="b"/>
              <a:pathLst>
                <a:path w="89" h="177">
                  <a:moveTo>
                    <a:pt x="89" y="88"/>
                  </a:moveTo>
                  <a:cubicBezTo>
                    <a:pt x="89" y="39"/>
                    <a:pt x="49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ubicBezTo>
                    <a:pt x="49" y="177"/>
                    <a:pt x="89" y="137"/>
                    <a:pt x="89" y="88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shade val="30000"/>
                    <a:satMod val="115000"/>
                  </a:srgbClr>
                </a:gs>
                <a:gs pos="50000">
                  <a:srgbClr val="0070C0">
                    <a:shade val="67500"/>
                    <a:satMod val="115000"/>
                  </a:srgbClr>
                </a:gs>
                <a:gs pos="100000">
                  <a:srgbClr val="0070C0">
                    <a:shade val="100000"/>
                    <a:satMod val="115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Freeform 18" descr="© INSCALE GmbH, 26.05.2010&#10;http://www.presentationload.com/"/>
            <p:cNvSpPr>
              <a:spLocks/>
            </p:cNvSpPr>
            <p:nvPr/>
          </p:nvSpPr>
          <p:spPr bwMode="gray">
            <a:xfrm>
              <a:off x="3690938" y="1916113"/>
              <a:ext cx="876300" cy="3506787"/>
            </a:xfrm>
            <a:custGeom>
              <a:avLst/>
              <a:gdLst/>
              <a:ahLst/>
              <a:cxnLst>
                <a:cxn ang="0">
                  <a:pos x="44" y="531"/>
                </a:cxn>
                <a:cxn ang="0">
                  <a:pos x="265" y="88"/>
                </a:cxn>
                <a:cxn ang="0">
                  <a:pos x="265" y="0"/>
                </a:cxn>
                <a:cxn ang="0">
                  <a:pos x="0" y="531"/>
                </a:cxn>
                <a:cxn ang="0">
                  <a:pos x="265" y="1063"/>
                </a:cxn>
                <a:cxn ang="0">
                  <a:pos x="265" y="975"/>
                </a:cxn>
                <a:cxn ang="0">
                  <a:pos x="44" y="531"/>
                </a:cxn>
              </a:cxnLst>
              <a:rect l="0" t="0" r="r" b="b"/>
              <a:pathLst>
                <a:path w="265" h="1063">
                  <a:moveTo>
                    <a:pt x="44" y="531"/>
                  </a:moveTo>
                  <a:cubicBezTo>
                    <a:pt x="44" y="287"/>
                    <a:pt x="143" y="88"/>
                    <a:pt x="265" y="88"/>
                  </a:cubicBezTo>
                  <a:cubicBezTo>
                    <a:pt x="265" y="0"/>
                    <a:pt x="265" y="0"/>
                    <a:pt x="265" y="0"/>
                  </a:cubicBezTo>
                  <a:cubicBezTo>
                    <a:pt x="119" y="0"/>
                    <a:pt x="0" y="238"/>
                    <a:pt x="0" y="531"/>
                  </a:cubicBezTo>
                  <a:cubicBezTo>
                    <a:pt x="0" y="825"/>
                    <a:pt x="119" y="1063"/>
                    <a:pt x="265" y="1063"/>
                  </a:cubicBezTo>
                  <a:cubicBezTo>
                    <a:pt x="265" y="975"/>
                    <a:pt x="265" y="975"/>
                    <a:pt x="265" y="975"/>
                  </a:cubicBezTo>
                  <a:cubicBezTo>
                    <a:pt x="143" y="975"/>
                    <a:pt x="44" y="776"/>
                    <a:pt x="44" y="531"/>
                  </a:cubicBezTo>
                  <a:close/>
                </a:path>
              </a:pathLst>
            </a:custGeom>
            <a:solidFill>
              <a:srgbClr val="AFAFA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" name="Freeform 19" descr="© INSCALE GmbH, 26.05.2010&#10;http://www.presentationload.com/"/>
            <p:cNvSpPr>
              <a:spLocks/>
            </p:cNvSpPr>
            <p:nvPr/>
          </p:nvSpPr>
          <p:spPr bwMode="gray">
            <a:xfrm>
              <a:off x="3831431" y="2206625"/>
              <a:ext cx="731838" cy="2925763"/>
            </a:xfrm>
            <a:custGeom>
              <a:avLst/>
              <a:gdLst/>
              <a:ahLst/>
              <a:cxnLst>
                <a:cxn ang="0">
                  <a:pos x="0" y="443"/>
                </a:cxn>
                <a:cxn ang="0">
                  <a:pos x="221" y="887"/>
                </a:cxn>
                <a:cxn ang="0">
                  <a:pos x="221" y="798"/>
                </a:cxn>
                <a:cxn ang="0">
                  <a:pos x="44" y="443"/>
                </a:cxn>
                <a:cxn ang="0">
                  <a:pos x="221" y="89"/>
                </a:cxn>
                <a:cxn ang="0">
                  <a:pos x="221" y="0"/>
                </a:cxn>
                <a:cxn ang="0">
                  <a:pos x="0" y="443"/>
                </a:cxn>
              </a:cxnLst>
              <a:rect l="0" t="0" r="r" b="b"/>
              <a:pathLst>
                <a:path w="221" h="887">
                  <a:moveTo>
                    <a:pt x="0" y="443"/>
                  </a:moveTo>
                  <a:cubicBezTo>
                    <a:pt x="0" y="688"/>
                    <a:pt x="99" y="887"/>
                    <a:pt x="221" y="887"/>
                  </a:cubicBezTo>
                  <a:cubicBezTo>
                    <a:pt x="221" y="798"/>
                    <a:pt x="221" y="798"/>
                    <a:pt x="221" y="798"/>
                  </a:cubicBezTo>
                  <a:cubicBezTo>
                    <a:pt x="124" y="798"/>
                    <a:pt x="44" y="639"/>
                    <a:pt x="44" y="443"/>
                  </a:cubicBezTo>
                  <a:cubicBezTo>
                    <a:pt x="44" y="248"/>
                    <a:pt x="124" y="89"/>
                    <a:pt x="221" y="89"/>
                  </a:cubicBezTo>
                  <a:cubicBezTo>
                    <a:pt x="221" y="0"/>
                    <a:pt x="221" y="0"/>
                    <a:pt x="221" y="0"/>
                  </a:cubicBezTo>
                  <a:cubicBezTo>
                    <a:pt x="99" y="0"/>
                    <a:pt x="0" y="199"/>
                    <a:pt x="0" y="443"/>
                  </a:cubicBezTo>
                  <a:close/>
                </a:path>
              </a:pathLst>
            </a:custGeom>
            <a:solidFill>
              <a:srgbClr val="C0C0C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0" name="Freeform 20" descr="© INSCALE GmbH, 26.05.2010&#10;http://www.presentationload.com/"/>
            <p:cNvSpPr>
              <a:spLocks/>
            </p:cNvSpPr>
            <p:nvPr/>
          </p:nvSpPr>
          <p:spPr bwMode="gray">
            <a:xfrm>
              <a:off x="3977481" y="2500313"/>
              <a:ext cx="585788" cy="2338387"/>
            </a:xfrm>
            <a:custGeom>
              <a:avLst/>
              <a:gdLst/>
              <a:ahLst/>
              <a:cxnLst>
                <a:cxn ang="0">
                  <a:pos x="45" y="354"/>
                </a:cxn>
                <a:cxn ang="0">
                  <a:pos x="177" y="88"/>
                </a:cxn>
                <a:cxn ang="0">
                  <a:pos x="177" y="0"/>
                </a:cxn>
                <a:cxn ang="0">
                  <a:pos x="0" y="354"/>
                </a:cxn>
                <a:cxn ang="0">
                  <a:pos x="177" y="709"/>
                </a:cxn>
                <a:cxn ang="0">
                  <a:pos x="177" y="620"/>
                </a:cxn>
                <a:cxn ang="0">
                  <a:pos x="45" y="354"/>
                </a:cxn>
              </a:cxnLst>
              <a:rect l="0" t="0" r="r" b="b"/>
              <a:pathLst>
                <a:path w="177" h="709">
                  <a:moveTo>
                    <a:pt x="45" y="354"/>
                  </a:moveTo>
                  <a:cubicBezTo>
                    <a:pt x="45" y="208"/>
                    <a:pt x="104" y="88"/>
                    <a:pt x="177" y="88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80" y="0"/>
                    <a:pt x="0" y="159"/>
                    <a:pt x="0" y="354"/>
                  </a:cubicBezTo>
                  <a:cubicBezTo>
                    <a:pt x="0" y="550"/>
                    <a:pt x="80" y="709"/>
                    <a:pt x="177" y="709"/>
                  </a:cubicBezTo>
                  <a:cubicBezTo>
                    <a:pt x="177" y="620"/>
                    <a:pt x="177" y="620"/>
                    <a:pt x="177" y="620"/>
                  </a:cubicBezTo>
                  <a:cubicBezTo>
                    <a:pt x="104" y="620"/>
                    <a:pt x="45" y="501"/>
                    <a:pt x="45" y="354"/>
                  </a:cubicBezTo>
                  <a:close/>
                </a:path>
              </a:pathLst>
            </a:custGeom>
            <a:solidFill>
              <a:srgbClr val="AFAFA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Freeform 21" descr="© INSCALE GmbH, 26.05.2010&#10;http://www.presentationload.com/"/>
            <p:cNvSpPr>
              <a:spLocks/>
            </p:cNvSpPr>
            <p:nvPr/>
          </p:nvSpPr>
          <p:spPr bwMode="gray">
            <a:xfrm>
              <a:off x="4126706" y="2790825"/>
              <a:ext cx="436563" cy="1755775"/>
            </a:xfrm>
            <a:custGeom>
              <a:avLst/>
              <a:gdLst/>
              <a:ahLst/>
              <a:cxnLst>
                <a:cxn ang="0">
                  <a:pos x="0" y="266"/>
                </a:cxn>
                <a:cxn ang="0">
                  <a:pos x="132" y="532"/>
                </a:cxn>
                <a:cxn ang="0">
                  <a:pos x="132" y="444"/>
                </a:cxn>
                <a:cxn ang="0">
                  <a:pos x="44" y="266"/>
                </a:cxn>
                <a:cxn ang="0">
                  <a:pos x="132" y="89"/>
                </a:cxn>
                <a:cxn ang="0">
                  <a:pos x="132" y="0"/>
                </a:cxn>
                <a:cxn ang="0">
                  <a:pos x="0" y="266"/>
                </a:cxn>
              </a:cxnLst>
              <a:rect l="0" t="0" r="r" b="b"/>
              <a:pathLst>
                <a:path w="132" h="532">
                  <a:moveTo>
                    <a:pt x="0" y="266"/>
                  </a:moveTo>
                  <a:cubicBezTo>
                    <a:pt x="0" y="413"/>
                    <a:pt x="59" y="532"/>
                    <a:pt x="132" y="532"/>
                  </a:cubicBezTo>
                  <a:cubicBezTo>
                    <a:pt x="132" y="444"/>
                    <a:pt x="132" y="444"/>
                    <a:pt x="132" y="444"/>
                  </a:cubicBezTo>
                  <a:cubicBezTo>
                    <a:pt x="83" y="444"/>
                    <a:pt x="44" y="364"/>
                    <a:pt x="44" y="266"/>
                  </a:cubicBezTo>
                  <a:cubicBezTo>
                    <a:pt x="44" y="168"/>
                    <a:pt x="83" y="89"/>
                    <a:pt x="132" y="89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59" y="0"/>
                    <a:pt x="0" y="120"/>
                    <a:pt x="0" y="266"/>
                  </a:cubicBezTo>
                  <a:close/>
                </a:path>
              </a:pathLst>
            </a:custGeom>
            <a:solidFill>
              <a:srgbClr val="96969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" name="Freeform 22" descr="© INSCALE GmbH, 26.05.2010&#10;http://www.presentationload.com/"/>
            <p:cNvSpPr>
              <a:spLocks/>
            </p:cNvSpPr>
            <p:nvPr/>
          </p:nvSpPr>
          <p:spPr bwMode="gray">
            <a:xfrm>
              <a:off x="4272756" y="3084513"/>
              <a:ext cx="290513" cy="1169987"/>
            </a:xfrm>
            <a:custGeom>
              <a:avLst/>
              <a:gdLst/>
              <a:ahLst/>
              <a:cxnLst>
                <a:cxn ang="0">
                  <a:pos x="44" y="177"/>
                </a:cxn>
                <a:cxn ang="0">
                  <a:pos x="88" y="89"/>
                </a:cxn>
                <a:cxn ang="0">
                  <a:pos x="88" y="0"/>
                </a:cxn>
                <a:cxn ang="0">
                  <a:pos x="0" y="177"/>
                </a:cxn>
                <a:cxn ang="0">
                  <a:pos x="88" y="355"/>
                </a:cxn>
                <a:cxn ang="0">
                  <a:pos x="88" y="266"/>
                </a:cxn>
                <a:cxn ang="0">
                  <a:pos x="44" y="177"/>
                </a:cxn>
              </a:cxnLst>
              <a:rect l="0" t="0" r="r" b="b"/>
              <a:pathLst>
                <a:path w="88" h="355">
                  <a:moveTo>
                    <a:pt x="44" y="177"/>
                  </a:moveTo>
                  <a:cubicBezTo>
                    <a:pt x="44" y="128"/>
                    <a:pt x="64" y="89"/>
                    <a:pt x="88" y="89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39" y="0"/>
                    <a:pt x="0" y="79"/>
                    <a:pt x="0" y="177"/>
                  </a:cubicBezTo>
                  <a:cubicBezTo>
                    <a:pt x="0" y="275"/>
                    <a:pt x="39" y="355"/>
                    <a:pt x="88" y="355"/>
                  </a:cubicBezTo>
                  <a:cubicBezTo>
                    <a:pt x="88" y="266"/>
                    <a:pt x="88" y="266"/>
                    <a:pt x="88" y="266"/>
                  </a:cubicBezTo>
                  <a:cubicBezTo>
                    <a:pt x="64" y="266"/>
                    <a:pt x="44" y="226"/>
                    <a:pt x="44" y="177"/>
                  </a:cubicBezTo>
                  <a:close/>
                </a:path>
              </a:pathLst>
            </a:custGeom>
            <a:solidFill>
              <a:srgbClr val="7D7D7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_color1" descr="© INSCALE GmbH, 26.05.2010&#10;http://www.presentationload.com/"/>
            <p:cNvSpPr>
              <a:spLocks/>
            </p:cNvSpPr>
            <p:nvPr/>
          </p:nvSpPr>
          <p:spPr bwMode="gray">
            <a:xfrm>
              <a:off x="4414838" y="3378200"/>
              <a:ext cx="146050" cy="584200"/>
            </a:xfrm>
            <a:custGeom>
              <a:avLst/>
              <a:gdLst/>
              <a:ahLst/>
              <a:cxnLst>
                <a:cxn ang="0">
                  <a:pos x="0" y="88"/>
                </a:cxn>
                <a:cxn ang="0">
                  <a:pos x="44" y="177"/>
                </a:cxn>
                <a:cxn ang="0">
                  <a:pos x="44" y="0"/>
                </a:cxn>
                <a:cxn ang="0">
                  <a:pos x="0" y="88"/>
                </a:cxn>
              </a:cxnLst>
              <a:rect l="0" t="0" r="r" b="b"/>
              <a:pathLst>
                <a:path w="44" h="177">
                  <a:moveTo>
                    <a:pt x="0" y="88"/>
                  </a:moveTo>
                  <a:cubicBezTo>
                    <a:pt x="0" y="137"/>
                    <a:pt x="20" y="177"/>
                    <a:pt x="44" y="177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20" y="0"/>
                    <a:pt x="0" y="39"/>
                    <a:pt x="0" y="88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grpSp>
        <p:nvGrpSpPr>
          <p:cNvPr id="44" name="Gruppieren 43"/>
          <p:cNvGrpSpPr/>
          <p:nvPr/>
        </p:nvGrpSpPr>
        <p:grpSpPr bwMode="gray">
          <a:xfrm>
            <a:off x="4686300" y="2603105"/>
            <a:ext cx="4142360" cy="360758"/>
            <a:chOff x="4686300" y="2603105"/>
            <a:chExt cx="4142360" cy="360758"/>
          </a:xfrm>
        </p:grpSpPr>
        <p:sp>
          <p:nvSpPr>
            <p:cNvPr id="45" name="Line 29" descr="© INSCALE GmbH, 26.05.2010&#10;http://www.presentationload.com/"/>
            <p:cNvSpPr>
              <a:spLocks noChangeShapeType="1"/>
            </p:cNvSpPr>
            <p:nvPr/>
          </p:nvSpPr>
          <p:spPr bwMode="gray">
            <a:xfrm>
              <a:off x="4686300" y="2963863"/>
              <a:ext cx="4121150" cy="0"/>
            </a:xfrm>
            <a:prstGeom prst="line">
              <a:avLst/>
            </a:prstGeom>
            <a:noFill/>
            <a:ln w="19050">
              <a:solidFill>
                <a:srgbClr val="868282"/>
              </a:solidFill>
              <a:prstDash val="sysDot"/>
              <a:round/>
              <a:headEnd/>
              <a:tailEnd/>
            </a:ln>
            <a:effectLst/>
          </p:spPr>
          <p:txBody>
            <a:bodyPr bIns="90000" anchor="b" anchorCtr="0"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GB"/>
            </a:p>
          </p:txBody>
        </p:sp>
        <p:sp>
          <p:nvSpPr>
            <p:cNvPr id="46" name="Text Box 15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6296025" y="2603105"/>
              <a:ext cx="2532635" cy="3540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90000" anchor="b" anchorCtr="0">
              <a:spAutoFit/>
            </a:bodyPr>
            <a:lstStyle/>
            <a:p>
              <a:pPr algn="r" defTabSz="801688">
                <a:lnSpc>
                  <a:spcPct val="95000"/>
                </a:lnSpc>
                <a:spcBef>
                  <a:spcPct val="20000"/>
                </a:spcBef>
                <a:spcAft>
                  <a:spcPts val="800"/>
                </a:spcAft>
              </a:pPr>
              <a:r>
                <a:rPr lang="en-US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Description 2</a:t>
              </a:r>
            </a:p>
          </p:txBody>
        </p:sp>
      </p:grpSp>
      <p:grpSp>
        <p:nvGrpSpPr>
          <p:cNvPr id="47" name="Gruppieren 46"/>
          <p:cNvGrpSpPr/>
          <p:nvPr/>
        </p:nvGrpSpPr>
        <p:grpSpPr bwMode="gray">
          <a:xfrm>
            <a:off x="4686300" y="2003030"/>
            <a:ext cx="4142360" cy="355995"/>
            <a:chOff x="4686300" y="2003030"/>
            <a:chExt cx="4142360" cy="355995"/>
          </a:xfrm>
        </p:grpSpPr>
        <p:sp>
          <p:nvSpPr>
            <p:cNvPr id="48" name="Line 33" descr="© INSCALE GmbH, 26.05.2010&#10;http://www.presentationload.com/"/>
            <p:cNvSpPr>
              <a:spLocks noChangeShapeType="1"/>
            </p:cNvSpPr>
            <p:nvPr/>
          </p:nvSpPr>
          <p:spPr bwMode="gray">
            <a:xfrm>
              <a:off x="4686300" y="2359025"/>
              <a:ext cx="4121150" cy="0"/>
            </a:xfrm>
            <a:prstGeom prst="line">
              <a:avLst/>
            </a:prstGeom>
            <a:noFill/>
            <a:ln w="19050">
              <a:solidFill>
                <a:srgbClr val="868282"/>
              </a:solidFill>
              <a:prstDash val="sysDot"/>
              <a:round/>
              <a:headEnd/>
              <a:tailEnd/>
            </a:ln>
            <a:effectLst/>
          </p:spPr>
          <p:txBody>
            <a:bodyPr bIns="90000" anchor="b" anchorCtr="0"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GB"/>
            </a:p>
          </p:txBody>
        </p:sp>
        <p:sp>
          <p:nvSpPr>
            <p:cNvPr id="49" name="Text Box 15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6296025" y="2003030"/>
              <a:ext cx="2532635" cy="3540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90000" anchor="b" anchorCtr="0">
              <a:spAutoFit/>
            </a:bodyPr>
            <a:lstStyle/>
            <a:p>
              <a:pPr algn="r" defTabSz="801688">
                <a:lnSpc>
                  <a:spcPct val="95000"/>
                </a:lnSpc>
                <a:spcBef>
                  <a:spcPct val="20000"/>
                </a:spcBef>
                <a:spcAft>
                  <a:spcPts val="800"/>
                </a:spcAft>
              </a:pPr>
              <a:r>
                <a:rPr lang="en-US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Description 1</a:t>
              </a:r>
            </a:p>
          </p:txBody>
        </p:sp>
      </p:grpSp>
      <p:grpSp>
        <p:nvGrpSpPr>
          <p:cNvPr id="50" name="Gruppieren 49"/>
          <p:cNvGrpSpPr/>
          <p:nvPr/>
        </p:nvGrpSpPr>
        <p:grpSpPr bwMode="gray">
          <a:xfrm>
            <a:off x="4686300" y="3288905"/>
            <a:ext cx="4142360" cy="355995"/>
            <a:chOff x="4686300" y="3288905"/>
            <a:chExt cx="4142360" cy="355995"/>
          </a:xfrm>
        </p:grpSpPr>
        <p:sp>
          <p:nvSpPr>
            <p:cNvPr id="51" name="Line 45" descr="© INSCALE GmbH, 26.05.2010&#10;http://www.presentationload.com/"/>
            <p:cNvSpPr>
              <a:spLocks noChangeShapeType="1"/>
            </p:cNvSpPr>
            <p:nvPr/>
          </p:nvSpPr>
          <p:spPr bwMode="gray">
            <a:xfrm>
              <a:off x="4686300" y="3644900"/>
              <a:ext cx="4121150" cy="0"/>
            </a:xfrm>
            <a:prstGeom prst="line">
              <a:avLst/>
            </a:prstGeom>
            <a:noFill/>
            <a:ln w="19050">
              <a:solidFill>
                <a:srgbClr val="868282"/>
              </a:solidFill>
              <a:prstDash val="sysDot"/>
              <a:round/>
              <a:headEnd/>
              <a:tailEnd/>
            </a:ln>
            <a:effectLst/>
          </p:spPr>
          <p:txBody>
            <a:bodyPr bIns="90000" anchor="b" anchorCtr="0"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GB"/>
            </a:p>
          </p:txBody>
        </p:sp>
        <p:sp>
          <p:nvSpPr>
            <p:cNvPr id="52" name="Text Box 15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6296025" y="3288905"/>
              <a:ext cx="2532635" cy="3540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90000" anchor="b" anchorCtr="0">
              <a:spAutoFit/>
            </a:bodyPr>
            <a:lstStyle/>
            <a:p>
              <a:pPr algn="r" defTabSz="801688">
                <a:lnSpc>
                  <a:spcPct val="95000"/>
                </a:lnSpc>
                <a:spcBef>
                  <a:spcPct val="20000"/>
                </a:spcBef>
                <a:spcAft>
                  <a:spcPts val="800"/>
                </a:spcAft>
              </a:pPr>
              <a:r>
                <a:rPr lang="en-US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Description 3</a:t>
              </a:r>
            </a:p>
          </p:txBody>
        </p:sp>
      </p:grpSp>
      <p:grpSp>
        <p:nvGrpSpPr>
          <p:cNvPr id="53" name="Gruppieren 52"/>
          <p:cNvGrpSpPr/>
          <p:nvPr/>
        </p:nvGrpSpPr>
        <p:grpSpPr bwMode="gray">
          <a:xfrm>
            <a:off x="274167" y="1698230"/>
            <a:ext cx="4193058" cy="360758"/>
            <a:chOff x="274167" y="1698230"/>
            <a:chExt cx="4193058" cy="360758"/>
          </a:xfrm>
        </p:grpSpPr>
        <p:sp>
          <p:nvSpPr>
            <p:cNvPr id="54" name="Line 35" descr="© INSCALE GmbH, 26.05.2010&#10;http://www.presentationload.com/"/>
            <p:cNvSpPr>
              <a:spLocks noChangeShapeType="1"/>
            </p:cNvSpPr>
            <p:nvPr/>
          </p:nvSpPr>
          <p:spPr bwMode="gray">
            <a:xfrm flipH="1">
              <a:off x="339725" y="2058988"/>
              <a:ext cx="4127500" cy="0"/>
            </a:xfrm>
            <a:prstGeom prst="line">
              <a:avLst/>
            </a:prstGeom>
            <a:noFill/>
            <a:ln w="19050">
              <a:solidFill>
                <a:srgbClr val="868282"/>
              </a:solidFill>
              <a:prstDash val="sysDot"/>
              <a:round/>
              <a:headEnd/>
              <a:tailEnd/>
            </a:ln>
            <a:effectLst/>
          </p:spPr>
          <p:txBody>
            <a:bodyPr bIns="90000" anchor="b" anchorCtr="0"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GB"/>
            </a:p>
          </p:txBody>
        </p:sp>
        <p:sp>
          <p:nvSpPr>
            <p:cNvPr id="55" name="Text Box 15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274167" y="1698230"/>
              <a:ext cx="1296443" cy="3540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90000" anchor="b" anchorCtr="0">
              <a:spAutoFit/>
            </a:bodyPr>
            <a:lstStyle/>
            <a:p>
              <a:pPr algn="ctr" defTabSz="801688">
                <a:lnSpc>
                  <a:spcPct val="95000"/>
                </a:lnSpc>
                <a:spcBef>
                  <a:spcPct val="20000"/>
                </a:spcBef>
                <a:spcAft>
                  <a:spcPts val="800"/>
                </a:spcAft>
              </a:pPr>
              <a:r>
                <a:rPr lang="en-US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Description 6</a:t>
              </a:r>
            </a:p>
          </p:txBody>
        </p:sp>
      </p:grpSp>
      <p:grpSp>
        <p:nvGrpSpPr>
          <p:cNvPr id="56" name="Gruppieren 55"/>
          <p:cNvGrpSpPr/>
          <p:nvPr/>
        </p:nvGrpSpPr>
        <p:grpSpPr bwMode="gray">
          <a:xfrm>
            <a:off x="274167" y="2298305"/>
            <a:ext cx="4193058" cy="355995"/>
            <a:chOff x="274167" y="2298305"/>
            <a:chExt cx="4193058" cy="355995"/>
          </a:xfrm>
        </p:grpSpPr>
        <p:sp>
          <p:nvSpPr>
            <p:cNvPr id="57" name="Line 31" descr="© INSCALE GmbH, 26.05.2010&#10;http://www.presentationload.com/"/>
            <p:cNvSpPr>
              <a:spLocks noChangeShapeType="1"/>
            </p:cNvSpPr>
            <p:nvPr/>
          </p:nvSpPr>
          <p:spPr bwMode="gray">
            <a:xfrm flipH="1">
              <a:off x="339725" y="2654300"/>
              <a:ext cx="4127500" cy="0"/>
            </a:xfrm>
            <a:prstGeom prst="line">
              <a:avLst/>
            </a:prstGeom>
            <a:noFill/>
            <a:ln w="19050">
              <a:solidFill>
                <a:srgbClr val="868282"/>
              </a:solidFill>
              <a:prstDash val="sysDot"/>
              <a:round/>
              <a:headEnd/>
              <a:tailEnd/>
            </a:ln>
            <a:effectLst/>
          </p:spPr>
          <p:txBody>
            <a:bodyPr bIns="90000" anchor="b" anchorCtr="0"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GB"/>
            </a:p>
          </p:txBody>
        </p:sp>
        <p:sp>
          <p:nvSpPr>
            <p:cNvPr id="58" name="Text Box 15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274167" y="2298305"/>
              <a:ext cx="1296443" cy="3540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90000" anchor="b" anchorCtr="0">
              <a:spAutoFit/>
            </a:bodyPr>
            <a:lstStyle/>
            <a:p>
              <a:pPr algn="ctr" defTabSz="801688">
                <a:lnSpc>
                  <a:spcPct val="95000"/>
                </a:lnSpc>
                <a:spcBef>
                  <a:spcPct val="20000"/>
                </a:spcBef>
                <a:spcAft>
                  <a:spcPts val="800"/>
                </a:spcAft>
              </a:pPr>
              <a:r>
                <a:rPr lang="en-US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Description 5</a:t>
              </a:r>
            </a:p>
          </p:txBody>
        </p:sp>
      </p:grpSp>
      <p:grpSp>
        <p:nvGrpSpPr>
          <p:cNvPr id="60" name="Gruppieren 59"/>
          <p:cNvGrpSpPr/>
          <p:nvPr/>
        </p:nvGrpSpPr>
        <p:grpSpPr bwMode="gray">
          <a:xfrm>
            <a:off x="274167" y="2888476"/>
            <a:ext cx="4193058" cy="362724"/>
            <a:chOff x="274167" y="2888476"/>
            <a:chExt cx="4193058" cy="362724"/>
          </a:xfrm>
        </p:grpSpPr>
        <p:sp>
          <p:nvSpPr>
            <p:cNvPr id="61" name="Line 27" descr="© INSCALE GmbH, 26.05.2010&#10;http://www.presentationload.com/"/>
            <p:cNvSpPr>
              <a:spLocks noChangeShapeType="1"/>
            </p:cNvSpPr>
            <p:nvPr/>
          </p:nvSpPr>
          <p:spPr bwMode="gray">
            <a:xfrm flipH="1">
              <a:off x="339725" y="3251200"/>
              <a:ext cx="4127500" cy="0"/>
            </a:xfrm>
            <a:prstGeom prst="line">
              <a:avLst/>
            </a:prstGeom>
            <a:noFill/>
            <a:ln w="19050">
              <a:solidFill>
                <a:srgbClr val="868282"/>
              </a:solidFill>
              <a:prstDash val="sysDot"/>
              <a:round/>
              <a:headEnd/>
              <a:tailEnd/>
            </a:ln>
            <a:effectLst/>
          </p:spPr>
          <p:txBody>
            <a:bodyPr bIns="90000" anchor="b" anchorCtr="0"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GB"/>
            </a:p>
          </p:txBody>
        </p:sp>
        <p:sp>
          <p:nvSpPr>
            <p:cNvPr id="62" name="Text Box 15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274167" y="2888476"/>
              <a:ext cx="1296443" cy="3540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90000" anchor="b" anchorCtr="0">
              <a:spAutoFit/>
            </a:bodyPr>
            <a:lstStyle/>
            <a:p>
              <a:pPr algn="ctr" defTabSz="801688">
                <a:lnSpc>
                  <a:spcPct val="95000"/>
                </a:lnSpc>
                <a:spcBef>
                  <a:spcPct val="20000"/>
                </a:spcBef>
                <a:spcAft>
                  <a:spcPts val="800"/>
                </a:spcAft>
              </a:pPr>
              <a:r>
                <a:rPr lang="en-US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Description 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65814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/>
        </p:nvGrpSpPr>
        <p:grpSpPr>
          <a:xfrm>
            <a:off x="323895" y="1556864"/>
            <a:ext cx="4086540" cy="504000"/>
            <a:chOff x="323895" y="1556864"/>
            <a:chExt cx="4086540" cy="504000"/>
          </a:xfrm>
        </p:grpSpPr>
        <p:sp>
          <p:nvSpPr>
            <p:cNvPr id="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5" y="1556864"/>
              <a:ext cx="3683360" cy="503911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Agenda Slides</a:t>
              </a:r>
            </a:p>
          </p:txBody>
        </p:sp>
        <p:sp>
          <p:nvSpPr>
            <p:cNvPr id="3" name="Rechteck 2"/>
            <p:cNvSpPr/>
            <p:nvPr/>
          </p:nvSpPr>
          <p:spPr>
            <a:xfrm>
              <a:off x="323895" y="1556953"/>
              <a:ext cx="324000" cy="503911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323895" y="2180757"/>
            <a:ext cx="4086181" cy="504000"/>
            <a:chOff x="323895" y="2180757"/>
            <a:chExt cx="4086181" cy="504000"/>
          </a:xfrm>
        </p:grpSpPr>
        <p:sp>
          <p:nvSpPr>
            <p:cNvPr id="5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2180757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Gantt Charts</a:t>
              </a:r>
            </a:p>
          </p:txBody>
        </p:sp>
        <p:sp>
          <p:nvSpPr>
            <p:cNvPr id="92" name="Rechteck 91"/>
            <p:cNvSpPr/>
            <p:nvPr/>
          </p:nvSpPr>
          <p:spPr>
            <a:xfrm>
              <a:off x="323895" y="2180758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2</a:t>
              </a:r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323895" y="2804650"/>
            <a:ext cx="4086181" cy="504000"/>
            <a:chOff x="323895" y="2804650"/>
            <a:chExt cx="4086181" cy="504000"/>
          </a:xfrm>
        </p:grpSpPr>
        <p:sp>
          <p:nvSpPr>
            <p:cNvPr id="93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2804650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Funnels 3D</a:t>
              </a:r>
            </a:p>
          </p:txBody>
        </p:sp>
        <p:sp>
          <p:nvSpPr>
            <p:cNvPr id="94" name="Rechteck 93"/>
            <p:cNvSpPr/>
            <p:nvPr/>
          </p:nvSpPr>
          <p:spPr>
            <a:xfrm>
              <a:off x="323895" y="2804651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3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323895" y="3428543"/>
            <a:ext cx="4086181" cy="504000"/>
            <a:chOff x="323895" y="3428543"/>
            <a:chExt cx="4086181" cy="504000"/>
          </a:xfrm>
        </p:grpSpPr>
        <p:sp>
          <p:nvSpPr>
            <p:cNvPr id="9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3428543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Pie / Donut Charts</a:t>
              </a:r>
            </a:p>
          </p:txBody>
        </p:sp>
        <p:sp>
          <p:nvSpPr>
            <p:cNvPr id="96" name="Rechteck 95"/>
            <p:cNvSpPr/>
            <p:nvPr/>
          </p:nvSpPr>
          <p:spPr>
            <a:xfrm>
              <a:off x="323895" y="3428544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4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" name="Gruppieren 11"/>
          <p:cNvGrpSpPr/>
          <p:nvPr/>
        </p:nvGrpSpPr>
        <p:grpSpPr>
          <a:xfrm>
            <a:off x="323895" y="4052436"/>
            <a:ext cx="4086181" cy="504000"/>
            <a:chOff x="323895" y="4052436"/>
            <a:chExt cx="4086181" cy="504000"/>
          </a:xfrm>
        </p:grpSpPr>
        <p:sp>
          <p:nvSpPr>
            <p:cNvPr id="9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4052436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Overlapping Text Boxes</a:t>
              </a:r>
            </a:p>
          </p:txBody>
        </p:sp>
        <p:sp>
          <p:nvSpPr>
            <p:cNvPr id="98" name="Rechteck 97"/>
            <p:cNvSpPr/>
            <p:nvPr/>
          </p:nvSpPr>
          <p:spPr>
            <a:xfrm>
              <a:off x="323895" y="4052437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5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323895" y="4676329"/>
            <a:ext cx="4086181" cy="504000"/>
            <a:chOff x="323895" y="4676329"/>
            <a:chExt cx="4086181" cy="504000"/>
          </a:xfrm>
        </p:grpSpPr>
        <p:sp>
          <p:nvSpPr>
            <p:cNvPr id="9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4676329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Timelines Arrows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323895" y="4676330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6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9" name="Gruppieren 8"/>
          <p:cNvGrpSpPr/>
          <p:nvPr/>
        </p:nvGrpSpPr>
        <p:grpSpPr>
          <a:xfrm>
            <a:off x="323895" y="5300224"/>
            <a:ext cx="4086181" cy="504000"/>
            <a:chOff x="323895" y="5300224"/>
            <a:chExt cx="4086181" cy="504000"/>
          </a:xfrm>
        </p:grpSpPr>
        <p:sp>
          <p:nvSpPr>
            <p:cNvPr id="101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5300224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Sphere with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Core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102" name="Rechteck 101"/>
            <p:cNvSpPr/>
            <p:nvPr/>
          </p:nvSpPr>
          <p:spPr>
            <a:xfrm>
              <a:off x="323895" y="5300225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7</a:t>
              </a:r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4733970" y="1556862"/>
            <a:ext cx="4086181" cy="504000"/>
            <a:chOff x="4733970" y="1556862"/>
            <a:chExt cx="4086181" cy="504000"/>
          </a:xfrm>
        </p:grpSpPr>
        <p:sp>
          <p:nvSpPr>
            <p:cNvPr id="5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1556862"/>
              <a:ext cx="3670300" cy="503999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16200000" scaled="0"/>
              <a:tileRect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chemeClr val="bg1"/>
                  </a:solidFill>
                </a:rPr>
                <a:t>Step Process Chart</a:t>
              </a:r>
            </a:p>
          </p:txBody>
        </p:sp>
        <p:sp>
          <p:nvSpPr>
            <p:cNvPr id="58" name="Rechteck 57"/>
            <p:cNvSpPr/>
            <p:nvPr/>
          </p:nvSpPr>
          <p:spPr>
            <a:xfrm>
              <a:off x="4733970" y="1556863"/>
              <a:ext cx="324000" cy="503999"/>
            </a:xfrm>
            <a:prstGeom prst="rect">
              <a:avLst/>
            </a:pr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rgbClr val="0070C0"/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8</a:t>
              </a:r>
            </a:p>
          </p:txBody>
        </p:sp>
      </p:grpSp>
      <p:grpSp>
        <p:nvGrpSpPr>
          <p:cNvPr id="125" name="Gruppieren 124"/>
          <p:cNvGrpSpPr/>
          <p:nvPr/>
        </p:nvGrpSpPr>
        <p:grpSpPr>
          <a:xfrm>
            <a:off x="4733970" y="2180756"/>
            <a:ext cx="4086181" cy="504000"/>
            <a:chOff x="4733970" y="2180756"/>
            <a:chExt cx="4086181" cy="504000"/>
          </a:xfrm>
        </p:grpSpPr>
        <p:sp>
          <p:nvSpPr>
            <p:cNvPr id="5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2180756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Curves and Trend Charts</a:t>
              </a:r>
            </a:p>
          </p:txBody>
        </p:sp>
        <p:sp>
          <p:nvSpPr>
            <p:cNvPr id="60" name="Rechteck 59"/>
            <p:cNvSpPr/>
            <p:nvPr/>
          </p:nvSpPr>
          <p:spPr>
            <a:xfrm>
              <a:off x="4733970" y="2180757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9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6" name="Gruppieren 125"/>
          <p:cNvGrpSpPr/>
          <p:nvPr/>
        </p:nvGrpSpPr>
        <p:grpSpPr>
          <a:xfrm>
            <a:off x="4733970" y="2804650"/>
            <a:ext cx="4086181" cy="504000"/>
            <a:chOff x="4733970" y="2804650"/>
            <a:chExt cx="4086181" cy="504000"/>
          </a:xfrm>
        </p:grpSpPr>
        <p:sp>
          <p:nvSpPr>
            <p:cNvPr id="61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2804650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3D Spheres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Fill </a:t>
              </a:r>
              <a:r>
                <a:rPr lang="en-US" sz="1600" b="1" noProof="1">
                  <a:solidFill>
                    <a:srgbClr val="5F5F5F"/>
                  </a:solidFill>
                </a:rPr>
                <a:t>L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evels</a:t>
              </a:r>
              <a:r>
                <a:rPr lang="en-US" sz="1600" b="1" noProof="1">
                  <a:solidFill>
                    <a:srgbClr val="5F5F5F"/>
                  </a:solidFill>
                </a:rPr>
                <a:t>	</a:t>
              </a:r>
            </a:p>
          </p:txBody>
        </p:sp>
        <p:sp>
          <p:nvSpPr>
            <p:cNvPr id="62" name="Rechteck 61"/>
            <p:cNvSpPr/>
            <p:nvPr/>
          </p:nvSpPr>
          <p:spPr>
            <a:xfrm>
              <a:off x="4733970" y="2804651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0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7" name="Gruppieren 126"/>
          <p:cNvGrpSpPr/>
          <p:nvPr/>
        </p:nvGrpSpPr>
        <p:grpSpPr>
          <a:xfrm>
            <a:off x="4733970" y="3428544"/>
            <a:ext cx="4086181" cy="504000"/>
            <a:chOff x="4733970" y="3428544"/>
            <a:chExt cx="4086181" cy="504000"/>
          </a:xfrm>
        </p:grpSpPr>
        <p:sp>
          <p:nvSpPr>
            <p:cNvPr id="63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3428544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Data-driven Diagrams	</a:t>
              </a:r>
            </a:p>
          </p:txBody>
        </p:sp>
        <p:sp>
          <p:nvSpPr>
            <p:cNvPr id="64" name="Rechteck 63"/>
            <p:cNvSpPr/>
            <p:nvPr/>
          </p:nvSpPr>
          <p:spPr>
            <a:xfrm>
              <a:off x="4733970" y="3428545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1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8" name="Gruppieren 127"/>
          <p:cNvGrpSpPr/>
          <p:nvPr/>
        </p:nvGrpSpPr>
        <p:grpSpPr>
          <a:xfrm>
            <a:off x="4733970" y="4052438"/>
            <a:ext cx="4086181" cy="504000"/>
            <a:chOff x="4733970" y="4052438"/>
            <a:chExt cx="4086181" cy="504000"/>
          </a:xfrm>
        </p:grpSpPr>
        <p:sp>
          <p:nvSpPr>
            <p:cNvPr id="6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4052438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Arrow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Process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66" name="Rechteck 65"/>
            <p:cNvSpPr/>
            <p:nvPr/>
          </p:nvSpPr>
          <p:spPr>
            <a:xfrm>
              <a:off x="4733970" y="4052439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2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9" name="Gruppieren 128"/>
          <p:cNvGrpSpPr/>
          <p:nvPr/>
        </p:nvGrpSpPr>
        <p:grpSpPr>
          <a:xfrm>
            <a:off x="4733970" y="4676332"/>
            <a:ext cx="4086181" cy="504000"/>
            <a:chOff x="4733970" y="4676332"/>
            <a:chExt cx="4086181" cy="504000"/>
          </a:xfrm>
        </p:grpSpPr>
        <p:sp>
          <p:nvSpPr>
            <p:cNvPr id="6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4676332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Circle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Diagram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68" name="Rechteck 67"/>
            <p:cNvSpPr/>
            <p:nvPr/>
          </p:nvSpPr>
          <p:spPr>
            <a:xfrm>
              <a:off x="4733970" y="4676333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3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30" name="Gruppieren 129"/>
          <p:cNvGrpSpPr/>
          <p:nvPr/>
        </p:nvGrpSpPr>
        <p:grpSpPr>
          <a:xfrm>
            <a:off x="4733970" y="5300225"/>
            <a:ext cx="4086181" cy="504000"/>
            <a:chOff x="4733970" y="5300225"/>
            <a:chExt cx="4086181" cy="504000"/>
          </a:xfrm>
        </p:grpSpPr>
        <p:sp>
          <p:nvSpPr>
            <p:cNvPr id="6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5300225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3D Arrows</a:t>
              </a:r>
            </a:p>
          </p:txBody>
        </p:sp>
        <p:sp>
          <p:nvSpPr>
            <p:cNvPr id="70" name="Rechteck 69"/>
            <p:cNvSpPr/>
            <p:nvPr/>
          </p:nvSpPr>
          <p:spPr>
            <a:xfrm>
              <a:off x="4733970" y="5300226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4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siness Starter Package</a:t>
            </a:r>
            <a:endParaRPr lang="en-US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laceholder for your own sub headline</a:t>
            </a:r>
          </a:p>
        </p:txBody>
      </p:sp>
    </p:spTree>
    <p:extLst>
      <p:ext uri="{BB962C8B-B14F-4D97-AF65-F5344CB8AC3E}">
        <p14:creationId xmlns:p14="http://schemas.microsoft.com/office/powerpoint/2010/main" val="3429937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Step Process Char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Placeholder for your own sub headline</a:t>
            </a:r>
          </a:p>
        </p:txBody>
      </p:sp>
      <p:grpSp>
        <p:nvGrpSpPr>
          <p:cNvPr id="5" name="Gruppieren 4"/>
          <p:cNvGrpSpPr/>
          <p:nvPr/>
        </p:nvGrpSpPr>
        <p:grpSpPr>
          <a:xfrm>
            <a:off x="323850" y="1555748"/>
            <a:ext cx="8497092" cy="4252916"/>
            <a:chOff x="323850" y="1555748"/>
            <a:chExt cx="8497092" cy="4252916"/>
          </a:xfrm>
        </p:grpSpPr>
        <p:sp>
          <p:nvSpPr>
            <p:cNvPr id="15" name="AutoShape 39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2174452" y="3284985"/>
              <a:ext cx="288925" cy="788094"/>
            </a:xfrm>
            <a:prstGeom prst="rightArrow">
              <a:avLst>
                <a:gd name="adj1" fmla="val 52481"/>
                <a:gd name="adj2" fmla="val 63786"/>
              </a:avLst>
            </a:prstGeom>
            <a:solidFill>
              <a:schemeClr val="bg1">
                <a:lumMod val="85000"/>
              </a:schemeClr>
            </a:soli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endParaRPr lang="en-GB"/>
            </a:p>
          </p:txBody>
        </p:sp>
        <p:sp>
          <p:nvSpPr>
            <p:cNvPr id="16" name="AutoShape 392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4397957" y="3284985"/>
              <a:ext cx="288925" cy="788094"/>
            </a:xfrm>
            <a:prstGeom prst="rightArrow">
              <a:avLst>
                <a:gd name="adj1" fmla="val 52481"/>
                <a:gd name="adj2" fmla="val 63786"/>
              </a:avLst>
            </a:prstGeom>
            <a:solidFill>
              <a:schemeClr val="bg1">
                <a:lumMod val="85000"/>
              </a:schemeClr>
            </a:soli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endParaRPr lang="en-GB"/>
            </a:p>
          </p:txBody>
        </p:sp>
        <p:sp>
          <p:nvSpPr>
            <p:cNvPr id="17" name="AutoShape 393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604388" y="3284985"/>
              <a:ext cx="288925" cy="788094"/>
            </a:xfrm>
            <a:prstGeom prst="rightArrow">
              <a:avLst>
                <a:gd name="adj1" fmla="val 52481"/>
                <a:gd name="adj2" fmla="val 63786"/>
              </a:avLst>
            </a:prstGeom>
            <a:solidFill>
              <a:schemeClr val="bg1">
                <a:lumMod val="85000"/>
              </a:schemeClr>
            </a:soli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endParaRPr lang="en-GB"/>
            </a:p>
          </p:txBody>
        </p:sp>
        <p:grpSp>
          <p:nvGrpSpPr>
            <p:cNvPr id="18" name="Gruppieren 17"/>
            <p:cNvGrpSpPr/>
            <p:nvPr/>
          </p:nvGrpSpPr>
          <p:grpSpPr bwMode="gray">
            <a:xfrm>
              <a:off x="323850" y="1555748"/>
              <a:ext cx="1853944" cy="4246563"/>
              <a:chOff x="323850" y="1555748"/>
              <a:chExt cx="1853944" cy="4246563"/>
            </a:xfrm>
          </p:grpSpPr>
          <p:sp>
            <p:nvSpPr>
              <p:cNvPr id="19" name="_color1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23850" y="1555748"/>
                <a:ext cx="1853431" cy="612000"/>
              </a:xfrm>
              <a:prstGeom prst="rect">
                <a:avLst/>
              </a:prstGeom>
              <a:gradFill flip="none" rotWithShape="1">
                <a:gsLst>
                  <a:gs pos="0">
                    <a:srgbClr val="0070C0"/>
                  </a:gs>
                  <a:gs pos="100000">
                    <a:schemeClr val="tx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DDDDDD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/>
                <a:r>
                  <a:rPr lang="en-GB" sz="1600" b="1" noProof="1" smtClean="0">
                    <a:solidFill>
                      <a:schemeClr val="bg1"/>
                    </a:solidFill>
                  </a:rPr>
                  <a:t>Text for step 1</a:t>
                </a:r>
                <a:endParaRPr lang="en-GB" sz="1600" b="1" noProof="1">
                  <a:solidFill>
                    <a:schemeClr val="bg1"/>
                  </a:solidFill>
                </a:endParaRPr>
              </a:p>
            </p:txBody>
          </p:sp>
          <p:sp>
            <p:nvSpPr>
              <p:cNvPr id="20" name="Rectangle 8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23851" y="2167748"/>
                <a:ext cx="1853943" cy="36345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/>
              <a:lstStyle/>
              <a:p>
                <a:pPr marL="180000" indent="-1800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This is a placeholder text. </a:t>
                </a:r>
              </a:p>
              <a:p>
                <a:pPr marL="180000" indent="-1800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The text demonstrates how your own text will look when you replace the placeholder text.</a:t>
                </a:r>
              </a:p>
              <a:p>
                <a:pPr marL="180000" indent="-1800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GB" sz="1200" noProof="1" smtClean="0">
                    <a:solidFill>
                      <a:srgbClr val="000000"/>
                    </a:solidFill>
                    <a:cs typeface="Arial" charset="0"/>
                  </a:rPr>
                  <a:t>The text that you insert will retain the same style and format as the placeholder text.</a:t>
                </a:r>
              </a:p>
            </p:txBody>
          </p:sp>
        </p:grpSp>
        <p:grpSp>
          <p:nvGrpSpPr>
            <p:cNvPr id="21" name="Gruppieren 20"/>
            <p:cNvGrpSpPr/>
            <p:nvPr/>
          </p:nvGrpSpPr>
          <p:grpSpPr bwMode="gray">
            <a:xfrm>
              <a:off x="6966998" y="1555748"/>
              <a:ext cx="1853944" cy="4246563"/>
              <a:chOff x="6966998" y="1555748"/>
              <a:chExt cx="1853944" cy="4246563"/>
            </a:xfrm>
          </p:grpSpPr>
          <p:sp>
            <p:nvSpPr>
              <p:cNvPr id="22" name="_color1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6966998" y="1555748"/>
                <a:ext cx="1853431" cy="612000"/>
              </a:xfrm>
              <a:prstGeom prst="rect">
                <a:avLst/>
              </a:prstGeom>
              <a:gradFill>
                <a:gsLst>
                  <a:gs pos="0">
                    <a:srgbClr val="0070C0"/>
                  </a:gs>
                  <a:gs pos="100000">
                    <a:schemeClr val="tx2">
                      <a:lumMod val="60000"/>
                      <a:lumOff val="40000"/>
                    </a:schemeClr>
                  </a:gs>
                </a:gsLst>
                <a:lin ang="16200000" scaled="1"/>
              </a:gradFill>
              <a:ln w="12700">
                <a:solidFill>
                  <a:srgbClr val="DDDDDD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/>
                <a:r>
                  <a:rPr lang="en-GB" sz="1600" b="1" noProof="1" smtClean="0">
                    <a:solidFill>
                      <a:srgbClr val="FFFFFF"/>
                    </a:solidFill>
                  </a:rPr>
                  <a:t>Text for step 4</a:t>
                </a:r>
                <a:endParaRPr lang="en-GB" sz="1600" b="1" noProof="1">
                  <a:solidFill>
                    <a:srgbClr val="FFFFFF"/>
                  </a:solidFill>
                </a:endParaRPr>
              </a:p>
            </p:txBody>
          </p:sp>
          <p:sp>
            <p:nvSpPr>
              <p:cNvPr id="23" name="Rectangle 8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6966999" y="2167748"/>
                <a:ext cx="1853943" cy="36345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/>
              <a:lstStyle/>
              <a:p>
                <a:pPr marL="180000" indent="-1800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The text demonstrates how your own text will look when you replace the placeholder text.</a:t>
                </a:r>
              </a:p>
              <a:p>
                <a:pPr marL="180000" indent="-1800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GB" sz="1200" noProof="1" smtClean="0">
                    <a:solidFill>
                      <a:srgbClr val="000000"/>
                    </a:solidFill>
                    <a:cs typeface="Arial" charset="0"/>
                  </a:rPr>
                  <a:t>The text that you insert will retain the same style and format as the placeholder text.</a:t>
                </a:r>
              </a:p>
            </p:txBody>
          </p:sp>
        </p:grpSp>
        <p:grpSp>
          <p:nvGrpSpPr>
            <p:cNvPr id="24" name="Gruppieren 23"/>
            <p:cNvGrpSpPr/>
            <p:nvPr/>
          </p:nvGrpSpPr>
          <p:grpSpPr bwMode="gray">
            <a:xfrm>
              <a:off x="2538233" y="1562101"/>
              <a:ext cx="1853944" cy="4246563"/>
              <a:chOff x="2536570" y="1562101"/>
              <a:chExt cx="1853944" cy="4246563"/>
            </a:xfrm>
          </p:grpSpPr>
          <p:sp>
            <p:nvSpPr>
              <p:cNvPr id="25" name="_color1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2536570" y="1562101"/>
                <a:ext cx="1853431" cy="612000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DDDDDD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/>
                <a:r>
                  <a:rPr lang="en-GB" sz="1600" b="1" noProof="1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Text for step 2</a:t>
                </a:r>
                <a:endParaRPr lang="en-GB" sz="1600" b="1" noProof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26" name="Rectangle 8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2536571" y="2174101"/>
                <a:ext cx="1853943" cy="36345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/>
              <a:lstStyle/>
              <a:p>
                <a:pPr marL="180000" indent="-1800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This is a placeholder text. </a:t>
                </a:r>
              </a:p>
              <a:p>
                <a:pPr marL="180000" indent="-1800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This text can be replaced with your own text.</a:t>
                </a:r>
              </a:p>
              <a:p>
                <a:pPr marL="180000" indent="-1800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The text demonstrates how your own text will look when you replace the placeholder text.</a:t>
                </a:r>
              </a:p>
            </p:txBody>
          </p:sp>
        </p:grpSp>
        <p:grpSp>
          <p:nvGrpSpPr>
            <p:cNvPr id="4" name="Gruppieren 3"/>
            <p:cNvGrpSpPr/>
            <p:nvPr/>
          </p:nvGrpSpPr>
          <p:grpSpPr>
            <a:xfrm>
              <a:off x="4752616" y="1555748"/>
              <a:ext cx="1853944" cy="4246563"/>
              <a:chOff x="4752616" y="1555748"/>
              <a:chExt cx="1853944" cy="4246563"/>
            </a:xfrm>
          </p:grpSpPr>
          <p:sp>
            <p:nvSpPr>
              <p:cNvPr id="28" name="_color1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4752616" y="1555748"/>
                <a:ext cx="1853431" cy="612000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DDDDDD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/>
                <a:r>
                  <a:rPr lang="en-GB" sz="1600" b="1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Text for step 3</a:t>
                </a:r>
              </a:p>
            </p:txBody>
          </p:sp>
          <p:sp>
            <p:nvSpPr>
              <p:cNvPr id="29" name="Rectangle 8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4752617" y="2167748"/>
                <a:ext cx="1853943" cy="36345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/>
              <a:lstStyle/>
              <a:p>
                <a:pPr marL="180000" indent="-1800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This is a placeholder text. </a:t>
                </a:r>
              </a:p>
              <a:p>
                <a:pPr marL="180000" indent="-1800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This text can be replaced with your own text.</a:t>
                </a:r>
              </a:p>
              <a:p>
                <a:pPr marL="180000" indent="-1800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The text demonstrates how your own text will look when you replace the placeholder text.</a:t>
                </a:r>
              </a:p>
              <a:p>
                <a:pPr marL="180000" indent="-1800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GB" sz="1200" noProof="1" smtClean="0">
                    <a:solidFill>
                      <a:srgbClr val="000000"/>
                    </a:solidFill>
                    <a:cs typeface="Arial" charset="0"/>
                  </a:rPr>
                  <a:t>The text that you insert will retain the same style and format as the placeholder text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44963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Step Process Char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Placeholder for your own sub headline</a:t>
            </a:r>
          </a:p>
        </p:txBody>
      </p:sp>
      <p:sp>
        <p:nvSpPr>
          <p:cNvPr id="19" name="Rechteck 18"/>
          <p:cNvSpPr/>
          <p:nvPr/>
        </p:nvSpPr>
        <p:spPr>
          <a:xfrm>
            <a:off x="323850" y="3973803"/>
            <a:ext cx="8497091" cy="1834861"/>
          </a:xfrm>
          <a:prstGeom prst="rect">
            <a:avLst/>
          </a:prstGeom>
        </p:spPr>
        <p:txBody>
          <a:bodyPr wrap="square" anchor="b" anchorCtr="0">
            <a:spAutoFit/>
          </a:bodyPr>
          <a:lstStyle/>
          <a:p>
            <a:pPr marL="190500" indent="-190500">
              <a:lnSpc>
                <a:spcPct val="95000"/>
              </a:lnSpc>
              <a:spcBef>
                <a:spcPct val="40000"/>
              </a:spcBef>
              <a:spcAft>
                <a:spcPts val="80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/>
            </a:pPr>
            <a:r>
              <a:rPr lang="en-GB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If you don’t want to use the style and size of the fonts as used in this </a:t>
            </a:r>
            <a:br>
              <a:rPr lang="en-GB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</a:br>
            <a:r>
              <a:rPr lang="en-GB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placeholder it is possible to replace it by selecting different options.</a:t>
            </a:r>
          </a:p>
          <a:p>
            <a:pPr marL="190500" indent="-190500">
              <a:lnSpc>
                <a:spcPct val="95000"/>
              </a:lnSpc>
              <a:spcBef>
                <a:spcPct val="40000"/>
              </a:spcBef>
              <a:spcAft>
                <a:spcPts val="80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/>
            </a:pPr>
            <a:r>
              <a:rPr lang="en-GB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This text can be replaced with your own text.</a:t>
            </a:r>
          </a:p>
          <a:p>
            <a:pPr marL="190500" indent="-190500">
              <a:lnSpc>
                <a:spcPct val="95000"/>
              </a:lnSpc>
              <a:spcBef>
                <a:spcPct val="40000"/>
              </a:spcBef>
              <a:spcAft>
                <a:spcPts val="80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/>
            </a:pPr>
            <a:r>
              <a:rPr lang="en-GB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The text demonstrates how your own text will look </a:t>
            </a:r>
            <a:br>
              <a:rPr lang="en-GB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</a:br>
            <a:r>
              <a:rPr lang="en-GB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when you replace the placeholder text.</a:t>
            </a:r>
            <a:endParaRPr lang="en-GB" noProof="1">
              <a:solidFill>
                <a:schemeClr val="tx1">
                  <a:lumMod val="75000"/>
                  <a:lumOff val="25000"/>
                </a:schemeClr>
              </a:solidFill>
              <a:cs typeface="Arial" charset="0"/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323850" y="1555748"/>
            <a:ext cx="8497092" cy="2050125"/>
            <a:chOff x="323850" y="1555748"/>
            <a:chExt cx="8497092" cy="2050125"/>
          </a:xfrm>
        </p:grpSpPr>
        <p:sp>
          <p:nvSpPr>
            <p:cNvPr id="15" name="AutoShape 39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734860" y="2167748"/>
              <a:ext cx="288925" cy="788094"/>
            </a:xfrm>
            <a:prstGeom prst="rightArrow">
              <a:avLst>
                <a:gd name="adj1" fmla="val 52481"/>
                <a:gd name="adj2" fmla="val 63786"/>
              </a:avLst>
            </a:prstGeom>
            <a:solidFill>
              <a:schemeClr val="bg1">
                <a:lumMod val="85000"/>
              </a:schemeClr>
            </a:soli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endParaRPr lang="en-GB"/>
            </a:p>
          </p:txBody>
        </p:sp>
        <p:sp>
          <p:nvSpPr>
            <p:cNvPr id="16" name="AutoShape 39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506674" y="2167748"/>
              <a:ext cx="288925" cy="788094"/>
            </a:xfrm>
            <a:prstGeom prst="rightArrow">
              <a:avLst>
                <a:gd name="adj1" fmla="val 52481"/>
                <a:gd name="adj2" fmla="val 63786"/>
              </a:avLst>
            </a:prstGeom>
            <a:solidFill>
              <a:schemeClr val="bg1">
                <a:lumMod val="85000"/>
              </a:schemeClr>
            </a:soli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endParaRPr lang="en-GB"/>
            </a:p>
          </p:txBody>
        </p:sp>
        <p:sp>
          <p:nvSpPr>
            <p:cNvPr id="17" name="AutoShape 39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5278097" y="2167748"/>
              <a:ext cx="288925" cy="788094"/>
            </a:xfrm>
            <a:prstGeom prst="rightArrow">
              <a:avLst>
                <a:gd name="adj1" fmla="val 52481"/>
                <a:gd name="adj2" fmla="val 63786"/>
              </a:avLst>
            </a:prstGeom>
            <a:solidFill>
              <a:schemeClr val="bg1">
                <a:lumMod val="85000"/>
              </a:schemeClr>
            </a:soli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endParaRPr lang="en-GB"/>
            </a:p>
          </p:txBody>
        </p:sp>
        <p:sp>
          <p:nvSpPr>
            <p:cNvPr id="18" name="AutoShape 39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7049520" y="2167748"/>
              <a:ext cx="288925" cy="788094"/>
            </a:xfrm>
            <a:prstGeom prst="rightArrow">
              <a:avLst>
                <a:gd name="adj1" fmla="val 52481"/>
                <a:gd name="adj2" fmla="val 63786"/>
              </a:avLst>
            </a:prstGeom>
            <a:solidFill>
              <a:schemeClr val="bg1">
                <a:lumMod val="85000"/>
              </a:schemeClr>
            </a:soli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endParaRPr lang="en-GB"/>
            </a:p>
          </p:txBody>
        </p:sp>
        <p:sp>
          <p:nvSpPr>
            <p:cNvPr id="21" name="Rectangle 80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2095273" y="1555748"/>
              <a:ext cx="1411010" cy="612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/>
              <a:r>
                <a:rPr lang="en-GB" sz="1600" b="1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tep 2</a:t>
              </a:r>
            </a:p>
          </p:txBody>
        </p:sp>
        <p:sp>
          <p:nvSpPr>
            <p:cNvPr id="22" name="Rectangle 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2095274" y="2167748"/>
              <a:ext cx="1411400" cy="1438125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90000" rIns="36000" bIns="36000"/>
            <a:lstStyle/>
            <a:p>
              <a:pPr marL="180000" indent="-1800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This text can be replaced with your own text.</a:t>
              </a:r>
            </a:p>
            <a:p>
              <a:pPr marL="180000" indent="-1800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This is a place </a:t>
              </a:r>
              <a:b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for own text.</a:t>
              </a:r>
            </a:p>
          </p:txBody>
        </p:sp>
        <p:sp>
          <p:nvSpPr>
            <p:cNvPr id="24" name="Rectangle 80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866696" y="1555748"/>
              <a:ext cx="1411010" cy="612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/>
              <a:r>
                <a:rPr lang="en-GB" sz="1600" b="1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tep 3</a:t>
              </a:r>
            </a:p>
          </p:txBody>
        </p:sp>
        <p:sp>
          <p:nvSpPr>
            <p:cNvPr id="25" name="Rectangle 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866697" y="2167748"/>
              <a:ext cx="1411400" cy="1438125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90000" rIns="36000" bIns="36000"/>
            <a:lstStyle/>
            <a:p>
              <a:pPr marL="180000" indent="-1800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This text can be replaced with your own text.</a:t>
              </a:r>
            </a:p>
          </p:txBody>
        </p:sp>
        <p:sp>
          <p:nvSpPr>
            <p:cNvPr id="27" name="Rectangle 80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5638119" y="1555748"/>
              <a:ext cx="1411010" cy="612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/>
              <a:r>
                <a:rPr lang="en-GB" sz="1600" b="1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tep 4</a:t>
              </a:r>
            </a:p>
          </p:txBody>
        </p:sp>
        <p:sp>
          <p:nvSpPr>
            <p:cNvPr id="28" name="Rectangle 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5638120" y="2167748"/>
              <a:ext cx="1411400" cy="1438125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90000" rIns="36000" bIns="36000"/>
            <a:lstStyle/>
            <a:p>
              <a:pPr marL="180000" indent="-1800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This text can be replaced with your own text.</a:t>
              </a:r>
            </a:p>
            <a:p>
              <a:pPr marL="180000" indent="-1800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This is a place </a:t>
              </a:r>
              <a:b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for own text.</a:t>
              </a:r>
            </a:p>
          </p:txBody>
        </p:sp>
        <p:sp>
          <p:nvSpPr>
            <p:cNvPr id="30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7409541" y="1555748"/>
              <a:ext cx="1411010" cy="612000"/>
            </a:xfrm>
            <a:prstGeom prst="rect">
              <a:avLst/>
            </a:prstGeom>
            <a:gradFill>
              <a:gsLst>
                <a:gs pos="0">
                  <a:srgbClr val="0070C0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162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/>
              <a:r>
                <a:rPr lang="en-GB" sz="1600" b="1" noProof="1">
                  <a:solidFill>
                    <a:srgbClr val="FFFFFF"/>
                  </a:solidFill>
                </a:rPr>
                <a:t>Step 5</a:t>
              </a:r>
            </a:p>
          </p:txBody>
        </p:sp>
        <p:sp>
          <p:nvSpPr>
            <p:cNvPr id="31" name="Rectangle 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7409542" y="2167748"/>
              <a:ext cx="1411400" cy="1438125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90000" rIns="36000" bIns="36000"/>
            <a:lstStyle/>
            <a:p>
              <a:pPr marL="180000" indent="-1800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This text can be replaced with your own text.</a:t>
              </a:r>
            </a:p>
          </p:txBody>
        </p:sp>
        <p:sp>
          <p:nvSpPr>
            <p:cNvPr id="33" name="Rectangle 80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23850" y="1555748"/>
              <a:ext cx="1411010" cy="612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/>
              <a:r>
                <a:rPr lang="en-GB" sz="1600" b="1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tep 1</a:t>
              </a:r>
            </a:p>
          </p:txBody>
        </p:sp>
        <p:sp>
          <p:nvSpPr>
            <p:cNvPr id="34" name="Rectangle 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23851" y="2167748"/>
              <a:ext cx="1411400" cy="1438125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90000" rIns="36000" bIns="36000"/>
            <a:lstStyle/>
            <a:p>
              <a:pPr marL="180000" indent="-1800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This text can be replaced with your own text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05702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Step Process Char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Placeholder for your own sub headline</a:t>
            </a:r>
          </a:p>
        </p:txBody>
      </p:sp>
      <p:sp>
        <p:nvSpPr>
          <p:cNvPr id="15" name="_text"/>
          <p:cNvSpPr txBox="1">
            <a:spLocks/>
          </p:cNvSpPr>
          <p:nvPr/>
        </p:nvSpPr>
        <p:spPr bwMode="gray">
          <a:xfrm>
            <a:off x="323850" y="1554163"/>
            <a:ext cx="4175125" cy="42481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95000"/>
              </a:lnSpc>
              <a:spcAft>
                <a:spcPts val="800"/>
              </a:spcAft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1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s is a placeholder text. This text can be replaced with your own text.</a:t>
            </a:r>
          </a:p>
          <a:p>
            <a:pPr marL="180000" marR="0" lvl="0" indent="-180000" algn="l" defTabSz="914400" rtl="0" eaLnBrk="1" fontAlgn="auto" latinLnBrk="0" hangingPunct="1">
              <a:lnSpc>
                <a:spcPct val="95000"/>
              </a:lnSpc>
              <a:spcAft>
                <a:spcPts val="800"/>
              </a:spcAft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1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e text demonstrates how your own text will look when you replace the placeholder with your own text.</a:t>
            </a:r>
          </a:p>
          <a:p>
            <a:pPr marL="180000" lvl="0" indent="-180000">
              <a:lnSpc>
                <a:spcPct val="95000"/>
              </a:lnSpc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kumimoji="0" lang="en-US" sz="1800" b="0" i="0" u="none" strike="noStrike" kern="1200" cap="none" spc="0" normalizeH="0" baseline="0" noProof="1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you don’t want to use the style and size of the fonts as used in this placeholder </a:t>
            </a:r>
            <a:r>
              <a:rPr lang="en-US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t’s </a:t>
            </a:r>
            <a:r>
              <a:rPr kumimoji="0" lang="en-US" sz="1800" b="0" i="0" u="none" strike="noStrike" kern="1200" cap="none" spc="0" normalizeH="0" baseline="0" noProof="1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ssible to replace it by selecting different options.</a:t>
            </a:r>
          </a:p>
        </p:txBody>
      </p:sp>
      <p:grpSp>
        <p:nvGrpSpPr>
          <p:cNvPr id="8" name="Gruppieren 7"/>
          <p:cNvGrpSpPr/>
          <p:nvPr/>
        </p:nvGrpSpPr>
        <p:grpSpPr>
          <a:xfrm>
            <a:off x="4643438" y="1555748"/>
            <a:ext cx="4176712" cy="4248347"/>
            <a:chOff x="4643438" y="1555748"/>
            <a:chExt cx="4176712" cy="4248347"/>
          </a:xfrm>
        </p:grpSpPr>
        <p:grpSp>
          <p:nvGrpSpPr>
            <p:cNvPr id="7" name="Gruppieren 6"/>
            <p:cNvGrpSpPr/>
            <p:nvPr/>
          </p:nvGrpSpPr>
          <p:grpSpPr>
            <a:xfrm>
              <a:off x="4643438" y="1555748"/>
              <a:ext cx="4176712" cy="955677"/>
              <a:chOff x="4643438" y="1555748"/>
              <a:chExt cx="4176712" cy="955677"/>
            </a:xfrm>
          </p:grpSpPr>
          <p:sp>
            <p:nvSpPr>
              <p:cNvPr id="17" name="_color1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4643438" y="1555748"/>
                <a:ext cx="4175556" cy="360364"/>
              </a:xfrm>
              <a:prstGeom prst="rect">
                <a:avLst/>
              </a:prstGeom>
              <a:gradFill>
                <a:gsLst>
                  <a:gs pos="0">
                    <a:srgbClr val="0070C0"/>
                  </a:gs>
                  <a:gs pos="100000">
                    <a:schemeClr val="tx2">
                      <a:lumMod val="60000"/>
                      <a:lumOff val="40000"/>
                    </a:schemeClr>
                  </a:gs>
                </a:gsLst>
                <a:lin ang="16200000" scaled="1"/>
              </a:gradFill>
              <a:ln w="12700">
                <a:solidFill>
                  <a:srgbClr val="DDDDDD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/>
                <a:r>
                  <a:rPr lang="en-GB" sz="1600" b="1" noProof="1">
                    <a:solidFill>
                      <a:srgbClr val="FFFFFF"/>
                    </a:solidFill>
                  </a:rPr>
                  <a:t>Text for step 1</a:t>
                </a:r>
              </a:p>
            </p:txBody>
          </p:sp>
          <p:sp>
            <p:nvSpPr>
              <p:cNvPr id="18" name="Rectangle 8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4643440" y="1916113"/>
                <a:ext cx="4176710" cy="59531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/>
              <a:lstStyle/>
              <a:p>
                <a:pPr marL="180000" indent="-1800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This is a placeholder text.</a:t>
                </a:r>
              </a:p>
            </p:txBody>
          </p:sp>
        </p:grpSp>
        <p:grpSp>
          <p:nvGrpSpPr>
            <p:cNvPr id="6" name="Gruppieren 5"/>
            <p:cNvGrpSpPr/>
            <p:nvPr/>
          </p:nvGrpSpPr>
          <p:grpSpPr>
            <a:xfrm>
              <a:off x="4643438" y="2653305"/>
              <a:ext cx="4176712" cy="955677"/>
              <a:chOff x="4643438" y="2653305"/>
              <a:chExt cx="4176712" cy="955677"/>
            </a:xfrm>
          </p:grpSpPr>
          <p:sp>
            <p:nvSpPr>
              <p:cNvPr id="20" name="Rectangle 80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4643438" y="2653305"/>
                <a:ext cx="4175556" cy="360364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DDDDDD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/>
                <a:r>
                  <a:rPr lang="en-GB" sz="1600" b="1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Text for step 2</a:t>
                </a:r>
              </a:p>
            </p:txBody>
          </p:sp>
          <p:sp>
            <p:nvSpPr>
              <p:cNvPr id="21" name="Rectangle 8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4643440" y="3013670"/>
                <a:ext cx="4176710" cy="59531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/>
              <a:lstStyle/>
              <a:p>
                <a:pPr marL="180000" indent="-1800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The text demonstrates how your own text will look when you replace the placeholder text.</a:t>
                </a:r>
              </a:p>
            </p:txBody>
          </p:sp>
        </p:grpSp>
        <p:grpSp>
          <p:nvGrpSpPr>
            <p:cNvPr id="5" name="Gruppieren 4"/>
            <p:cNvGrpSpPr/>
            <p:nvPr/>
          </p:nvGrpSpPr>
          <p:grpSpPr>
            <a:xfrm>
              <a:off x="4643438" y="3750862"/>
              <a:ext cx="4176712" cy="955677"/>
              <a:chOff x="4643438" y="3750862"/>
              <a:chExt cx="4176712" cy="955677"/>
            </a:xfrm>
          </p:grpSpPr>
          <p:sp>
            <p:nvSpPr>
              <p:cNvPr id="23" name="Rectangle 80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4643438" y="3750862"/>
                <a:ext cx="4175556" cy="360364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DDDDDD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/>
                <a:r>
                  <a:rPr lang="en-GB" sz="1600" b="1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Text for step 3</a:t>
                </a:r>
              </a:p>
            </p:txBody>
          </p:sp>
          <p:sp>
            <p:nvSpPr>
              <p:cNvPr id="24" name="Rectangle 8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4643440" y="4111227"/>
                <a:ext cx="4176710" cy="59531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/>
              <a:lstStyle/>
              <a:p>
                <a:pPr marL="180000" indent="-1800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This is a placeholder text.</a:t>
                </a:r>
              </a:p>
            </p:txBody>
          </p:sp>
        </p:grpSp>
        <p:grpSp>
          <p:nvGrpSpPr>
            <p:cNvPr id="4" name="Gruppieren 3"/>
            <p:cNvGrpSpPr/>
            <p:nvPr/>
          </p:nvGrpSpPr>
          <p:grpSpPr>
            <a:xfrm>
              <a:off x="4643438" y="4848418"/>
              <a:ext cx="4176712" cy="955677"/>
              <a:chOff x="4643438" y="4848418"/>
              <a:chExt cx="4176712" cy="955677"/>
            </a:xfrm>
          </p:grpSpPr>
          <p:sp>
            <p:nvSpPr>
              <p:cNvPr id="26" name="Rectangle 80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4643438" y="4848418"/>
                <a:ext cx="4175556" cy="360364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DDDDDD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/>
                <a:r>
                  <a:rPr lang="en-GB" sz="1600" b="1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Text for step 4</a:t>
                </a:r>
              </a:p>
            </p:txBody>
          </p:sp>
          <p:sp>
            <p:nvSpPr>
              <p:cNvPr id="27" name="Rectangle 8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4643440" y="5208783"/>
                <a:ext cx="4176710" cy="59531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/>
              <a:lstStyle/>
              <a:p>
                <a:pPr marL="180000" indent="-1800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The text demonstrates how your own text will look when you replace the placeholder text.</a:t>
                </a:r>
              </a:p>
            </p:txBody>
          </p:sp>
        </p:grpSp>
        <p:cxnSp>
          <p:nvCxnSpPr>
            <p:cNvPr id="28" name="Gewinkelte Verbindung 27"/>
            <p:cNvCxnSpPr>
              <a:stCxn id="18" idx="2"/>
              <a:endCxn id="20" idx="0"/>
            </p:cNvCxnSpPr>
            <p:nvPr/>
          </p:nvCxnSpPr>
          <p:spPr>
            <a:xfrm rot="5400000">
              <a:off x="6660566" y="2582076"/>
              <a:ext cx="141880" cy="579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winkelte Verbindung 28"/>
            <p:cNvCxnSpPr>
              <a:stCxn id="21" idx="2"/>
              <a:endCxn id="23" idx="0"/>
            </p:cNvCxnSpPr>
            <p:nvPr/>
          </p:nvCxnSpPr>
          <p:spPr>
            <a:xfrm rot="5400000">
              <a:off x="6660566" y="3679633"/>
              <a:ext cx="141880" cy="579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winkelte Verbindung 29"/>
            <p:cNvCxnSpPr/>
            <p:nvPr/>
          </p:nvCxnSpPr>
          <p:spPr>
            <a:xfrm rot="5400000">
              <a:off x="6660567" y="4777189"/>
              <a:ext cx="141879" cy="579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05702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Step Process Char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Placeholder for your own sub headline</a:t>
            </a:r>
          </a:p>
        </p:txBody>
      </p:sp>
      <p:grpSp>
        <p:nvGrpSpPr>
          <p:cNvPr id="14" name="Gruppieren 13"/>
          <p:cNvGrpSpPr/>
          <p:nvPr/>
        </p:nvGrpSpPr>
        <p:grpSpPr>
          <a:xfrm>
            <a:off x="323849" y="1561968"/>
            <a:ext cx="8494598" cy="4240446"/>
            <a:chOff x="323849" y="1561968"/>
            <a:chExt cx="8494598" cy="4240446"/>
          </a:xfrm>
        </p:grpSpPr>
        <p:grpSp>
          <p:nvGrpSpPr>
            <p:cNvPr id="13" name="Gruppieren 12"/>
            <p:cNvGrpSpPr/>
            <p:nvPr/>
          </p:nvGrpSpPr>
          <p:grpSpPr>
            <a:xfrm>
              <a:off x="1430036" y="2160706"/>
              <a:ext cx="6282224" cy="3036751"/>
              <a:chOff x="1430036" y="2160706"/>
              <a:chExt cx="6282224" cy="3036751"/>
            </a:xfrm>
          </p:grpSpPr>
          <p:sp>
            <p:nvSpPr>
              <p:cNvPr id="15" name="Rechteck 14"/>
              <p:cNvSpPr/>
              <p:nvPr/>
            </p:nvSpPr>
            <p:spPr bwMode="gray">
              <a:xfrm>
                <a:off x="2676185" y="5057057"/>
                <a:ext cx="720046" cy="140400"/>
              </a:xfrm>
              <a:prstGeom prst="rect">
                <a:avLst/>
              </a:prstGeom>
              <a:solidFill>
                <a:srgbClr val="969696"/>
              </a:solidFill>
              <a:ln w="12700">
                <a:noFill/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6" name="Rechteck 15"/>
              <p:cNvSpPr/>
              <p:nvPr/>
            </p:nvSpPr>
            <p:spPr bwMode="gray">
              <a:xfrm>
                <a:off x="5748562" y="2160706"/>
                <a:ext cx="720046" cy="140400"/>
              </a:xfrm>
              <a:prstGeom prst="rect">
                <a:avLst/>
              </a:prstGeom>
              <a:solidFill>
                <a:srgbClr val="969696"/>
              </a:solidFill>
              <a:ln w="12700">
                <a:noFill/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7" name="Rechteck 16"/>
              <p:cNvSpPr/>
              <p:nvPr/>
            </p:nvSpPr>
            <p:spPr bwMode="gray">
              <a:xfrm>
                <a:off x="1430036" y="4338638"/>
                <a:ext cx="139959" cy="141992"/>
              </a:xfrm>
              <a:prstGeom prst="rect">
                <a:avLst/>
              </a:prstGeom>
              <a:solidFill>
                <a:srgbClr val="969696"/>
              </a:solidFill>
              <a:ln w="12700">
                <a:noFill/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8" name="Rechteck 17"/>
              <p:cNvSpPr/>
              <p:nvPr/>
            </p:nvSpPr>
            <p:spPr bwMode="gray">
              <a:xfrm>
                <a:off x="4502020" y="4347968"/>
                <a:ext cx="139959" cy="141992"/>
              </a:xfrm>
              <a:prstGeom prst="rect">
                <a:avLst/>
              </a:prstGeom>
              <a:solidFill>
                <a:srgbClr val="969696"/>
              </a:solidFill>
              <a:ln w="12700">
                <a:noFill/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9" name="Rechteck 18"/>
              <p:cNvSpPr/>
              <p:nvPr/>
            </p:nvSpPr>
            <p:spPr bwMode="gray">
              <a:xfrm>
                <a:off x="4502020" y="2890513"/>
                <a:ext cx="139959" cy="141992"/>
              </a:xfrm>
              <a:prstGeom prst="rect">
                <a:avLst/>
              </a:prstGeom>
              <a:solidFill>
                <a:srgbClr val="969696"/>
              </a:solidFill>
              <a:ln w="12700">
                <a:noFill/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20" name="Rechteck 19"/>
              <p:cNvSpPr/>
              <p:nvPr/>
            </p:nvSpPr>
            <p:spPr bwMode="gray">
              <a:xfrm>
                <a:off x="7572301" y="4341126"/>
                <a:ext cx="139959" cy="141992"/>
              </a:xfrm>
              <a:prstGeom prst="rect">
                <a:avLst/>
              </a:prstGeom>
              <a:solidFill>
                <a:srgbClr val="969696"/>
              </a:solidFill>
              <a:ln w="12700">
                <a:noFill/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21" name="Rechteck 20"/>
              <p:cNvSpPr/>
              <p:nvPr/>
            </p:nvSpPr>
            <p:spPr bwMode="gray">
              <a:xfrm>
                <a:off x="7572301" y="2883671"/>
                <a:ext cx="139959" cy="141992"/>
              </a:xfrm>
              <a:prstGeom prst="rect">
                <a:avLst/>
              </a:prstGeom>
              <a:solidFill>
                <a:srgbClr val="969696"/>
              </a:solidFill>
              <a:ln w="12700">
                <a:noFill/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22" name="Rechteck 21"/>
              <p:cNvSpPr/>
              <p:nvPr/>
            </p:nvSpPr>
            <p:spPr bwMode="gray">
              <a:xfrm>
                <a:off x="1430036" y="2877434"/>
                <a:ext cx="139959" cy="141992"/>
              </a:xfrm>
              <a:prstGeom prst="rect">
                <a:avLst/>
              </a:prstGeom>
              <a:solidFill>
                <a:srgbClr val="969696"/>
              </a:solidFill>
              <a:ln w="12700">
                <a:noFill/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</p:grpSp>
        <p:grpSp>
          <p:nvGrpSpPr>
            <p:cNvPr id="8" name="Gruppieren 7"/>
            <p:cNvGrpSpPr/>
            <p:nvPr/>
          </p:nvGrpSpPr>
          <p:grpSpPr>
            <a:xfrm>
              <a:off x="323849" y="1561968"/>
              <a:ext cx="2352333" cy="1319214"/>
              <a:chOff x="323849" y="1561968"/>
              <a:chExt cx="2352333" cy="1319214"/>
            </a:xfrm>
          </p:grpSpPr>
          <p:sp>
            <p:nvSpPr>
              <p:cNvPr id="24" name="Rectangle 80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23849" y="1561968"/>
                <a:ext cx="2351682" cy="360363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DDDDDD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/>
                <a:r>
                  <a:rPr lang="en-GB" sz="1600" b="1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tep 1</a:t>
                </a:r>
              </a:p>
            </p:txBody>
          </p:sp>
          <p:sp>
            <p:nvSpPr>
              <p:cNvPr id="25" name="Rectangle 8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23850" y="1922331"/>
                <a:ext cx="2352332" cy="958851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/>
              <a:lstStyle/>
              <a:p>
                <a:pPr marL="180000" indent="-1800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The text demonstrates how your own text will look when you replace the placeholder text.</a:t>
                </a:r>
              </a:p>
            </p:txBody>
          </p:sp>
        </p:grpSp>
        <p:grpSp>
          <p:nvGrpSpPr>
            <p:cNvPr id="7" name="Gruppieren 6"/>
            <p:cNvGrpSpPr/>
            <p:nvPr/>
          </p:nvGrpSpPr>
          <p:grpSpPr>
            <a:xfrm>
              <a:off x="3396229" y="1561968"/>
              <a:ext cx="2352333" cy="1319214"/>
              <a:chOff x="3396229" y="1561968"/>
              <a:chExt cx="2352333" cy="1319214"/>
            </a:xfrm>
          </p:grpSpPr>
          <p:sp>
            <p:nvSpPr>
              <p:cNvPr id="27" name="Rectangle 80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396229" y="1561968"/>
                <a:ext cx="2351682" cy="360363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DDDDDD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/>
                <a:r>
                  <a:rPr lang="en-GB" sz="1600" b="1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tep </a:t>
                </a:r>
                <a:r>
                  <a:rPr lang="en-GB" sz="1600" b="1" noProof="1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4</a:t>
                </a:r>
                <a:endParaRPr lang="en-GB" sz="1600" b="1" noProof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28" name="Rectangle 8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396230" y="1922331"/>
                <a:ext cx="2352332" cy="958851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/>
              <a:lstStyle/>
              <a:p>
                <a:pPr marL="180000" indent="-1800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The text demonstrates how your own text will look when you replace the placeholder text.</a:t>
                </a:r>
              </a:p>
            </p:txBody>
          </p:sp>
        </p:grpSp>
        <p:grpSp>
          <p:nvGrpSpPr>
            <p:cNvPr id="11" name="Gruppieren 10"/>
            <p:cNvGrpSpPr/>
            <p:nvPr/>
          </p:nvGrpSpPr>
          <p:grpSpPr>
            <a:xfrm>
              <a:off x="6466114" y="1561968"/>
              <a:ext cx="2352333" cy="1319214"/>
              <a:chOff x="6466114" y="1561968"/>
              <a:chExt cx="2352333" cy="1319214"/>
            </a:xfrm>
          </p:grpSpPr>
          <p:sp>
            <p:nvSpPr>
              <p:cNvPr id="30" name="Rectangle 80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6466114" y="1561968"/>
                <a:ext cx="2351682" cy="360363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DDDDDD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/>
                <a:r>
                  <a:rPr lang="en-GB" sz="1600" b="1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tep </a:t>
                </a:r>
                <a:r>
                  <a:rPr lang="en-GB" sz="1600" b="1" noProof="1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7</a:t>
                </a:r>
                <a:endParaRPr lang="en-GB" sz="1600" b="1" noProof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31" name="Rectangle 8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6466115" y="1922331"/>
                <a:ext cx="2352332" cy="958851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/>
              <a:lstStyle/>
              <a:p>
                <a:pPr marL="180000" indent="-1800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The text demonstrates how your own text will look when you replace the placeholder text.</a:t>
                </a:r>
              </a:p>
            </p:txBody>
          </p:sp>
        </p:grpSp>
        <p:grpSp>
          <p:nvGrpSpPr>
            <p:cNvPr id="9" name="Gruppieren 8"/>
            <p:cNvGrpSpPr/>
            <p:nvPr/>
          </p:nvGrpSpPr>
          <p:grpSpPr>
            <a:xfrm>
              <a:off x="323849" y="3019423"/>
              <a:ext cx="2352333" cy="1319214"/>
              <a:chOff x="323849" y="3019423"/>
              <a:chExt cx="2352333" cy="1319214"/>
            </a:xfrm>
          </p:grpSpPr>
          <p:sp>
            <p:nvSpPr>
              <p:cNvPr id="33" name="Rectangle 80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23849" y="3019423"/>
                <a:ext cx="2351682" cy="360363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DDDDDD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/>
                <a:r>
                  <a:rPr lang="en-GB" sz="1600" b="1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tep </a:t>
                </a:r>
                <a:r>
                  <a:rPr lang="en-GB" sz="1600" b="1" noProof="1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2</a:t>
                </a:r>
                <a:endParaRPr lang="en-GB" sz="1600" b="1" noProof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34" name="Rectangle 8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23850" y="3379786"/>
                <a:ext cx="2352332" cy="958851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/>
              <a:lstStyle/>
              <a:p>
                <a:pPr marL="180000" indent="-1800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The text demonstrates how your own text will look when you replace the placeholder text.</a:t>
                </a:r>
              </a:p>
            </p:txBody>
          </p:sp>
        </p:grpSp>
        <p:grpSp>
          <p:nvGrpSpPr>
            <p:cNvPr id="6" name="Gruppieren 5"/>
            <p:cNvGrpSpPr/>
            <p:nvPr/>
          </p:nvGrpSpPr>
          <p:grpSpPr>
            <a:xfrm>
              <a:off x="3396229" y="3019423"/>
              <a:ext cx="2352333" cy="1319214"/>
              <a:chOff x="3396229" y="3019423"/>
              <a:chExt cx="2352333" cy="1319214"/>
            </a:xfrm>
          </p:grpSpPr>
          <p:sp>
            <p:nvSpPr>
              <p:cNvPr id="36" name="Rectangle 80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396229" y="3019423"/>
                <a:ext cx="2351682" cy="360363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DDDDDD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/>
                <a:r>
                  <a:rPr lang="en-GB" sz="1600" b="1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tep </a:t>
                </a:r>
                <a:r>
                  <a:rPr lang="en-GB" sz="1600" b="1" noProof="1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5</a:t>
                </a:r>
                <a:endParaRPr lang="en-GB" sz="1600" b="1" noProof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37" name="Rectangle 8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396230" y="3379786"/>
                <a:ext cx="2352332" cy="958851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/>
              <a:lstStyle/>
              <a:p>
                <a:pPr marL="180000" indent="-1800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The text demonstrates how your own text will look when you replace the placeholder text.</a:t>
                </a:r>
              </a:p>
            </p:txBody>
          </p:sp>
        </p:grpSp>
        <p:grpSp>
          <p:nvGrpSpPr>
            <p:cNvPr id="12" name="Gruppieren 11"/>
            <p:cNvGrpSpPr/>
            <p:nvPr/>
          </p:nvGrpSpPr>
          <p:grpSpPr>
            <a:xfrm>
              <a:off x="6466114" y="3019423"/>
              <a:ext cx="2352333" cy="1319214"/>
              <a:chOff x="6466114" y="3019423"/>
              <a:chExt cx="2352333" cy="1319214"/>
            </a:xfrm>
          </p:grpSpPr>
          <p:sp>
            <p:nvSpPr>
              <p:cNvPr id="39" name="Rectangle 80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6466114" y="3019423"/>
                <a:ext cx="2351682" cy="360363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DDDDDD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/>
                <a:r>
                  <a:rPr lang="en-GB" sz="1600" b="1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tep </a:t>
                </a:r>
                <a:r>
                  <a:rPr lang="en-GB" sz="1600" b="1" noProof="1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8</a:t>
                </a:r>
                <a:endParaRPr lang="en-GB" sz="1600" b="1" noProof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40" name="Rectangle 8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6466115" y="3379786"/>
                <a:ext cx="2352332" cy="958851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/>
              <a:lstStyle/>
              <a:p>
                <a:pPr marL="180000" indent="-1800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The text demonstrates how your own text will look when you replace the placeholder text.</a:t>
                </a:r>
              </a:p>
            </p:txBody>
          </p:sp>
        </p:grpSp>
        <p:grpSp>
          <p:nvGrpSpPr>
            <p:cNvPr id="10" name="Gruppieren 9"/>
            <p:cNvGrpSpPr/>
            <p:nvPr/>
          </p:nvGrpSpPr>
          <p:grpSpPr>
            <a:xfrm>
              <a:off x="323849" y="4483200"/>
              <a:ext cx="2352333" cy="1319214"/>
              <a:chOff x="323849" y="4483200"/>
              <a:chExt cx="2352333" cy="1319214"/>
            </a:xfrm>
          </p:grpSpPr>
          <p:sp>
            <p:nvSpPr>
              <p:cNvPr id="42" name="Rectangle 80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23849" y="4483200"/>
                <a:ext cx="2351682" cy="360363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DDDDDD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/>
                <a:r>
                  <a:rPr lang="en-GB" sz="1600" b="1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tep </a:t>
                </a:r>
                <a:r>
                  <a:rPr lang="en-GB" sz="1600" b="1" noProof="1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3</a:t>
                </a:r>
                <a:endParaRPr lang="en-GB" sz="1600" b="1" noProof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43" name="Rectangle 8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23850" y="4843563"/>
                <a:ext cx="2352332" cy="958851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/>
              <a:lstStyle/>
              <a:p>
                <a:pPr marL="180000" indent="-1800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The text demonstrates how your own text will look when you replace the placeholder text.</a:t>
                </a:r>
              </a:p>
            </p:txBody>
          </p:sp>
        </p:grpSp>
        <p:grpSp>
          <p:nvGrpSpPr>
            <p:cNvPr id="5" name="Gruppieren 4"/>
            <p:cNvGrpSpPr/>
            <p:nvPr/>
          </p:nvGrpSpPr>
          <p:grpSpPr>
            <a:xfrm>
              <a:off x="3396229" y="4483200"/>
              <a:ext cx="2352333" cy="1319214"/>
              <a:chOff x="3396229" y="4483200"/>
              <a:chExt cx="2352333" cy="1319214"/>
            </a:xfrm>
          </p:grpSpPr>
          <p:sp>
            <p:nvSpPr>
              <p:cNvPr id="45" name="Rectangle 80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396229" y="4483200"/>
                <a:ext cx="2351682" cy="360363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DDDDDD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/>
                <a:r>
                  <a:rPr lang="en-GB" sz="1600" b="1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tep </a:t>
                </a:r>
                <a:r>
                  <a:rPr lang="en-GB" sz="1600" b="1" noProof="1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6</a:t>
                </a:r>
                <a:endParaRPr lang="en-GB" sz="1600" b="1" noProof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46" name="Rectangle 8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396230" y="4843563"/>
                <a:ext cx="2352332" cy="958851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/>
              <a:lstStyle/>
              <a:p>
                <a:pPr marL="180000" indent="-1800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The text demonstrates how your own text will look when you replace the placeholder text.</a:t>
                </a:r>
              </a:p>
            </p:txBody>
          </p:sp>
        </p:grpSp>
        <p:sp>
          <p:nvSpPr>
            <p:cNvPr id="48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466114" y="4483200"/>
              <a:ext cx="2351682" cy="360363"/>
            </a:xfrm>
            <a:prstGeom prst="rect">
              <a:avLst/>
            </a:prstGeom>
            <a:gradFill>
              <a:gsLst>
                <a:gs pos="0">
                  <a:srgbClr val="0070C0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16200000" scaled="1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/>
              <a:r>
                <a:rPr lang="en-GB" sz="1600" b="1" noProof="1">
                  <a:solidFill>
                    <a:srgbClr val="FFFFFF"/>
                  </a:solidFill>
                </a:rPr>
                <a:t>Step 9</a:t>
              </a:r>
            </a:p>
          </p:txBody>
        </p:sp>
        <p:sp>
          <p:nvSpPr>
            <p:cNvPr id="49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466115" y="4843563"/>
              <a:ext cx="2352332" cy="958851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 marL="180000" indent="-1800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</a:pPr>
              <a:r>
                <a:rPr lang="en-US" sz="1200" noProof="1">
                  <a:solidFill>
                    <a:srgbClr val="000000"/>
                  </a:solidFill>
                  <a:cs typeface="Arial" charset="0"/>
                </a:rPr>
                <a:t>The text demonstrates how your own text will look when you replace the placeholder text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05702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/>
        </p:nvGrpSpPr>
        <p:grpSpPr>
          <a:xfrm>
            <a:off x="323895" y="1556864"/>
            <a:ext cx="4086540" cy="504000"/>
            <a:chOff x="323895" y="1556864"/>
            <a:chExt cx="4086540" cy="504000"/>
          </a:xfrm>
        </p:grpSpPr>
        <p:sp>
          <p:nvSpPr>
            <p:cNvPr id="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5" y="1556864"/>
              <a:ext cx="3683360" cy="503911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Agenda Slides</a:t>
              </a:r>
            </a:p>
          </p:txBody>
        </p:sp>
        <p:sp>
          <p:nvSpPr>
            <p:cNvPr id="3" name="Rechteck 2"/>
            <p:cNvSpPr/>
            <p:nvPr/>
          </p:nvSpPr>
          <p:spPr>
            <a:xfrm>
              <a:off x="323895" y="1556953"/>
              <a:ext cx="324000" cy="503911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323895" y="2180757"/>
            <a:ext cx="4086181" cy="504000"/>
            <a:chOff x="323895" y="2180757"/>
            <a:chExt cx="4086181" cy="504000"/>
          </a:xfrm>
        </p:grpSpPr>
        <p:sp>
          <p:nvSpPr>
            <p:cNvPr id="5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2180757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Gantt Charts</a:t>
              </a:r>
            </a:p>
          </p:txBody>
        </p:sp>
        <p:sp>
          <p:nvSpPr>
            <p:cNvPr id="92" name="Rechteck 91"/>
            <p:cNvSpPr/>
            <p:nvPr/>
          </p:nvSpPr>
          <p:spPr>
            <a:xfrm>
              <a:off x="323895" y="2180758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2</a:t>
              </a:r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323895" y="2804650"/>
            <a:ext cx="4086181" cy="504000"/>
            <a:chOff x="323895" y="2804650"/>
            <a:chExt cx="4086181" cy="504000"/>
          </a:xfrm>
        </p:grpSpPr>
        <p:sp>
          <p:nvSpPr>
            <p:cNvPr id="93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2804650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Funnels 3D</a:t>
              </a:r>
            </a:p>
          </p:txBody>
        </p:sp>
        <p:sp>
          <p:nvSpPr>
            <p:cNvPr id="94" name="Rechteck 93"/>
            <p:cNvSpPr/>
            <p:nvPr/>
          </p:nvSpPr>
          <p:spPr>
            <a:xfrm>
              <a:off x="323895" y="2804651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3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323895" y="3428543"/>
            <a:ext cx="4086181" cy="504000"/>
            <a:chOff x="323895" y="3428543"/>
            <a:chExt cx="4086181" cy="504000"/>
          </a:xfrm>
        </p:grpSpPr>
        <p:sp>
          <p:nvSpPr>
            <p:cNvPr id="9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3428543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Pie / Donut Charts</a:t>
              </a:r>
            </a:p>
          </p:txBody>
        </p:sp>
        <p:sp>
          <p:nvSpPr>
            <p:cNvPr id="96" name="Rechteck 95"/>
            <p:cNvSpPr/>
            <p:nvPr/>
          </p:nvSpPr>
          <p:spPr>
            <a:xfrm>
              <a:off x="323895" y="3428544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4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" name="Gruppieren 11"/>
          <p:cNvGrpSpPr/>
          <p:nvPr/>
        </p:nvGrpSpPr>
        <p:grpSpPr>
          <a:xfrm>
            <a:off x="323895" y="4052436"/>
            <a:ext cx="4086181" cy="504000"/>
            <a:chOff x="323895" y="4052436"/>
            <a:chExt cx="4086181" cy="504000"/>
          </a:xfrm>
        </p:grpSpPr>
        <p:sp>
          <p:nvSpPr>
            <p:cNvPr id="9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4052436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Overlapping Text Boxes</a:t>
              </a:r>
            </a:p>
          </p:txBody>
        </p:sp>
        <p:sp>
          <p:nvSpPr>
            <p:cNvPr id="98" name="Rechteck 97"/>
            <p:cNvSpPr/>
            <p:nvPr/>
          </p:nvSpPr>
          <p:spPr>
            <a:xfrm>
              <a:off x="323895" y="4052437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5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323895" y="4676329"/>
            <a:ext cx="4086181" cy="504000"/>
            <a:chOff x="323895" y="4676329"/>
            <a:chExt cx="4086181" cy="504000"/>
          </a:xfrm>
        </p:grpSpPr>
        <p:sp>
          <p:nvSpPr>
            <p:cNvPr id="9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4676329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Timelines Arrows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323895" y="4676330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6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9" name="Gruppieren 8"/>
          <p:cNvGrpSpPr/>
          <p:nvPr/>
        </p:nvGrpSpPr>
        <p:grpSpPr>
          <a:xfrm>
            <a:off x="323895" y="5300224"/>
            <a:ext cx="4086181" cy="504000"/>
            <a:chOff x="323895" y="5300224"/>
            <a:chExt cx="4086181" cy="504000"/>
          </a:xfrm>
        </p:grpSpPr>
        <p:sp>
          <p:nvSpPr>
            <p:cNvPr id="101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5300224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Sphere with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Core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102" name="Rechteck 101"/>
            <p:cNvSpPr/>
            <p:nvPr/>
          </p:nvSpPr>
          <p:spPr>
            <a:xfrm>
              <a:off x="323895" y="5300225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7</a:t>
              </a:r>
            </a:p>
          </p:txBody>
        </p:sp>
      </p:grpSp>
      <p:grpSp>
        <p:nvGrpSpPr>
          <p:cNvPr id="15" name="Gruppieren 14"/>
          <p:cNvGrpSpPr/>
          <p:nvPr/>
        </p:nvGrpSpPr>
        <p:grpSpPr>
          <a:xfrm>
            <a:off x="4733970" y="1556862"/>
            <a:ext cx="4086181" cy="504000"/>
            <a:chOff x="4733970" y="1556862"/>
            <a:chExt cx="4086181" cy="504000"/>
          </a:xfrm>
        </p:grpSpPr>
        <p:sp>
          <p:nvSpPr>
            <p:cNvPr id="5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1556862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Step Process Chart</a:t>
              </a:r>
            </a:p>
          </p:txBody>
        </p:sp>
        <p:sp>
          <p:nvSpPr>
            <p:cNvPr id="58" name="Rechteck 57"/>
            <p:cNvSpPr/>
            <p:nvPr/>
          </p:nvSpPr>
          <p:spPr>
            <a:xfrm>
              <a:off x="4733970" y="1556863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8</a:t>
              </a: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4733970" y="2180756"/>
            <a:ext cx="4086181" cy="504000"/>
            <a:chOff x="4733970" y="2180756"/>
            <a:chExt cx="4086181" cy="504000"/>
          </a:xfrm>
        </p:grpSpPr>
        <p:sp>
          <p:nvSpPr>
            <p:cNvPr id="5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2180756"/>
              <a:ext cx="3670300" cy="503999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16200000" scaled="0"/>
              <a:tileRect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chemeClr val="bg1"/>
                  </a:solidFill>
                </a:rPr>
                <a:t>Curves and Trend Charts</a:t>
              </a:r>
            </a:p>
          </p:txBody>
        </p:sp>
        <p:sp>
          <p:nvSpPr>
            <p:cNvPr id="60" name="Rechteck 59"/>
            <p:cNvSpPr/>
            <p:nvPr/>
          </p:nvSpPr>
          <p:spPr>
            <a:xfrm>
              <a:off x="4733970" y="2180757"/>
              <a:ext cx="324000" cy="503999"/>
            </a:xfrm>
            <a:prstGeom prst="rect">
              <a:avLst/>
            </a:pr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rgbClr val="0070C0"/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9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3" name="Gruppieren 12"/>
          <p:cNvGrpSpPr/>
          <p:nvPr/>
        </p:nvGrpSpPr>
        <p:grpSpPr>
          <a:xfrm>
            <a:off x="4733970" y="2804650"/>
            <a:ext cx="4086181" cy="504000"/>
            <a:chOff x="4733970" y="2804650"/>
            <a:chExt cx="4086181" cy="504000"/>
          </a:xfrm>
        </p:grpSpPr>
        <p:sp>
          <p:nvSpPr>
            <p:cNvPr id="61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2804650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3D Spheres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Fill </a:t>
              </a:r>
              <a:r>
                <a:rPr lang="en-US" sz="1600" b="1" noProof="1">
                  <a:solidFill>
                    <a:srgbClr val="5F5F5F"/>
                  </a:solidFill>
                </a:rPr>
                <a:t>L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evels</a:t>
              </a:r>
              <a:r>
                <a:rPr lang="en-US" sz="1600" b="1" noProof="1">
                  <a:solidFill>
                    <a:srgbClr val="5F5F5F"/>
                  </a:solidFill>
                </a:rPr>
                <a:t>	</a:t>
              </a:r>
            </a:p>
          </p:txBody>
        </p:sp>
        <p:sp>
          <p:nvSpPr>
            <p:cNvPr id="62" name="Rechteck 61"/>
            <p:cNvSpPr/>
            <p:nvPr/>
          </p:nvSpPr>
          <p:spPr>
            <a:xfrm>
              <a:off x="4733970" y="2804651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0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7" name="Gruppieren 126"/>
          <p:cNvGrpSpPr/>
          <p:nvPr/>
        </p:nvGrpSpPr>
        <p:grpSpPr>
          <a:xfrm>
            <a:off x="4733970" y="3428544"/>
            <a:ext cx="4086181" cy="504000"/>
            <a:chOff x="4733970" y="3428544"/>
            <a:chExt cx="4086181" cy="504000"/>
          </a:xfrm>
        </p:grpSpPr>
        <p:sp>
          <p:nvSpPr>
            <p:cNvPr id="63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3428544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Data-driven Diagrams	</a:t>
              </a:r>
            </a:p>
          </p:txBody>
        </p:sp>
        <p:sp>
          <p:nvSpPr>
            <p:cNvPr id="64" name="Rechteck 63"/>
            <p:cNvSpPr/>
            <p:nvPr/>
          </p:nvSpPr>
          <p:spPr>
            <a:xfrm>
              <a:off x="4733970" y="3428545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1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8" name="Gruppieren 127"/>
          <p:cNvGrpSpPr/>
          <p:nvPr/>
        </p:nvGrpSpPr>
        <p:grpSpPr>
          <a:xfrm>
            <a:off x="4733970" y="4052438"/>
            <a:ext cx="4086181" cy="504000"/>
            <a:chOff x="4733970" y="4052438"/>
            <a:chExt cx="4086181" cy="504000"/>
          </a:xfrm>
        </p:grpSpPr>
        <p:sp>
          <p:nvSpPr>
            <p:cNvPr id="6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4052438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Arrow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Process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66" name="Rechteck 65"/>
            <p:cNvSpPr/>
            <p:nvPr/>
          </p:nvSpPr>
          <p:spPr>
            <a:xfrm>
              <a:off x="4733970" y="4052439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2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9" name="Gruppieren 128"/>
          <p:cNvGrpSpPr/>
          <p:nvPr/>
        </p:nvGrpSpPr>
        <p:grpSpPr>
          <a:xfrm>
            <a:off x="4733970" y="4676332"/>
            <a:ext cx="4086181" cy="504000"/>
            <a:chOff x="4733970" y="4676332"/>
            <a:chExt cx="4086181" cy="504000"/>
          </a:xfrm>
        </p:grpSpPr>
        <p:sp>
          <p:nvSpPr>
            <p:cNvPr id="6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4676332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Circle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Diagram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68" name="Rechteck 67"/>
            <p:cNvSpPr/>
            <p:nvPr/>
          </p:nvSpPr>
          <p:spPr>
            <a:xfrm>
              <a:off x="4733970" y="4676333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3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30" name="Gruppieren 129"/>
          <p:cNvGrpSpPr/>
          <p:nvPr/>
        </p:nvGrpSpPr>
        <p:grpSpPr>
          <a:xfrm>
            <a:off x="4733970" y="5300225"/>
            <a:ext cx="4086181" cy="504000"/>
            <a:chOff x="4733970" y="5300225"/>
            <a:chExt cx="4086181" cy="504000"/>
          </a:xfrm>
        </p:grpSpPr>
        <p:sp>
          <p:nvSpPr>
            <p:cNvPr id="6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5300225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3D Arrows</a:t>
              </a:r>
            </a:p>
          </p:txBody>
        </p:sp>
        <p:sp>
          <p:nvSpPr>
            <p:cNvPr id="70" name="Rechteck 69"/>
            <p:cNvSpPr/>
            <p:nvPr/>
          </p:nvSpPr>
          <p:spPr>
            <a:xfrm>
              <a:off x="4733970" y="5300226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4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siness Starter Package</a:t>
            </a:r>
            <a:endParaRPr lang="en-US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laceholder for your own sub headline</a:t>
            </a:r>
          </a:p>
        </p:txBody>
      </p:sp>
    </p:spTree>
    <p:extLst>
      <p:ext uri="{BB962C8B-B14F-4D97-AF65-F5344CB8AC3E}">
        <p14:creationId xmlns:p14="http://schemas.microsoft.com/office/powerpoint/2010/main" val="1225287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Curves and Trend Chart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Placeholder for your own sub headline</a:t>
            </a:r>
          </a:p>
        </p:txBody>
      </p:sp>
      <p:grpSp>
        <p:nvGrpSpPr>
          <p:cNvPr id="4" name="Gruppieren 3"/>
          <p:cNvGrpSpPr/>
          <p:nvPr/>
        </p:nvGrpSpPr>
        <p:grpSpPr>
          <a:xfrm>
            <a:off x="320677" y="1554955"/>
            <a:ext cx="8490741" cy="4247358"/>
            <a:chOff x="320677" y="1554955"/>
            <a:chExt cx="8490741" cy="4247358"/>
          </a:xfrm>
        </p:grpSpPr>
        <p:sp>
          <p:nvSpPr>
            <p:cNvPr id="16" name="Rectangle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23844" y="1554955"/>
              <a:ext cx="1697835" cy="36000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de-DE" sz="16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Description 1</a:t>
              </a:r>
              <a:endParaRPr lang="de-DE" sz="16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endParaRPr>
            </a:p>
          </p:txBody>
        </p:sp>
        <p:sp>
          <p:nvSpPr>
            <p:cNvPr id="17" name="Rectangle 3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20677" y="2059419"/>
              <a:ext cx="1697835" cy="3742894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9525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08000" tIns="108000" rIns="144000" bIns="72000" anchor="t" anchorCtr="0"/>
            <a:lstStyle/>
            <a:p>
              <a:pPr lvl="0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GB" sz="14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Placeholder</a:t>
              </a:r>
            </a:p>
            <a:p>
              <a:pPr lvl="0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GB" sz="14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Click the placeholder text to select it and</a:t>
              </a:r>
              <a:br>
                <a:rPr lang="en-GB" sz="14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</a:br>
              <a:r>
                <a:rPr lang="en-GB" sz="14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type your new text.</a:t>
              </a:r>
              <a:endParaRPr lang="en-GB" sz="14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18" name="Rectangle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2021681" y="1554955"/>
              <a:ext cx="1699421" cy="36000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de-DE" sz="16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Description 2</a:t>
              </a:r>
              <a:endParaRPr lang="de-DE" sz="16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endParaRPr>
            </a:p>
          </p:txBody>
        </p:sp>
        <p:sp>
          <p:nvSpPr>
            <p:cNvPr id="19" name="Rectangle 39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2020098" y="2059419"/>
              <a:ext cx="1699420" cy="3742894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9525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08000" tIns="108000" rIns="144000" bIns="72000" anchor="t" anchorCtr="0"/>
            <a:lstStyle/>
            <a:p>
              <a:pPr lvl="0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GB" sz="14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Click the placeholder text to select it and type your new text.</a:t>
              </a:r>
              <a:endParaRPr lang="en-GB" sz="14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20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721100" y="1554955"/>
              <a:ext cx="1697835" cy="360000"/>
            </a:xfrm>
            <a:prstGeom prst="rect">
              <a:avLst/>
            </a:prstGeom>
            <a:gradFill>
              <a:gsLst>
                <a:gs pos="0">
                  <a:srgbClr val="0070C0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16200000" scaled="1"/>
            </a:gradFill>
            <a:ln w="12700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/>
              <a:r>
                <a:rPr lang="de-DE" sz="1600" b="1" noProof="1">
                  <a:solidFill>
                    <a:srgbClr val="FFFFFF"/>
                  </a:solidFill>
                </a:rPr>
                <a:t>Description 3</a:t>
              </a:r>
            </a:p>
          </p:txBody>
        </p:sp>
        <p:sp>
          <p:nvSpPr>
            <p:cNvPr id="21" name="Rectangle 40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719516" y="2059419"/>
              <a:ext cx="1697835" cy="3742894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9525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08000" tIns="108000" rIns="144000" bIns="72000" anchor="t" anchorCtr="0"/>
            <a:lstStyle/>
            <a:p>
              <a:pPr lvl="0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GB" sz="14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This is a placeholder text</a:t>
              </a:r>
              <a:endParaRPr lang="en-GB" sz="14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22" name="Rectangle 44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5417351" y="1554955"/>
              <a:ext cx="1697835" cy="36000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de-DE" sz="16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Description 4</a:t>
              </a:r>
              <a:endParaRPr lang="de-DE" sz="16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endParaRPr>
            </a:p>
          </p:txBody>
        </p:sp>
        <p:sp>
          <p:nvSpPr>
            <p:cNvPr id="23" name="Rectangle 4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5417351" y="2059419"/>
              <a:ext cx="1697835" cy="3742894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9525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08000" tIns="108000" rIns="144000" bIns="72000" anchor="b" anchorCtr="0"/>
            <a:lstStyle/>
            <a:p>
              <a:pPr lvl="0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GB" sz="14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Description</a:t>
              </a:r>
            </a:p>
            <a:p>
              <a:pPr lvl="0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GB" sz="14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Click the placeholder text to select it and type your new text.</a:t>
              </a:r>
              <a:endParaRPr lang="en-GB" sz="14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24" name="Rectangle 43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7113583" y="1554955"/>
              <a:ext cx="1697835" cy="36000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de-DE" sz="16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Description 5</a:t>
              </a:r>
              <a:endParaRPr lang="de-DE" sz="16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endParaRPr>
            </a:p>
          </p:txBody>
        </p:sp>
        <p:sp>
          <p:nvSpPr>
            <p:cNvPr id="25" name="Rectangle 42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7113583" y="2059419"/>
              <a:ext cx="1697835" cy="3742894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9525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08000" tIns="108000" rIns="144000" bIns="72000" anchor="b" anchorCtr="0"/>
            <a:lstStyle/>
            <a:p>
              <a:pPr lvl="0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GB" sz="14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To replace placeholder text: Click the </a:t>
              </a:r>
              <a:r>
                <a:rPr lang="en-GB" sz="14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place-holder </a:t>
              </a:r>
              <a:r>
                <a:rPr lang="en-GB" sz="14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text to select it and type your new text.</a:t>
              </a:r>
              <a:endParaRPr lang="en-GB" sz="14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26" name="_color1" descr="© INSCALE GmbH, 26.05.2010&#10;http://www.presentationload.com/"/>
            <p:cNvSpPr>
              <a:spLocks/>
            </p:cNvSpPr>
            <p:nvPr/>
          </p:nvSpPr>
          <p:spPr bwMode="gray">
            <a:xfrm>
              <a:off x="341267" y="2321519"/>
              <a:ext cx="8246856" cy="3472569"/>
            </a:xfrm>
            <a:custGeom>
              <a:avLst/>
              <a:gdLst/>
              <a:ahLst/>
              <a:cxnLst>
                <a:cxn ang="0">
                  <a:pos x="0" y="656"/>
                </a:cxn>
                <a:cxn ang="0">
                  <a:pos x="854" y="288"/>
                </a:cxn>
                <a:cxn ang="0">
                  <a:pos x="1784" y="0"/>
                </a:cxn>
              </a:cxnLst>
              <a:rect l="0" t="0" r="r" b="b"/>
              <a:pathLst>
                <a:path w="1784" h="656">
                  <a:moveTo>
                    <a:pt x="0" y="656"/>
                  </a:moveTo>
                  <a:cubicBezTo>
                    <a:pt x="0" y="656"/>
                    <a:pt x="445" y="353"/>
                    <a:pt x="854" y="288"/>
                  </a:cubicBezTo>
                  <a:cubicBezTo>
                    <a:pt x="1437" y="196"/>
                    <a:pt x="1536" y="200"/>
                    <a:pt x="1784" y="0"/>
                  </a:cubicBezTo>
                </a:path>
              </a:pathLst>
            </a:custGeom>
            <a:noFill/>
            <a:ln w="57150">
              <a:solidFill>
                <a:srgbClr val="0070C0"/>
              </a:solidFill>
              <a:miter lim="800000"/>
              <a:headEnd/>
              <a:tailEnd type="triangle" w="lg" len="lg"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GB"/>
            </a:p>
          </p:txBody>
        </p:sp>
        <p:sp>
          <p:nvSpPr>
            <p:cNvPr id="27" name="Rectangle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2726471" y="4162661"/>
              <a:ext cx="262163" cy="262800"/>
            </a:xfrm>
            <a:prstGeom prst="flowChartConnector">
              <a:avLst/>
            </a:prstGeom>
            <a:solidFill>
              <a:srgbClr val="FFFFFF">
                <a:alpha val="50000"/>
              </a:srgbClr>
            </a:solidFill>
            <a:ln w="38100">
              <a:solidFill>
                <a:srgbClr val="FFFFFF"/>
              </a:solidFill>
              <a:round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GB" sz="1400"/>
            </a:p>
          </p:txBody>
        </p:sp>
        <p:sp>
          <p:nvSpPr>
            <p:cNvPr id="28" name="Rectangle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011214" y="5082210"/>
              <a:ext cx="262163" cy="262800"/>
            </a:xfrm>
            <a:prstGeom prst="flowChartConnector">
              <a:avLst/>
            </a:prstGeom>
            <a:solidFill>
              <a:srgbClr val="FFFFFF">
                <a:alpha val="50000"/>
              </a:srgbClr>
            </a:solidFill>
            <a:ln w="38100">
              <a:solidFill>
                <a:srgbClr val="FFFFFF"/>
              </a:solidFill>
              <a:round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GB" sz="1400"/>
            </a:p>
          </p:txBody>
        </p:sp>
        <p:sp>
          <p:nvSpPr>
            <p:cNvPr id="29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4478157" y="3653321"/>
              <a:ext cx="262163" cy="262800"/>
            </a:xfrm>
            <a:prstGeom prst="flowChartConnector">
              <a:avLst/>
            </a:prstGeom>
            <a:solidFill>
              <a:schemeClr val="accent1">
                <a:alpha val="50000"/>
              </a:schemeClr>
            </a:solidFill>
            <a:ln w="38100">
              <a:solidFill>
                <a:srgbClr val="FFFFFF"/>
              </a:solidFill>
              <a:round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GB" sz="1400"/>
            </a:p>
          </p:txBody>
        </p:sp>
        <p:sp>
          <p:nvSpPr>
            <p:cNvPr id="30" name="AutoShape 57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147485" y="3344063"/>
              <a:ext cx="262163" cy="262800"/>
            </a:xfrm>
            <a:prstGeom prst="flowChartConnector">
              <a:avLst/>
            </a:prstGeom>
            <a:solidFill>
              <a:srgbClr val="FFFFFF">
                <a:alpha val="50000"/>
              </a:srgbClr>
            </a:solidFill>
            <a:ln w="38100">
              <a:solidFill>
                <a:srgbClr val="FFFFFF"/>
              </a:solidFill>
              <a:round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GB" sz="1400"/>
            </a:p>
          </p:txBody>
        </p:sp>
        <p:sp>
          <p:nvSpPr>
            <p:cNvPr id="31" name="AutoShape 5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7842153" y="2682778"/>
              <a:ext cx="262163" cy="262800"/>
            </a:xfrm>
            <a:prstGeom prst="flowChartConnector">
              <a:avLst/>
            </a:prstGeom>
            <a:solidFill>
              <a:srgbClr val="FFFFFF">
                <a:alpha val="50000"/>
              </a:srgbClr>
            </a:solidFill>
            <a:ln w="38100">
              <a:solidFill>
                <a:srgbClr val="FFFFFF"/>
              </a:solidFill>
              <a:round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GB" sz="1400"/>
            </a:p>
          </p:txBody>
        </p:sp>
      </p:grpSp>
    </p:spTree>
    <p:extLst>
      <p:ext uri="{BB962C8B-B14F-4D97-AF65-F5344CB8AC3E}">
        <p14:creationId xmlns:p14="http://schemas.microsoft.com/office/powerpoint/2010/main" val="3824306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Curves and Trend Chart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Placeholder for your own sub headline</a:t>
            </a:r>
          </a:p>
        </p:txBody>
      </p:sp>
      <p:grpSp>
        <p:nvGrpSpPr>
          <p:cNvPr id="15" name="Gruppieren 14"/>
          <p:cNvGrpSpPr/>
          <p:nvPr/>
        </p:nvGrpSpPr>
        <p:grpSpPr>
          <a:xfrm>
            <a:off x="324644" y="1554953"/>
            <a:ext cx="8495540" cy="4247360"/>
            <a:chOff x="324644" y="1554953"/>
            <a:chExt cx="8495540" cy="4247360"/>
          </a:xfrm>
        </p:grpSpPr>
        <p:sp>
          <p:nvSpPr>
            <p:cNvPr id="16" name="Rectangle 23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93268" y="5441038"/>
              <a:ext cx="8126882" cy="361275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algn="ct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GB" sz="1400" b="1" noProof="1" smtClean="0">
                  <a:cs typeface="Arial" pitchFamily="34" charset="0"/>
                </a:rPr>
                <a:t>Placeholder</a:t>
              </a:r>
            </a:p>
          </p:txBody>
        </p:sp>
        <p:sp>
          <p:nvSpPr>
            <p:cNvPr id="17" name="Rectangle 24" descr="© INSCALE GmbH, 26.05.2010&#10;http://www.presentationload.com/"/>
            <p:cNvSpPr>
              <a:spLocks noChangeArrowheads="1"/>
            </p:cNvSpPr>
            <p:nvPr/>
          </p:nvSpPr>
          <p:spPr bwMode="gray">
            <a:xfrm rot="16200000">
              <a:off x="-1258227" y="3498983"/>
              <a:ext cx="3534366" cy="368624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noAutofit/>
            </a:bodyPr>
            <a:lstStyle/>
            <a:p>
              <a:pPr algn="ct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GB" sz="1400" b="1" noProof="1" smtClean="0">
                  <a:cs typeface="Arial" pitchFamily="34" charset="0"/>
                </a:rPr>
                <a:t>Description</a:t>
              </a:r>
            </a:p>
          </p:txBody>
        </p:sp>
        <p:sp>
          <p:nvSpPr>
            <p:cNvPr id="18" name="_color1" descr="© INSCALE GmbH, 26.05.2010&#10;http://www.presentationload.com/"/>
            <p:cNvSpPr>
              <a:spLocks/>
            </p:cNvSpPr>
            <p:nvPr/>
          </p:nvSpPr>
          <p:spPr bwMode="gray">
            <a:xfrm>
              <a:off x="882300" y="2284190"/>
              <a:ext cx="7792123" cy="3025565"/>
            </a:xfrm>
            <a:custGeom>
              <a:avLst/>
              <a:gdLst/>
              <a:ahLst/>
              <a:cxnLst>
                <a:cxn ang="0">
                  <a:pos x="2676" y="1142"/>
                </a:cxn>
                <a:cxn ang="0">
                  <a:pos x="2676" y="1"/>
                </a:cxn>
                <a:cxn ang="0">
                  <a:pos x="2652" y="0"/>
                </a:cxn>
                <a:cxn ang="0">
                  <a:pos x="2538" y="0"/>
                </a:cxn>
                <a:cxn ang="0">
                  <a:pos x="0" y="1140"/>
                </a:cxn>
                <a:cxn ang="0">
                  <a:pos x="0" y="1142"/>
                </a:cxn>
                <a:cxn ang="0">
                  <a:pos x="2676" y="1142"/>
                </a:cxn>
              </a:cxnLst>
              <a:rect l="0" t="0" r="r" b="b"/>
              <a:pathLst>
                <a:path w="2676" h="1142">
                  <a:moveTo>
                    <a:pt x="2676" y="1142"/>
                  </a:moveTo>
                  <a:cubicBezTo>
                    <a:pt x="2676" y="1"/>
                    <a:pt x="2676" y="1"/>
                    <a:pt x="2676" y="1"/>
                  </a:cubicBezTo>
                  <a:cubicBezTo>
                    <a:pt x="2668" y="1"/>
                    <a:pt x="2660" y="0"/>
                    <a:pt x="2652" y="0"/>
                  </a:cubicBezTo>
                  <a:cubicBezTo>
                    <a:pt x="2538" y="0"/>
                    <a:pt x="2538" y="0"/>
                    <a:pt x="2538" y="0"/>
                  </a:cubicBezTo>
                  <a:cubicBezTo>
                    <a:pt x="1523" y="16"/>
                    <a:pt x="616" y="455"/>
                    <a:pt x="0" y="1140"/>
                  </a:cubicBezTo>
                  <a:cubicBezTo>
                    <a:pt x="0" y="1142"/>
                    <a:pt x="0" y="1142"/>
                    <a:pt x="0" y="1142"/>
                  </a:cubicBezTo>
                  <a:lnTo>
                    <a:pt x="2676" y="1142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GB"/>
            </a:p>
          </p:txBody>
        </p:sp>
        <p:sp>
          <p:nvSpPr>
            <p:cNvPr id="19" name="_color1" descr="© INSCALE GmbH, 26.05.2010&#10;http://www.presentationload.com/"/>
            <p:cNvSpPr>
              <a:spLocks/>
            </p:cNvSpPr>
            <p:nvPr/>
          </p:nvSpPr>
          <p:spPr bwMode="gray">
            <a:xfrm>
              <a:off x="861043" y="1754981"/>
              <a:ext cx="7823376" cy="3217069"/>
            </a:xfrm>
            <a:custGeom>
              <a:avLst/>
              <a:gdLst>
                <a:gd name="connsiteX0" fmla="*/ 10000 w 10000"/>
                <a:gd name="connsiteY0" fmla="*/ 531 h 10000"/>
                <a:gd name="connsiteX1" fmla="*/ 9598 w 10000"/>
                <a:gd name="connsiteY1" fmla="*/ 0 h 10000"/>
                <a:gd name="connsiteX2" fmla="*/ 9598 w 10000"/>
                <a:gd name="connsiteY2" fmla="*/ 223 h 10000"/>
                <a:gd name="connsiteX3" fmla="*/ 9523 w 10000"/>
                <a:gd name="connsiteY3" fmla="*/ 223 h 10000"/>
                <a:gd name="connsiteX4" fmla="*/ 9099 w 10000"/>
                <a:gd name="connsiteY4" fmla="*/ 223 h 10000"/>
                <a:gd name="connsiteX5" fmla="*/ 0 w 10000"/>
                <a:gd name="connsiteY5" fmla="*/ 9126 h 10000"/>
                <a:gd name="connsiteX6" fmla="*/ 0 w 10000"/>
                <a:gd name="connsiteY6" fmla="*/ 10000 h 10000"/>
                <a:gd name="connsiteX7" fmla="*/ 9207 w 10000"/>
                <a:gd name="connsiteY7" fmla="*/ 840 h 10000"/>
                <a:gd name="connsiteX8" fmla="*/ 9598 w 10000"/>
                <a:gd name="connsiteY8" fmla="*/ 840 h 10000"/>
                <a:gd name="connsiteX9" fmla="*/ 9598 w 10000"/>
                <a:gd name="connsiteY9" fmla="*/ 1071 h 10000"/>
                <a:gd name="connsiteX10" fmla="*/ 10000 w 10000"/>
                <a:gd name="connsiteY10" fmla="*/ 531 h 10000"/>
                <a:gd name="connsiteX0" fmla="*/ 10000 w 10000"/>
                <a:gd name="connsiteY0" fmla="*/ 531 h 10000"/>
                <a:gd name="connsiteX1" fmla="*/ 9598 w 10000"/>
                <a:gd name="connsiteY1" fmla="*/ 0 h 10000"/>
                <a:gd name="connsiteX2" fmla="*/ 9598 w 10000"/>
                <a:gd name="connsiteY2" fmla="*/ 223 h 10000"/>
                <a:gd name="connsiteX3" fmla="*/ 9523 w 10000"/>
                <a:gd name="connsiteY3" fmla="*/ 223 h 10000"/>
                <a:gd name="connsiteX4" fmla="*/ 9099 w 10000"/>
                <a:gd name="connsiteY4" fmla="*/ 223 h 10000"/>
                <a:gd name="connsiteX5" fmla="*/ 0 w 10000"/>
                <a:gd name="connsiteY5" fmla="*/ 9126 h 10000"/>
                <a:gd name="connsiteX6" fmla="*/ 0 w 10000"/>
                <a:gd name="connsiteY6" fmla="*/ 10000 h 10000"/>
                <a:gd name="connsiteX7" fmla="*/ 9207 w 10000"/>
                <a:gd name="connsiteY7" fmla="*/ 840 h 10000"/>
                <a:gd name="connsiteX8" fmla="*/ 9598 w 10000"/>
                <a:gd name="connsiteY8" fmla="*/ 840 h 10000"/>
                <a:gd name="connsiteX9" fmla="*/ 9598 w 10000"/>
                <a:gd name="connsiteY9" fmla="*/ 1071 h 10000"/>
                <a:gd name="connsiteX10" fmla="*/ 10000 w 10000"/>
                <a:gd name="connsiteY10" fmla="*/ 531 h 10000"/>
                <a:gd name="connsiteX0" fmla="*/ 10000 w 10000"/>
                <a:gd name="connsiteY0" fmla="*/ 531 h 10000"/>
                <a:gd name="connsiteX1" fmla="*/ 9598 w 10000"/>
                <a:gd name="connsiteY1" fmla="*/ 0 h 10000"/>
                <a:gd name="connsiteX2" fmla="*/ 9598 w 10000"/>
                <a:gd name="connsiteY2" fmla="*/ 223 h 10000"/>
                <a:gd name="connsiteX3" fmla="*/ 9523 w 10000"/>
                <a:gd name="connsiteY3" fmla="*/ 223 h 10000"/>
                <a:gd name="connsiteX4" fmla="*/ 9099 w 10000"/>
                <a:gd name="connsiteY4" fmla="*/ 223 h 10000"/>
                <a:gd name="connsiteX5" fmla="*/ 0 w 10000"/>
                <a:gd name="connsiteY5" fmla="*/ 9126 h 10000"/>
                <a:gd name="connsiteX6" fmla="*/ 0 w 10000"/>
                <a:gd name="connsiteY6" fmla="*/ 10000 h 10000"/>
                <a:gd name="connsiteX7" fmla="*/ 9207 w 10000"/>
                <a:gd name="connsiteY7" fmla="*/ 840 h 10000"/>
                <a:gd name="connsiteX8" fmla="*/ 9598 w 10000"/>
                <a:gd name="connsiteY8" fmla="*/ 840 h 10000"/>
                <a:gd name="connsiteX9" fmla="*/ 9598 w 10000"/>
                <a:gd name="connsiteY9" fmla="*/ 1071 h 10000"/>
                <a:gd name="connsiteX10" fmla="*/ 10000 w 10000"/>
                <a:gd name="connsiteY10" fmla="*/ 531 h 10000"/>
                <a:gd name="connsiteX0" fmla="*/ 10000 w 10000"/>
                <a:gd name="connsiteY0" fmla="*/ 531 h 10000"/>
                <a:gd name="connsiteX1" fmla="*/ 9598 w 10000"/>
                <a:gd name="connsiteY1" fmla="*/ 0 h 10000"/>
                <a:gd name="connsiteX2" fmla="*/ 9598 w 10000"/>
                <a:gd name="connsiteY2" fmla="*/ 223 h 10000"/>
                <a:gd name="connsiteX3" fmla="*/ 9523 w 10000"/>
                <a:gd name="connsiteY3" fmla="*/ 223 h 10000"/>
                <a:gd name="connsiteX4" fmla="*/ 9099 w 10000"/>
                <a:gd name="connsiteY4" fmla="*/ 223 h 10000"/>
                <a:gd name="connsiteX5" fmla="*/ 0 w 10000"/>
                <a:gd name="connsiteY5" fmla="*/ 9126 h 10000"/>
                <a:gd name="connsiteX6" fmla="*/ 0 w 10000"/>
                <a:gd name="connsiteY6" fmla="*/ 10000 h 10000"/>
                <a:gd name="connsiteX7" fmla="*/ 9207 w 10000"/>
                <a:gd name="connsiteY7" fmla="*/ 840 h 10000"/>
                <a:gd name="connsiteX8" fmla="*/ 9598 w 10000"/>
                <a:gd name="connsiteY8" fmla="*/ 840 h 10000"/>
                <a:gd name="connsiteX9" fmla="*/ 9598 w 10000"/>
                <a:gd name="connsiteY9" fmla="*/ 1071 h 10000"/>
                <a:gd name="connsiteX10" fmla="*/ 10000 w 10000"/>
                <a:gd name="connsiteY10" fmla="*/ 531 h 10000"/>
                <a:gd name="connsiteX0" fmla="*/ 10000 w 10000"/>
                <a:gd name="connsiteY0" fmla="*/ 531 h 10000"/>
                <a:gd name="connsiteX1" fmla="*/ 9598 w 10000"/>
                <a:gd name="connsiteY1" fmla="*/ 0 h 10000"/>
                <a:gd name="connsiteX2" fmla="*/ 9598 w 10000"/>
                <a:gd name="connsiteY2" fmla="*/ 223 h 10000"/>
                <a:gd name="connsiteX3" fmla="*/ 9523 w 10000"/>
                <a:gd name="connsiteY3" fmla="*/ 223 h 10000"/>
                <a:gd name="connsiteX4" fmla="*/ 9099 w 10000"/>
                <a:gd name="connsiteY4" fmla="*/ 223 h 10000"/>
                <a:gd name="connsiteX5" fmla="*/ 0 w 10000"/>
                <a:gd name="connsiteY5" fmla="*/ 9126 h 10000"/>
                <a:gd name="connsiteX6" fmla="*/ 0 w 10000"/>
                <a:gd name="connsiteY6" fmla="*/ 10000 h 10000"/>
                <a:gd name="connsiteX7" fmla="*/ 9207 w 10000"/>
                <a:gd name="connsiteY7" fmla="*/ 840 h 10000"/>
                <a:gd name="connsiteX8" fmla="*/ 9598 w 10000"/>
                <a:gd name="connsiteY8" fmla="*/ 840 h 10000"/>
                <a:gd name="connsiteX9" fmla="*/ 9598 w 10000"/>
                <a:gd name="connsiteY9" fmla="*/ 1071 h 10000"/>
                <a:gd name="connsiteX10" fmla="*/ 10000 w 10000"/>
                <a:gd name="connsiteY10" fmla="*/ 531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000" h="10000">
                  <a:moveTo>
                    <a:pt x="10000" y="531"/>
                  </a:moveTo>
                  <a:lnTo>
                    <a:pt x="9598" y="0"/>
                  </a:lnTo>
                  <a:lnTo>
                    <a:pt x="9598" y="223"/>
                  </a:lnTo>
                  <a:lnTo>
                    <a:pt x="9523" y="223"/>
                  </a:lnTo>
                  <a:lnTo>
                    <a:pt x="9099" y="223"/>
                  </a:lnTo>
                  <a:cubicBezTo>
                    <a:pt x="5627" y="375"/>
                    <a:pt x="2282" y="3745"/>
                    <a:pt x="0" y="9126"/>
                  </a:cubicBezTo>
                  <a:lnTo>
                    <a:pt x="0" y="10000"/>
                  </a:lnTo>
                  <a:cubicBezTo>
                    <a:pt x="2286" y="4473"/>
                    <a:pt x="5747" y="1015"/>
                    <a:pt x="9207" y="840"/>
                  </a:cubicBezTo>
                  <a:lnTo>
                    <a:pt x="9598" y="840"/>
                  </a:lnTo>
                  <a:lnTo>
                    <a:pt x="9598" y="1071"/>
                  </a:lnTo>
                  <a:lnTo>
                    <a:pt x="10000" y="531"/>
                  </a:lnTo>
                  <a:close/>
                </a:path>
              </a:pathLst>
            </a:custGeom>
            <a:solidFill>
              <a:srgbClr val="0070C0"/>
            </a:solidFill>
            <a:ln w="76200">
              <a:noFill/>
              <a:round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GB"/>
            </a:p>
          </p:txBody>
        </p:sp>
        <p:sp>
          <p:nvSpPr>
            <p:cNvPr id="20" name="Rectangle 62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207225" y="1789190"/>
              <a:ext cx="1263259" cy="1754326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 anchorCtr="0">
              <a:spAutoFit/>
            </a:bodyPr>
            <a:lstStyle/>
            <a:p>
              <a:pPr algn="l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GB" sz="1600" b="1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Description</a:t>
              </a:r>
            </a:p>
            <a:p>
              <a:pPr algn="l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GB" sz="14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To replace </a:t>
              </a:r>
              <a:br>
                <a:rPr lang="en-GB" sz="14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</a:br>
              <a:r>
                <a:rPr lang="en-GB" sz="14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placeholder text: </a:t>
              </a:r>
              <a:br>
                <a:rPr lang="en-GB" sz="14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</a:br>
              <a:r>
                <a:rPr lang="en-GB" sz="14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Click the placeholder text to select it and type your new text.</a:t>
              </a:r>
              <a:endParaRPr lang="en-GB" sz="14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21" name="Rectangle 63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2976311" y="3956626"/>
              <a:ext cx="1708899" cy="1213666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square" lIns="0" tIns="0" rIns="144000" bIns="0" anchor="b" anchorCtr="0">
              <a:spAutoFit/>
            </a:bodyPr>
            <a:lstStyle/>
            <a:p>
              <a:pPr algn="l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GB" sz="1600" b="1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Description</a:t>
              </a:r>
            </a:p>
            <a:p>
              <a:pPr algn="l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GB" sz="12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To replace </a:t>
              </a:r>
              <a:br>
                <a:rPr lang="en-GB" sz="12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</a:br>
              <a:r>
                <a:rPr lang="en-GB" sz="12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placeholder text: </a:t>
              </a:r>
              <a:br>
                <a:rPr lang="en-GB" sz="12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</a:br>
              <a:r>
                <a:rPr lang="en-GB" sz="12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Click the placeholder text to select it and type your new text.</a:t>
              </a:r>
              <a:endParaRPr lang="en-GB" sz="12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22" name="Rectangle 64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4930318" y="3956626"/>
              <a:ext cx="1522733" cy="1213666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 anchorCtr="0">
              <a:spAutoFit/>
            </a:bodyPr>
            <a:lstStyle/>
            <a:p>
              <a:pPr algn="l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GB" sz="1600" b="1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Description</a:t>
              </a:r>
            </a:p>
            <a:p>
              <a:pPr algn="l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GB" sz="12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To replace </a:t>
              </a:r>
              <a:br>
                <a:rPr lang="en-GB" sz="12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</a:br>
              <a:r>
                <a:rPr lang="en-GB" sz="12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placeholder text: </a:t>
              </a:r>
              <a:br>
                <a:rPr lang="en-GB" sz="12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</a:br>
              <a:r>
                <a:rPr lang="en-GB" sz="12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Click the placeholder text to select it and type your new text</a:t>
              </a:r>
              <a:r>
                <a:rPr lang="en-GB" sz="12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.</a:t>
              </a:r>
              <a:endParaRPr lang="en-GB" sz="12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23" name="Rectangle 65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914338" y="3956626"/>
              <a:ext cx="1567811" cy="1213666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 anchorCtr="0">
              <a:spAutoFit/>
            </a:bodyPr>
            <a:lstStyle/>
            <a:p>
              <a:pPr algn="l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GB" sz="1600" b="1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Description</a:t>
              </a:r>
            </a:p>
            <a:p>
              <a:pPr algn="l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GB" sz="12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To replace </a:t>
              </a:r>
              <a:br>
                <a:rPr lang="en-GB" sz="12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</a:br>
              <a:r>
                <a:rPr lang="en-GB" sz="12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placeholder text: </a:t>
              </a:r>
              <a:br>
                <a:rPr lang="en-GB" sz="12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</a:br>
              <a:r>
                <a:rPr lang="en-GB" sz="12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Click the placeholder text to select it and type your new text.</a:t>
              </a:r>
              <a:endParaRPr lang="en-GB" sz="12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24" name="_color1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7740431" y="2540899"/>
              <a:ext cx="741718" cy="2923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 anchorCtr="0">
              <a:spAutoFit/>
            </a:bodyPr>
            <a:lstStyle/>
            <a:p>
              <a:pPr>
                <a:lnSpc>
                  <a:spcPct val="95000"/>
                </a:lnSpc>
                <a:spcBef>
                  <a:spcPct val="50000"/>
                </a:spcBef>
                <a:spcAft>
                  <a:spcPts val="800"/>
                </a:spcAft>
              </a:pPr>
              <a:r>
                <a:rPr lang="en-GB" sz="2000" b="1" noProof="1">
                  <a:solidFill>
                    <a:srgbClr val="0070C0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cs typeface="Arial" pitchFamily="34" charset="0"/>
                </a:rPr>
                <a:t>+ </a:t>
              </a:r>
              <a:r>
                <a:rPr lang="en-GB" sz="2000" b="1" noProof="1" smtClean="0">
                  <a:solidFill>
                    <a:srgbClr val="0070C0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cs typeface="Arial" pitchFamily="34" charset="0"/>
                </a:rPr>
                <a:t>XY </a:t>
              </a:r>
              <a:r>
                <a:rPr lang="en-GB" sz="2000" b="1" noProof="1">
                  <a:solidFill>
                    <a:srgbClr val="0070C0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cs typeface="Arial" pitchFamily="34" charset="0"/>
                </a:rPr>
                <a:t>%</a:t>
              </a:r>
            </a:p>
          </p:txBody>
        </p:sp>
        <p:grpSp>
          <p:nvGrpSpPr>
            <p:cNvPr id="25" name="Gruppieren 24"/>
            <p:cNvGrpSpPr/>
            <p:nvPr/>
          </p:nvGrpSpPr>
          <p:grpSpPr>
            <a:xfrm>
              <a:off x="693267" y="1554953"/>
              <a:ext cx="8126917" cy="3886997"/>
              <a:chOff x="693267" y="1494432"/>
              <a:chExt cx="8126917" cy="3932304"/>
            </a:xfrm>
          </p:grpSpPr>
          <p:sp>
            <p:nvSpPr>
              <p:cNvPr id="29" name="Line 32" descr="© INSCALE GmbH, 26.05.2010&#10;http://www.presentationload.com/"/>
              <p:cNvSpPr>
                <a:spLocks noChangeShapeType="1"/>
              </p:cNvSpPr>
              <p:nvPr/>
            </p:nvSpPr>
            <p:spPr bwMode="gray">
              <a:xfrm rot="16200000">
                <a:off x="-1272885" y="3460584"/>
                <a:ext cx="3932304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  <p:txBody>
              <a:bodyPr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</a:pPr>
                <a:endParaRPr lang="en-GB"/>
              </a:p>
            </p:txBody>
          </p:sp>
          <p:sp>
            <p:nvSpPr>
              <p:cNvPr id="30" name="Line 31" descr="© INSCALE GmbH, 26.05.2010&#10;http://www.presentationload.com/"/>
              <p:cNvSpPr>
                <a:spLocks noChangeShapeType="1"/>
              </p:cNvSpPr>
              <p:nvPr/>
            </p:nvSpPr>
            <p:spPr bwMode="gray">
              <a:xfrm>
                <a:off x="694025" y="5424292"/>
                <a:ext cx="8126159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  <p:txBody>
              <a:bodyPr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</a:pPr>
                <a:endParaRPr lang="en-GB"/>
              </a:p>
            </p:txBody>
          </p:sp>
        </p:grpSp>
        <p:cxnSp>
          <p:nvCxnSpPr>
            <p:cNvPr id="26" name="Gerade Verbindung 25"/>
            <p:cNvCxnSpPr/>
            <p:nvPr/>
          </p:nvCxnSpPr>
          <p:spPr>
            <a:xfrm rot="5400000">
              <a:off x="3554964" y="4083130"/>
              <a:ext cx="2425539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>
            <a:xfrm rot="5400000">
              <a:off x="2068264" y="4549777"/>
              <a:ext cx="1492248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/>
          </p:nvCxnSpPr>
          <p:spPr>
            <a:xfrm rot="5400000">
              <a:off x="5279628" y="3854453"/>
              <a:ext cx="2882900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55864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 - </a:t>
            </a:r>
            <a:r>
              <a:rPr lang="de-DE" dirty="0" smtClean="0"/>
              <a:t>4 </a:t>
            </a:r>
            <a:r>
              <a:rPr lang="de-DE" dirty="0"/>
              <a:t>Item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laceholder for your own sub </a:t>
            </a:r>
            <a:r>
              <a:rPr lang="en-US" dirty="0" smtClean="0"/>
              <a:t>headline</a:t>
            </a:r>
            <a:endParaRPr lang="en-US" dirty="0"/>
          </a:p>
        </p:txBody>
      </p:sp>
      <p:grpSp>
        <p:nvGrpSpPr>
          <p:cNvPr id="7" name="Gruppieren 6"/>
          <p:cNvGrpSpPr/>
          <p:nvPr/>
        </p:nvGrpSpPr>
        <p:grpSpPr>
          <a:xfrm>
            <a:off x="324643" y="1561307"/>
            <a:ext cx="8496299" cy="1050925"/>
            <a:chOff x="324643" y="1561307"/>
            <a:chExt cx="8496299" cy="1050925"/>
          </a:xfrm>
        </p:grpSpPr>
        <p:sp>
          <p:nvSpPr>
            <p:cNvPr id="16" name="Rectangle 19"/>
            <p:cNvSpPr>
              <a:spLocks noChangeArrowheads="1"/>
            </p:cNvSpPr>
            <p:nvPr/>
          </p:nvSpPr>
          <p:spPr bwMode="gray">
            <a:xfrm>
              <a:off x="1001485" y="1561308"/>
              <a:ext cx="7818680" cy="347928"/>
            </a:xfrm>
            <a:prstGeom prst="rect">
              <a:avLst/>
            </a:prstGeom>
            <a:gradFill rotWithShape="1">
              <a:gsLst>
                <a:gs pos="0">
                  <a:srgbClr val="EAEAEA"/>
                </a:gs>
                <a:gs pos="100000">
                  <a:srgbClr val="B2B2B2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0" rIns="0" bIns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01688" eaLnBrk="0" hangingPunct="0"/>
              <a:r>
                <a:rPr lang="de-DE" b="1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This is a placeholder text</a:t>
              </a:r>
            </a:p>
          </p:txBody>
        </p:sp>
        <p:sp>
          <p:nvSpPr>
            <p:cNvPr id="17" name="Rectangle 5"/>
            <p:cNvSpPr>
              <a:spLocks noChangeArrowheads="1"/>
            </p:cNvSpPr>
            <p:nvPr/>
          </p:nvSpPr>
          <p:spPr bwMode="gray">
            <a:xfrm>
              <a:off x="1001485" y="1921672"/>
              <a:ext cx="7819457" cy="69056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108000" rIns="144000" bIns="72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de-DE" noProof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The text demonstrates how your own text will look </a:t>
              </a:r>
              <a:br>
                <a:rPr lang="de-DE" noProof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de-DE" noProof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when you replace the placeholder text</a:t>
              </a:r>
              <a:r>
                <a:rPr lang="de-DE" noProof="1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</a:t>
              </a:r>
              <a:endParaRPr lang="de-DE" noProof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/>
          </p:nvSpPr>
          <p:spPr>
            <a:xfrm>
              <a:off x="324643" y="1561307"/>
              <a:ext cx="555671" cy="1050925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4400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</a:t>
              </a:r>
              <a:endParaRPr lang="en-US" sz="4400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69" name="Gruppieren 68"/>
          <p:cNvGrpSpPr/>
          <p:nvPr/>
        </p:nvGrpSpPr>
        <p:grpSpPr>
          <a:xfrm>
            <a:off x="324643" y="2748600"/>
            <a:ext cx="8496299" cy="1050925"/>
            <a:chOff x="324643" y="1561307"/>
            <a:chExt cx="8496299" cy="1050925"/>
          </a:xfrm>
        </p:grpSpPr>
        <p:sp>
          <p:nvSpPr>
            <p:cNvPr id="70" name="Rectangle 19"/>
            <p:cNvSpPr>
              <a:spLocks noChangeArrowheads="1"/>
            </p:cNvSpPr>
            <p:nvPr/>
          </p:nvSpPr>
          <p:spPr bwMode="gray">
            <a:xfrm>
              <a:off x="1001485" y="1561308"/>
              <a:ext cx="7818680" cy="347928"/>
            </a:xfrm>
            <a:prstGeom prst="rect">
              <a:avLst/>
            </a:prstGeom>
            <a:gradFill rotWithShape="1">
              <a:gsLst>
                <a:gs pos="0">
                  <a:srgbClr val="EAEAEA"/>
                </a:gs>
                <a:gs pos="100000">
                  <a:srgbClr val="B2B2B2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0" rIns="0" bIns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ct val="20000"/>
                </a:spcAft>
                <a:defRPr/>
              </a:pPr>
              <a:r>
                <a:rPr lang="de-DE" b="1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his text can be replaced with your own text</a:t>
              </a:r>
            </a:p>
          </p:txBody>
        </p:sp>
        <p:sp>
          <p:nvSpPr>
            <p:cNvPr id="72" name="Rectangle 5"/>
            <p:cNvSpPr>
              <a:spLocks noChangeArrowheads="1"/>
            </p:cNvSpPr>
            <p:nvPr/>
          </p:nvSpPr>
          <p:spPr bwMode="gray">
            <a:xfrm>
              <a:off x="1001485" y="1921672"/>
              <a:ext cx="7819457" cy="69056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108000" rIns="144000" bIns="72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en-US" noProof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The text that you insert will retain the same style </a:t>
              </a:r>
              <a:br>
                <a:rPr lang="en-US" noProof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en-US" noProof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nd format as the placeholder text.</a:t>
              </a:r>
            </a:p>
          </p:txBody>
        </p:sp>
        <p:sp>
          <p:nvSpPr>
            <p:cNvPr id="73" name="Rechteck 72"/>
            <p:cNvSpPr/>
            <p:nvPr/>
          </p:nvSpPr>
          <p:spPr>
            <a:xfrm>
              <a:off x="324643" y="1561307"/>
              <a:ext cx="555671" cy="1050925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4400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2</a:t>
              </a:r>
              <a:endParaRPr lang="en-US" sz="4400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324643" y="3935893"/>
            <a:ext cx="8496299" cy="1050925"/>
            <a:chOff x="324643" y="3935893"/>
            <a:chExt cx="8496299" cy="1050925"/>
          </a:xfrm>
        </p:grpSpPr>
        <p:sp>
          <p:nvSpPr>
            <p:cNvPr id="76" name="Rectangle 19"/>
            <p:cNvSpPr>
              <a:spLocks noChangeArrowheads="1"/>
            </p:cNvSpPr>
            <p:nvPr/>
          </p:nvSpPr>
          <p:spPr bwMode="gray">
            <a:xfrm>
              <a:off x="1001485" y="3935894"/>
              <a:ext cx="7818680" cy="347928"/>
            </a:xfrm>
            <a:prstGeom prst="rect">
              <a:avLst/>
            </a:pr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rgbClr val="0070C0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0" rIns="0" bIns="0" anchor="ctr"/>
            <a:lstStyle/>
            <a:p>
              <a:pPr defTabSz="801688" eaLnBrk="0" hangingPunct="0"/>
              <a:r>
                <a:rPr lang="de-DE" b="1" noProof="1">
                  <a:solidFill>
                    <a:srgbClr val="F8F8F8"/>
                  </a:solidFill>
                  <a:cs typeface="Arial" charset="0"/>
                </a:rPr>
                <a:t>This is a placeholder text</a:t>
              </a:r>
            </a:p>
          </p:txBody>
        </p:sp>
        <p:sp>
          <p:nvSpPr>
            <p:cNvPr id="77" name="Rectangle 5"/>
            <p:cNvSpPr>
              <a:spLocks noChangeArrowheads="1"/>
            </p:cNvSpPr>
            <p:nvPr/>
          </p:nvSpPr>
          <p:spPr bwMode="gray">
            <a:xfrm>
              <a:off x="1001485" y="4296258"/>
              <a:ext cx="7819457" cy="69056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108000" rIns="144000" bIns="72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de-DE" noProof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The text demonstrates how your own text will look </a:t>
              </a:r>
              <a:br>
                <a:rPr lang="de-DE" noProof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de-DE" noProof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when you replace the placeholder text</a:t>
              </a:r>
              <a:r>
                <a:rPr lang="de-DE" noProof="1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</a:t>
              </a:r>
              <a:endParaRPr lang="de-DE" noProof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78" name="Rechteck 77"/>
            <p:cNvSpPr/>
            <p:nvPr/>
          </p:nvSpPr>
          <p:spPr>
            <a:xfrm>
              <a:off x="324643" y="3935893"/>
              <a:ext cx="555671" cy="1050925"/>
            </a:xfrm>
            <a:prstGeom prst="rect">
              <a:avLst/>
            </a:pr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rgbClr val="0070C0"/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4400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3</a:t>
              </a:r>
            </a:p>
          </p:txBody>
        </p:sp>
      </p:grpSp>
      <p:grpSp>
        <p:nvGrpSpPr>
          <p:cNvPr id="79" name="Gruppieren 78"/>
          <p:cNvGrpSpPr/>
          <p:nvPr/>
        </p:nvGrpSpPr>
        <p:grpSpPr>
          <a:xfrm>
            <a:off x="324643" y="5123186"/>
            <a:ext cx="8496299" cy="1050925"/>
            <a:chOff x="324643" y="1561307"/>
            <a:chExt cx="8496299" cy="1050925"/>
          </a:xfrm>
        </p:grpSpPr>
        <p:sp>
          <p:nvSpPr>
            <p:cNvPr id="80" name="Rectangle 19"/>
            <p:cNvSpPr>
              <a:spLocks noChangeArrowheads="1"/>
            </p:cNvSpPr>
            <p:nvPr/>
          </p:nvSpPr>
          <p:spPr bwMode="gray">
            <a:xfrm>
              <a:off x="1001485" y="1561308"/>
              <a:ext cx="7818680" cy="347928"/>
            </a:xfrm>
            <a:prstGeom prst="rect">
              <a:avLst/>
            </a:prstGeom>
            <a:gradFill rotWithShape="1">
              <a:gsLst>
                <a:gs pos="0">
                  <a:srgbClr val="EAEAEA"/>
                </a:gs>
                <a:gs pos="100000">
                  <a:srgbClr val="B2B2B2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0" rIns="0" bIns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ct val="20000"/>
                </a:spcAft>
                <a:defRPr/>
              </a:pPr>
              <a:r>
                <a:rPr lang="de-DE" b="1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laceholder text</a:t>
              </a:r>
            </a:p>
          </p:txBody>
        </p:sp>
        <p:sp>
          <p:nvSpPr>
            <p:cNvPr id="81" name="Rectangle 5"/>
            <p:cNvSpPr>
              <a:spLocks noChangeArrowheads="1"/>
            </p:cNvSpPr>
            <p:nvPr/>
          </p:nvSpPr>
          <p:spPr bwMode="gray">
            <a:xfrm>
              <a:off x="1001485" y="1921672"/>
              <a:ext cx="7819457" cy="69056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108000" rIns="144000" bIns="72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en-US" noProof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The text that you insert will retain the same style </a:t>
              </a:r>
              <a:br>
                <a:rPr lang="en-US" noProof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en-US" noProof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nd format as the placeholder text.</a:t>
              </a:r>
            </a:p>
          </p:txBody>
        </p:sp>
        <p:sp>
          <p:nvSpPr>
            <p:cNvPr id="82" name="Rechteck 81"/>
            <p:cNvSpPr/>
            <p:nvPr/>
          </p:nvSpPr>
          <p:spPr>
            <a:xfrm>
              <a:off x="324643" y="1561307"/>
              <a:ext cx="555671" cy="1050925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4400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4</a:t>
              </a:r>
              <a:endParaRPr lang="en-US" sz="4400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2798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Curves and Trend Chart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Placeholder for your own sub headline</a:t>
            </a:r>
          </a:p>
        </p:txBody>
      </p:sp>
      <p:grpSp>
        <p:nvGrpSpPr>
          <p:cNvPr id="4" name="Gruppieren 3"/>
          <p:cNvGrpSpPr/>
          <p:nvPr/>
        </p:nvGrpSpPr>
        <p:grpSpPr>
          <a:xfrm>
            <a:off x="84138" y="1477963"/>
            <a:ext cx="8977312" cy="4506912"/>
            <a:chOff x="84138" y="1477963"/>
            <a:chExt cx="8977312" cy="4506912"/>
          </a:xfrm>
        </p:grpSpPr>
        <p:sp>
          <p:nvSpPr>
            <p:cNvPr id="18" name="Freeform 6" descr="© INSCALE GmbH, 21.06.2010"/>
            <p:cNvSpPr>
              <a:spLocks/>
            </p:cNvSpPr>
            <p:nvPr/>
          </p:nvSpPr>
          <p:spPr bwMode="gray">
            <a:xfrm>
              <a:off x="1457325" y="1828800"/>
              <a:ext cx="5867400" cy="3746500"/>
            </a:xfrm>
            <a:custGeom>
              <a:avLst/>
              <a:gdLst>
                <a:gd name="T0" fmla="*/ 0 w 3696"/>
                <a:gd name="T1" fmla="*/ 2147483647 h 2360"/>
                <a:gd name="T2" fmla="*/ 2147483647 w 3696"/>
                <a:gd name="T3" fmla="*/ 0 h 2360"/>
                <a:gd name="T4" fmla="*/ 0 60000 65536"/>
                <a:gd name="T5" fmla="*/ 0 60000 65536"/>
                <a:gd name="T6" fmla="*/ 0 w 3696"/>
                <a:gd name="T7" fmla="*/ 0 h 2360"/>
                <a:gd name="T8" fmla="*/ 3696 w 3696"/>
                <a:gd name="T9" fmla="*/ 2360 h 2360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3696" h="2360">
                  <a:moveTo>
                    <a:pt x="0" y="2360"/>
                  </a:moveTo>
                  <a:cubicBezTo>
                    <a:pt x="2720" y="2345"/>
                    <a:pt x="1310" y="24"/>
                    <a:pt x="3696" y="0"/>
                  </a:cubicBezTo>
                </a:path>
              </a:pathLst>
            </a:cu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9" name="Freeform 7" descr="© INSCALE GmbH, 21.06.2010"/>
            <p:cNvSpPr>
              <a:spLocks/>
            </p:cNvSpPr>
            <p:nvPr/>
          </p:nvSpPr>
          <p:spPr bwMode="gray">
            <a:xfrm>
              <a:off x="1457325" y="2119313"/>
              <a:ext cx="6229350" cy="3438525"/>
            </a:xfrm>
            <a:custGeom>
              <a:avLst/>
              <a:gdLst>
                <a:gd name="T0" fmla="*/ 0 w 3330"/>
                <a:gd name="T1" fmla="*/ 2147483647 h 2166"/>
                <a:gd name="T2" fmla="*/ 2147483647 w 3330"/>
                <a:gd name="T3" fmla="*/ 5040312 h 2166"/>
                <a:gd name="T4" fmla="*/ 2147483647 w 3330"/>
                <a:gd name="T5" fmla="*/ 2147483647 h 2166"/>
                <a:gd name="T6" fmla="*/ 0 60000 65536"/>
                <a:gd name="T7" fmla="*/ 0 60000 65536"/>
                <a:gd name="T8" fmla="*/ 0 60000 65536"/>
                <a:gd name="T9" fmla="*/ 0 w 3330"/>
                <a:gd name="T10" fmla="*/ 0 h 2166"/>
                <a:gd name="T11" fmla="*/ 3330 w 3330"/>
                <a:gd name="T12" fmla="*/ 2166 h 216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330" h="2166">
                  <a:moveTo>
                    <a:pt x="0" y="2166"/>
                  </a:moveTo>
                  <a:cubicBezTo>
                    <a:pt x="1591" y="2166"/>
                    <a:pt x="1293" y="2"/>
                    <a:pt x="1679" y="2"/>
                  </a:cubicBezTo>
                  <a:cubicBezTo>
                    <a:pt x="2035" y="0"/>
                    <a:pt x="1801" y="2166"/>
                    <a:pt x="3330" y="2166"/>
                  </a:cubicBezTo>
                </a:path>
              </a:pathLst>
            </a:custGeom>
            <a:noFill/>
            <a:ln w="38100">
              <a:solidFill>
                <a:srgbClr val="4D4D4D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grpSp>
          <p:nvGrpSpPr>
            <p:cNvPr id="20" name="Group 8" descr="© INSCALE GmbH, 21.06.2010"/>
            <p:cNvGrpSpPr>
              <a:grpSpLocks/>
            </p:cNvGrpSpPr>
            <p:nvPr/>
          </p:nvGrpSpPr>
          <p:grpSpPr bwMode="auto">
            <a:xfrm>
              <a:off x="569913" y="1555750"/>
              <a:ext cx="149225" cy="4168775"/>
              <a:chOff x="359" y="980"/>
              <a:chExt cx="94" cy="2626"/>
            </a:xfrm>
          </p:grpSpPr>
          <p:sp>
            <p:nvSpPr>
              <p:cNvPr id="21" name="Line 9" descr="© INSCALE GmbH, 21.06.2010"/>
              <p:cNvSpPr>
                <a:spLocks noChangeShapeType="1"/>
              </p:cNvSpPr>
              <p:nvPr/>
            </p:nvSpPr>
            <p:spPr bwMode="gray">
              <a:xfrm rot="-5400000">
                <a:off x="-860" y="2293"/>
                <a:ext cx="2626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2" name="Line 10" descr="© INSCALE GmbH, 21.06.2010"/>
              <p:cNvSpPr>
                <a:spLocks noChangeShapeType="1"/>
              </p:cNvSpPr>
              <p:nvPr/>
            </p:nvSpPr>
            <p:spPr bwMode="gray">
              <a:xfrm>
                <a:off x="359" y="3041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3" name="Line 11" descr="© INSCALE GmbH, 21.06.2010"/>
              <p:cNvSpPr>
                <a:spLocks noChangeShapeType="1"/>
              </p:cNvSpPr>
              <p:nvPr/>
            </p:nvSpPr>
            <p:spPr bwMode="gray">
              <a:xfrm>
                <a:off x="359" y="2524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4" name="Line 12" descr="© INSCALE GmbH, 21.06.2010"/>
              <p:cNvSpPr>
                <a:spLocks noChangeShapeType="1"/>
              </p:cNvSpPr>
              <p:nvPr/>
            </p:nvSpPr>
            <p:spPr bwMode="gray">
              <a:xfrm>
                <a:off x="359" y="2007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5" name="Line 13" descr="© INSCALE GmbH, 21.06.2010"/>
              <p:cNvSpPr>
                <a:spLocks noChangeShapeType="1"/>
              </p:cNvSpPr>
              <p:nvPr/>
            </p:nvSpPr>
            <p:spPr bwMode="gray">
              <a:xfrm>
                <a:off x="359" y="1490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6" name="Line 14" descr="© INSCALE GmbH, 21.06.2010"/>
              <p:cNvSpPr>
                <a:spLocks noChangeShapeType="1"/>
              </p:cNvSpPr>
              <p:nvPr/>
            </p:nvSpPr>
            <p:spPr bwMode="gray">
              <a:xfrm>
                <a:off x="359" y="989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27" name="Group 15" descr="© INSCALE GmbH, 21.06.2010"/>
            <p:cNvGrpSpPr>
              <a:grpSpLocks/>
            </p:cNvGrpSpPr>
            <p:nvPr/>
          </p:nvGrpSpPr>
          <p:grpSpPr bwMode="auto">
            <a:xfrm>
              <a:off x="569913" y="5565775"/>
              <a:ext cx="8004175" cy="158750"/>
              <a:chOff x="359" y="3506"/>
              <a:chExt cx="5042" cy="100"/>
            </a:xfrm>
          </p:grpSpPr>
          <p:sp>
            <p:nvSpPr>
              <p:cNvPr id="28" name="Line 16" descr="© INSCALE GmbH, 21.06.2010"/>
              <p:cNvSpPr>
                <a:spLocks noChangeShapeType="1"/>
              </p:cNvSpPr>
              <p:nvPr/>
            </p:nvSpPr>
            <p:spPr bwMode="gray">
              <a:xfrm>
                <a:off x="359" y="3506"/>
                <a:ext cx="5042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9" name="Line 17" descr="© INSCALE GmbH, 21.06.2010"/>
              <p:cNvSpPr>
                <a:spLocks noChangeShapeType="1"/>
              </p:cNvSpPr>
              <p:nvPr/>
            </p:nvSpPr>
            <p:spPr bwMode="gray">
              <a:xfrm rot="5400000">
                <a:off x="1619" y="3559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0" name="Line 18" descr="© INSCALE GmbH, 21.06.2010"/>
              <p:cNvSpPr>
                <a:spLocks noChangeShapeType="1"/>
              </p:cNvSpPr>
              <p:nvPr/>
            </p:nvSpPr>
            <p:spPr bwMode="gray">
              <a:xfrm rot="5400000">
                <a:off x="2833" y="3559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1" name="Line 19" descr="© INSCALE GmbH, 21.06.2010"/>
              <p:cNvSpPr>
                <a:spLocks noChangeShapeType="1"/>
              </p:cNvSpPr>
              <p:nvPr/>
            </p:nvSpPr>
            <p:spPr bwMode="gray">
              <a:xfrm rot="5400000">
                <a:off x="4046" y="3559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32" name="Rectangle 20"/>
            <p:cNvSpPr>
              <a:spLocks noChangeArrowheads="1"/>
            </p:cNvSpPr>
            <p:nvPr/>
          </p:nvSpPr>
          <p:spPr bwMode="gray">
            <a:xfrm>
              <a:off x="84138" y="1477963"/>
              <a:ext cx="458787" cy="18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801688" eaLnBrk="0" hangingPunct="0"/>
              <a:r>
                <a:rPr lang="de-DE" sz="1200" noProof="1"/>
                <a:t>0,25</a:t>
              </a:r>
            </a:p>
          </p:txBody>
        </p:sp>
        <p:sp>
          <p:nvSpPr>
            <p:cNvPr id="33" name="Rectangle 21"/>
            <p:cNvSpPr>
              <a:spLocks noChangeArrowheads="1"/>
            </p:cNvSpPr>
            <p:nvPr/>
          </p:nvSpPr>
          <p:spPr bwMode="gray">
            <a:xfrm>
              <a:off x="84138" y="2273300"/>
              <a:ext cx="458787" cy="182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801688" eaLnBrk="0" hangingPunct="0"/>
              <a:r>
                <a:rPr lang="de-DE" sz="1200" noProof="1"/>
                <a:t>0,2</a:t>
              </a:r>
            </a:p>
          </p:txBody>
        </p:sp>
        <p:sp>
          <p:nvSpPr>
            <p:cNvPr id="34" name="Rectangle 22"/>
            <p:cNvSpPr>
              <a:spLocks noChangeArrowheads="1"/>
            </p:cNvSpPr>
            <p:nvPr/>
          </p:nvSpPr>
          <p:spPr bwMode="gray">
            <a:xfrm>
              <a:off x="84138" y="3060700"/>
              <a:ext cx="458787" cy="182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801688" eaLnBrk="0" hangingPunct="0"/>
              <a:r>
                <a:rPr lang="de-DE" sz="1200" noProof="1"/>
                <a:t>0,15</a:t>
              </a:r>
            </a:p>
          </p:txBody>
        </p:sp>
        <p:sp>
          <p:nvSpPr>
            <p:cNvPr id="35" name="Rectangle 23"/>
            <p:cNvSpPr>
              <a:spLocks noChangeArrowheads="1"/>
            </p:cNvSpPr>
            <p:nvPr/>
          </p:nvSpPr>
          <p:spPr bwMode="gray">
            <a:xfrm>
              <a:off x="84138" y="3914775"/>
              <a:ext cx="458787" cy="182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801688" eaLnBrk="0" hangingPunct="0"/>
              <a:r>
                <a:rPr lang="de-DE" sz="1200" noProof="1"/>
                <a:t>0,1</a:t>
              </a:r>
            </a:p>
          </p:txBody>
        </p:sp>
        <p:sp>
          <p:nvSpPr>
            <p:cNvPr id="36" name="Rectangle 24"/>
            <p:cNvSpPr>
              <a:spLocks noChangeArrowheads="1"/>
            </p:cNvSpPr>
            <p:nvPr/>
          </p:nvSpPr>
          <p:spPr bwMode="gray">
            <a:xfrm>
              <a:off x="84138" y="4735513"/>
              <a:ext cx="458787" cy="18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801688" eaLnBrk="0" hangingPunct="0"/>
              <a:r>
                <a:rPr lang="de-DE" sz="1200" noProof="1"/>
                <a:t>0,05</a:t>
              </a:r>
            </a:p>
          </p:txBody>
        </p:sp>
        <p:sp>
          <p:nvSpPr>
            <p:cNvPr id="37" name="Rectangle 25"/>
            <p:cNvSpPr>
              <a:spLocks noChangeArrowheads="1"/>
            </p:cNvSpPr>
            <p:nvPr/>
          </p:nvSpPr>
          <p:spPr bwMode="gray">
            <a:xfrm>
              <a:off x="84138" y="5473700"/>
              <a:ext cx="458787" cy="182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801688" eaLnBrk="0" hangingPunct="0"/>
              <a:r>
                <a:rPr lang="de-DE" sz="1200" noProof="1"/>
                <a:t>0</a:t>
              </a:r>
            </a:p>
          </p:txBody>
        </p:sp>
        <p:sp>
          <p:nvSpPr>
            <p:cNvPr id="38" name="Rectangle 26"/>
            <p:cNvSpPr>
              <a:spLocks noChangeArrowheads="1"/>
            </p:cNvSpPr>
            <p:nvPr/>
          </p:nvSpPr>
          <p:spPr bwMode="gray">
            <a:xfrm>
              <a:off x="8602663" y="2203450"/>
              <a:ext cx="458787" cy="182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801688" eaLnBrk="0" hangingPunct="0"/>
              <a:r>
                <a:rPr lang="de-DE" sz="1200" noProof="1"/>
                <a:t>0,9</a:t>
              </a:r>
            </a:p>
          </p:txBody>
        </p:sp>
        <p:sp>
          <p:nvSpPr>
            <p:cNvPr id="39" name="Rectangle 27"/>
            <p:cNvSpPr>
              <a:spLocks noChangeArrowheads="1"/>
            </p:cNvSpPr>
            <p:nvPr/>
          </p:nvSpPr>
          <p:spPr bwMode="gray">
            <a:xfrm>
              <a:off x="8602663" y="2930525"/>
              <a:ext cx="458787" cy="182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801688" eaLnBrk="0" hangingPunct="0"/>
              <a:r>
                <a:rPr lang="de-DE" sz="1200" noProof="1"/>
                <a:t>0,7</a:t>
              </a:r>
            </a:p>
          </p:txBody>
        </p:sp>
        <p:sp>
          <p:nvSpPr>
            <p:cNvPr id="40" name="Rectangle 28"/>
            <p:cNvSpPr>
              <a:spLocks noChangeArrowheads="1"/>
            </p:cNvSpPr>
            <p:nvPr/>
          </p:nvSpPr>
          <p:spPr bwMode="gray">
            <a:xfrm>
              <a:off x="8602663" y="3656013"/>
              <a:ext cx="458787" cy="18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801688" eaLnBrk="0" hangingPunct="0"/>
              <a:r>
                <a:rPr lang="de-DE" sz="1200" noProof="1"/>
                <a:t>0,5</a:t>
              </a:r>
            </a:p>
          </p:txBody>
        </p:sp>
        <p:sp>
          <p:nvSpPr>
            <p:cNvPr id="41" name="Rectangle 29"/>
            <p:cNvSpPr>
              <a:spLocks noChangeArrowheads="1"/>
            </p:cNvSpPr>
            <p:nvPr/>
          </p:nvSpPr>
          <p:spPr bwMode="gray">
            <a:xfrm>
              <a:off x="8602663" y="4383088"/>
              <a:ext cx="458787" cy="18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801688" eaLnBrk="0" hangingPunct="0"/>
              <a:r>
                <a:rPr lang="de-DE" sz="1200" noProof="1"/>
                <a:t>0,3</a:t>
              </a:r>
            </a:p>
          </p:txBody>
        </p:sp>
        <p:sp>
          <p:nvSpPr>
            <p:cNvPr id="42" name="Rectangle 30"/>
            <p:cNvSpPr>
              <a:spLocks noChangeArrowheads="1"/>
            </p:cNvSpPr>
            <p:nvPr/>
          </p:nvSpPr>
          <p:spPr bwMode="gray">
            <a:xfrm>
              <a:off x="8602663" y="5473700"/>
              <a:ext cx="458787" cy="182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801688" eaLnBrk="0" hangingPunct="0"/>
              <a:r>
                <a:rPr lang="de-DE" sz="1200" noProof="1"/>
                <a:t>0</a:t>
              </a:r>
            </a:p>
          </p:txBody>
        </p:sp>
        <p:sp>
          <p:nvSpPr>
            <p:cNvPr id="43" name="Rectangle 31"/>
            <p:cNvSpPr>
              <a:spLocks noChangeArrowheads="1"/>
            </p:cNvSpPr>
            <p:nvPr/>
          </p:nvSpPr>
          <p:spPr bwMode="gray">
            <a:xfrm>
              <a:off x="8602663" y="1477963"/>
              <a:ext cx="458787" cy="18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801688" eaLnBrk="0" hangingPunct="0"/>
              <a:r>
                <a:rPr lang="de-DE" sz="1200" noProof="1"/>
                <a:t>1,1</a:t>
              </a:r>
            </a:p>
          </p:txBody>
        </p:sp>
        <p:sp>
          <p:nvSpPr>
            <p:cNvPr id="44" name="Rectangle 32"/>
            <p:cNvSpPr>
              <a:spLocks noChangeArrowheads="1"/>
            </p:cNvSpPr>
            <p:nvPr/>
          </p:nvSpPr>
          <p:spPr bwMode="gray">
            <a:xfrm>
              <a:off x="8602663" y="2566988"/>
              <a:ext cx="458787" cy="18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801688" eaLnBrk="0" hangingPunct="0"/>
              <a:r>
                <a:rPr lang="de-DE" sz="1200" noProof="1"/>
                <a:t>0,8</a:t>
              </a:r>
            </a:p>
          </p:txBody>
        </p:sp>
        <p:sp>
          <p:nvSpPr>
            <p:cNvPr id="45" name="Rectangle 33"/>
            <p:cNvSpPr>
              <a:spLocks noChangeArrowheads="1"/>
            </p:cNvSpPr>
            <p:nvPr/>
          </p:nvSpPr>
          <p:spPr bwMode="gray">
            <a:xfrm>
              <a:off x="8602663" y="3294063"/>
              <a:ext cx="458787" cy="18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801688" eaLnBrk="0" hangingPunct="0"/>
              <a:r>
                <a:rPr lang="de-DE" sz="1200" noProof="1"/>
                <a:t>0,6</a:t>
              </a:r>
            </a:p>
          </p:txBody>
        </p:sp>
        <p:sp>
          <p:nvSpPr>
            <p:cNvPr id="46" name="Rectangle 34"/>
            <p:cNvSpPr>
              <a:spLocks noChangeArrowheads="1"/>
            </p:cNvSpPr>
            <p:nvPr/>
          </p:nvSpPr>
          <p:spPr bwMode="gray">
            <a:xfrm>
              <a:off x="8602663" y="4019550"/>
              <a:ext cx="458787" cy="182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801688" eaLnBrk="0" hangingPunct="0"/>
              <a:r>
                <a:rPr lang="de-DE" sz="1200" noProof="1"/>
                <a:t>0,4</a:t>
              </a:r>
            </a:p>
          </p:txBody>
        </p:sp>
        <p:sp>
          <p:nvSpPr>
            <p:cNvPr id="47" name="Rectangle 35"/>
            <p:cNvSpPr>
              <a:spLocks noChangeArrowheads="1"/>
            </p:cNvSpPr>
            <p:nvPr/>
          </p:nvSpPr>
          <p:spPr bwMode="gray">
            <a:xfrm>
              <a:off x="8602663" y="5110163"/>
              <a:ext cx="458787" cy="18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801688" eaLnBrk="0" hangingPunct="0"/>
              <a:r>
                <a:rPr lang="de-DE" sz="1200" noProof="1"/>
                <a:t>0,1</a:t>
              </a:r>
            </a:p>
          </p:txBody>
        </p:sp>
        <p:sp>
          <p:nvSpPr>
            <p:cNvPr id="48" name="Rectangle 36"/>
            <p:cNvSpPr>
              <a:spLocks noChangeArrowheads="1"/>
            </p:cNvSpPr>
            <p:nvPr/>
          </p:nvSpPr>
          <p:spPr bwMode="gray">
            <a:xfrm>
              <a:off x="8602663" y="4746625"/>
              <a:ext cx="458787" cy="182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801688" eaLnBrk="0" hangingPunct="0"/>
              <a:r>
                <a:rPr lang="de-DE" sz="1200" noProof="1"/>
                <a:t>0,2</a:t>
              </a:r>
            </a:p>
          </p:txBody>
        </p:sp>
        <p:sp>
          <p:nvSpPr>
            <p:cNvPr id="49" name="Rectangle 37"/>
            <p:cNvSpPr>
              <a:spLocks noChangeArrowheads="1"/>
            </p:cNvSpPr>
            <p:nvPr/>
          </p:nvSpPr>
          <p:spPr bwMode="gray">
            <a:xfrm>
              <a:off x="8602663" y="1839913"/>
              <a:ext cx="458787" cy="18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801688" eaLnBrk="0" hangingPunct="0"/>
              <a:r>
                <a:rPr lang="de-DE" sz="1200" noProof="1"/>
                <a:t>1</a:t>
              </a:r>
            </a:p>
          </p:txBody>
        </p:sp>
        <p:grpSp>
          <p:nvGrpSpPr>
            <p:cNvPr id="50" name="Group 38" descr="© INSCALE GmbH, 21.06.2010"/>
            <p:cNvGrpSpPr>
              <a:grpSpLocks/>
            </p:cNvGrpSpPr>
            <p:nvPr/>
          </p:nvGrpSpPr>
          <p:grpSpPr bwMode="auto">
            <a:xfrm>
              <a:off x="8424863" y="1555750"/>
              <a:ext cx="149225" cy="4168775"/>
              <a:chOff x="5307" y="980"/>
              <a:chExt cx="94" cy="2626"/>
            </a:xfrm>
          </p:grpSpPr>
          <p:sp>
            <p:nvSpPr>
              <p:cNvPr id="51" name="Line 39" descr="© INSCALE GmbH, 21.06.2010"/>
              <p:cNvSpPr>
                <a:spLocks noChangeShapeType="1"/>
              </p:cNvSpPr>
              <p:nvPr/>
            </p:nvSpPr>
            <p:spPr bwMode="gray">
              <a:xfrm rot="-5400000">
                <a:off x="3994" y="2293"/>
                <a:ext cx="2626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2" name="Line 40" descr="© INSCALE GmbH, 21.06.2010"/>
              <p:cNvSpPr>
                <a:spLocks noChangeShapeType="1"/>
              </p:cNvSpPr>
              <p:nvPr/>
            </p:nvSpPr>
            <p:spPr bwMode="gray">
              <a:xfrm>
                <a:off x="5307" y="3277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3" name="Line 41" descr="© INSCALE GmbH, 21.06.2010"/>
              <p:cNvSpPr>
                <a:spLocks noChangeShapeType="1"/>
              </p:cNvSpPr>
              <p:nvPr/>
            </p:nvSpPr>
            <p:spPr bwMode="gray">
              <a:xfrm>
                <a:off x="5307" y="3048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4" name="Line 42" descr="© INSCALE GmbH, 21.06.2010"/>
              <p:cNvSpPr>
                <a:spLocks noChangeShapeType="1"/>
              </p:cNvSpPr>
              <p:nvPr/>
            </p:nvSpPr>
            <p:spPr bwMode="gray">
              <a:xfrm>
                <a:off x="5307" y="2590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5" name="Line 43" descr="© INSCALE GmbH, 21.06.2010"/>
              <p:cNvSpPr>
                <a:spLocks noChangeShapeType="1"/>
              </p:cNvSpPr>
              <p:nvPr/>
            </p:nvSpPr>
            <p:spPr bwMode="gray">
              <a:xfrm>
                <a:off x="5307" y="1904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6" name="Line 44" descr="© INSCALE GmbH, 21.06.2010"/>
              <p:cNvSpPr>
                <a:spLocks noChangeShapeType="1"/>
              </p:cNvSpPr>
              <p:nvPr/>
            </p:nvSpPr>
            <p:spPr bwMode="gray">
              <a:xfrm>
                <a:off x="5307" y="1217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7" name="Line 45" descr="© INSCALE GmbH, 21.06.2010"/>
              <p:cNvSpPr>
                <a:spLocks noChangeShapeType="1"/>
              </p:cNvSpPr>
              <p:nvPr/>
            </p:nvSpPr>
            <p:spPr bwMode="gray">
              <a:xfrm>
                <a:off x="5307" y="989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8" name="Line 46" descr="© INSCALE GmbH, 21.06.2010"/>
              <p:cNvSpPr>
                <a:spLocks noChangeShapeType="1"/>
              </p:cNvSpPr>
              <p:nvPr/>
            </p:nvSpPr>
            <p:spPr bwMode="gray">
              <a:xfrm>
                <a:off x="5307" y="2819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0" name="Line 47" descr="© INSCALE GmbH, 21.06.2010"/>
              <p:cNvSpPr>
                <a:spLocks noChangeShapeType="1"/>
              </p:cNvSpPr>
              <p:nvPr/>
            </p:nvSpPr>
            <p:spPr bwMode="gray">
              <a:xfrm>
                <a:off x="5307" y="2361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1" name="Line 48" descr="© INSCALE GmbH, 21.06.2010"/>
              <p:cNvSpPr>
                <a:spLocks noChangeShapeType="1"/>
              </p:cNvSpPr>
              <p:nvPr/>
            </p:nvSpPr>
            <p:spPr bwMode="gray">
              <a:xfrm>
                <a:off x="5307" y="2133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2" name="Line 49" descr="© INSCALE GmbH, 21.06.2010"/>
              <p:cNvSpPr>
                <a:spLocks noChangeShapeType="1"/>
              </p:cNvSpPr>
              <p:nvPr/>
            </p:nvSpPr>
            <p:spPr bwMode="gray">
              <a:xfrm>
                <a:off x="5307" y="1675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4" name="Line 50" descr="© INSCALE GmbH, 21.06.2010"/>
              <p:cNvSpPr>
                <a:spLocks noChangeShapeType="1"/>
              </p:cNvSpPr>
              <p:nvPr/>
            </p:nvSpPr>
            <p:spPr bwMode="gray">
              <a:xfrm>
                <a:off x="5307" y="1446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65" name="Rectangle 51"/>
            <p:cNvSpPr>
              <a:spLocks noChangeArrowheads="1"/>
            </p:cNvSpPr>
            <p:nvPr/>
          </p:nvSpPr>
          <p:spPr bwMode="gray">
            <a:xfrm>
              <a:off x="488950" y="5802313"/>
              <a:ext cx="458788" cy="18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ctr" defTabSz="801688" eaLnBrk="0" hangingPunct="0"/>
              <a:r>
                <a:rPr lang="de-DE" sz="1200" noProof="1"/>
                <a:t>0</a:t>
              </a:r>
            </a:p>
          </p:txBody>
        </p:sp>
        <p:sp>
          <p:nvSpPr>
            <p:cNvPr id="66" name="Rectangle 52"/>
            <p:cNvSpPr>
              <a:spLocks noChangeArrowheads="1"/>
            </p:cNvSpPr>
            <p:nvPr/>
          </p:nvSpPr>
          <p:spPr bwMode="gray">
            <a:xfrm>
              <a:off x="2414588" y="5802313"/>
              <a:ext cx="458787" cy="18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ctr" defTabSz="801688" eaLnBrk="0" hangingPunct="0"/>
              <a:r>
                <a:rPr lang="de-DE" sz="1200" noProof="1"/>
                <a:t>5</a:t>
              </a:r>
            </a:p>
          </p:txBody>
        </p:sp>
        <p:sp>
          <p:nvSpPr>
            <p:cNvPr id="68" name="Rectangle 53"/>
            <p:cNvSpPr>
              <a:spLocks noChangeArrowheads="1"/>
            </p:cNvSpPr>
            <p:nvPr/>
          </p:nvSpPr>
          <p:spPr bwMode="gray">
            <a:xfrm>
              <a:off x="4341813" y="5802313"/>
              <a:ext cx="458787" cy="18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ctr" defTabSz="801688" eaLnBrk="0" hangingPunct="0"/>
              <a:r>
                <a:rPr lang="de-DE" sz="1200" noProof="1"/>
                <a:t>10</a:t>
              </a:r>
            </a:p>
          </p:txBody>
        </p:sp>
        <p:sp>
          <p:nvSpPr>
            <p:cNvPr id="69" name="Rectangle 54"/>
            <p:cNvSpPr>
              <a:spLocks noChangeArrowheads="1"/>
            </p:cNvSpPr>
            <p:nvPr/>
          </p:nvSpPr>
          <p:spPr bwMode="gray">
            <a:xfrm>
              <a:off x="6267450" y="5802313"/>
              <a:ext cx="458788" cy="18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ctr" defTabSz="801688" eaLnBrk="0" hangingPunct="0"/>
              <a:r>
                <a:rPr lang="de-DE" sz="1200" noProof="1"/>
                <a:t>15</a:t>
              </a:r>
            </a:p>
          </p:txBody>
        </p:sp>
        <p:sp>
          <p:nvSpPr>
            <p:cNvPr id="70" name="Rectangle 55"/>
            <p:cNvSpPr>
              <a:spLocks noChangeArrowheads="1"/>
            </p:cNvSpPr>
            <p:nvPr/>
          </p:nvSpPr>
          <p:spPr bwMode="gray">
            <a:xfrm>
              <a:off x="8194675" y="5802313"/>
              <a:ext cx="458788" cy="18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ctr" defTabSz="801688" eaLnBrk="0" hangingPunct="0"/>
              <a:r>
                <a:rPr lang="de-DE" sz="1200" noProof="1"/>
                <a:t>20</a:t>
              </a:r>
            </a:p>
          </p:txBody>
        </p:sp>
        <p:sp>
          <p:nvSpPr>
            <p:cNvPr id="72" name="Rectangle 56"/>
            <p:cNvSpPr>
              <a:spLocks noChangeArrowheads="1"/>
            </p:cNvSpPr>
            <p:nvPr/>
          </p:nvSpPr>
          <p:spPr bwMode="gray">
            <a:xfrm>
              <a:off x="1457325" y="1979861"/>
              <a:ext cx="1725613" cy="7694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801688" eaLnBrk="0" hangingPunct="0"/>
              <a:r>
                <a:rPr lang="de-DE" sz="1400" b="1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laceholder for text </a:t>
              </a:r>
              <a:br>
                <a:rPr lang="de-DE" sz="1400" b="1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de-DE" sz="1200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lick the placeholder text to select it and type your new text.</a:t>
              </a:r>
            </a:p>
          </p:txBody>
        </p:sp>
        <p:sp>
          <p:nvSpPr>
            <p:cNvPr id="73" name="Rectangle 57"/>
            <p:cNvSpPr>
              <a:spLocks noChangeArrowheads="1"/>
            </p:cNvSpPr>
            <p:nvPr/>
          </p:nvSpPr>
          <p:spPr bwMode="gray">
            <a:xfrm>
              <a:off x="2587625" y="3563422"/>
              <a:ext cx="112712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801688" eaLnBrk="0" hangingPunct="0"/>
              <a:r>
                <a:rPr lang="de-DE" sz="1200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his is a placeholder text</a:t>
              </a:r>
              <a:endParaRPr lang="de-DE" sz="1200" b="1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74" name="Rectangle 58"/>
            <p:cNvSpPr>
              <a:spLocks noChangeArrowheads="1"/>
            </p:cNvSpPr>
            <p:nvPr/>
          </p:nvSpPr>
          <p:spPr bwMode="gray">
            <a:xfrm>
              <a:off x="6267450" y="2111911"/>
              <a:ext cx="1474788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801688" eaLnBrk="0" hangingPunct="0"/>
              <a:r>
                <a:rPr lang="de-DE" sz="1200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laceholder for text</a:t>
              </a:r>
              <a:endParaRPr lang="de-DE" sz="1200" b="1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76" name="Rectangle 59"/>
            <p:cNvSpPr>
              <a:spLocks noChangeArrowheads="1"/>
            </p:cNvSpPr>
            <p:nvPr/>
          </p:nvSpPr>
          <p:spPr bwMode="gray">
            <a:xfrm>
              <a:off x="4237038" y="4551899"/>
              <a:ext cx="1127125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801688" eaLnBrk="0" hangingPunct="0"/>
              <a:r>
                <a:rPr lang="de-DE" sz="1200" b="1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escrip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55864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Curves and Trend Chart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Placeholder for your own sub headline</a:t>
            </a:r>
          </a:p>
        </p:txBody>
      </p:sp>
      <p:grpSp>
        <p:nvGrpSpPr>
          <p:cNvPr id="4" name="Gruppieren 3"/>
          <p:cNvGrpSpPr/>
          <p:nvPr/>
        </p:nvGrpSpPr>
        <p:grpSpPr>
          <a:xfrm>
            <a:off x="84138" y="1468702"/>
            <a:ext cx="8812212" cy="4797161"/>
            <a:chOff x="84138" y="1477963"/>
            <a:chExt cx="8567737" cy="4664075"/>
          </a:xfrm>
        </p:grpSpPr>
        <p:sp>
          <p:nvSpPr>
            <p:cNvPr id="15" name="Rectangle 5" descr="© INSCALE GmbH, 21.06.2010"/>
            <p:cNvSpPr>
              <a:spLocks noChangeArrowheads="1"/>
            </p:cNvSpPr>
            <p:nvPr/>
          </p:nvSpPr>
          <p:spPr bwMode="gray">
            <a:xfrm>
              <a:off x="5035550" y="3852863"/>
              <a:ext cx="2349500" cy="569912"/>
            </a:xfrm>
            <a:prstGeom prst="rect">
              <a:avLst/>
            </a:prstGeom>
            <a:gradFill rotWithShape="1"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chemeClr val="tx2">
                    <a:lumMod val="40000"/>
                    <a:lumOff val="60000"/>
                  </a:schemeClr>
                </a:gs>
              </a:gsLst>
              <a:lin ang="5400000" scaled="1"/>
            </a:gradFill>
            <a:ln w="6350">
              <a:solidFill>
                <a:srgbClr val="AEAEA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" name="Rectangle 6" descr="© INSCALE GmbH, 21.06.2010"/>
            <p:cNvSpPr>
              <a:spLocks noChangeArrowheads="1"/>
            </p:cNvSpPr>
            <p:nvPr/>
          </p:nvSpPr>
          <p:spPr bwMode="gray">
            <a:xfrm>
              <a:off x="2293938" y="1555750"/>
              <a:ext cx="1566862" cy="4002088"/>
            </a:xfrm>
            <a:prstGeom prst="rect">
              <a:avLst/>
            </a:prstGeom>
            <a:gradFill rotWithShape="1"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chemeClr val="tx2">
                    <a:lumMod val="40000"/>
                    <a:lumOff val="60000"/>
                  </a:schemeClr>
                </a:gs>
              </a:gsLst>
              <a:lin ang="5400000" scaled="1"/>
            </a:gradFill>
            <a:ln w="6350">
              <a:solidFill>
                <a:srgbClr val="AEAEAE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" name="Line 7" descr="© INSCALE GmbH, 21.06.2010"/>
            <p:cNvSpPr>
              <a:spLocks noChangeShapeType="1"/>
            </p:cNvSpPr>
            <p:nvPr/>
          </p:nvSpPr>
          <p:spPr bwMode="gray">
            <a:xfrm>
              <a:off x="719138" y="4994275"/>
              <a:ext cx="7854950" cy="0"/>
            </a:xfrm>
            <a:prstGeom prst="line">
              <a:avLst/>
            </a:prstGeom>
            <a:noFill/>
            <a:ln w="635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8" name="Line 8" descr="© INSCALE GmbH, 21.06.2010"/>
            <p:cNvSpPr>
              <a:spLocks noChangeShapeType="1"/>
            </p:cNvSpPr>
            <p:nvPr/>
          </p:nvSpPr>
          <p:spPr bwMode="gray">
            <a:xfrm>
              <a:off x="719138" y="4422775"/>
              <a:ext cx="7854950" cy="0"/>
            </a:xfrm>
            <a:prstGeom prst="line">
              <a:avLst/>
            </a:prstGeom>
            <a:noFill/>
            <a:ln w="635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9" name="Line 9" descr="© INSCALE GmbH, 21.06.2010"/>
            <p:cNvSpPr>
              <a:spLocks noChangeShapeType="1"/>
            </p:cNvSpPr>
            <p:nvPr/>
          </p:nvSpPr>
          <p:spPr bwMode="gray">
            <a:xfrm>
              <a:off x="719138" y="3852863"/>
              <a:ext cx="7854950" cy="0"/>
            </a:xfrm>
            <a:prstGeom prst="line">
              <a:avLst/>
            </a:prstGeom>
            <a:noFill/>
            <a:ln w="635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" name="Line 10" descr="© INSCALE GmbH, 21.06.2010"/>
            <p:cNvSpPr>
              <a:spLocks noChangeShapeType="1"/>
            </p:cNvSpPr>
            <p:nvPr/>
          </p:nvSpPr>
          <p:spPr bwMode="gray">
            <a:xfrm>
              <a:off x="719138" y="3281363"/>
              <a:ext cx="7854950" cy="0"/>
            </a:xfrm>
            <a:prstGeom prst="line">
              <a:avLst/>
            </a:prstGeom>
            <a:noFill/>
            <a:ln w="635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1" name="Line 11" descr="© INSCALE GmbH, 21.06.2010"/>
            <p:cNvSpPr>
              <a:spLocks noChangeShapeType="1"/>
            </p:cNvSpPr>
            <p:nvPr/>
          </p:nvSpPr>
          <p:spPr bwMode="gray">
            <a:xfrm>
              <a:off x="719138" y="2711450"/>
              <a:ext cx="7854950" cy="0"/>
            </a:xfrm>
            <a:prstGeom prst="line">
              <a:avLst/>
            </a:prstGeom>
            <a:noFill/>
            <a:ln w="635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2" name="Line 12" descr="© INSCALE GmbH, 21.06.2010"/>
            <p:cNvSpPr>
              <a:spLocks noChangeShapeType="1"/>
            </p:cNvSpPr>
            <p:nvPr/>
          </p:nvSpPr>
          <p:spPr bwMode="gray">
            <a:xfrm>
              <a:off x="719138" y="2139950"/>
              <a:ext cx="7854950" cy="0"/>
            </a:xfrm>
            <a:prstGeom prst="line">
              <a:avLst/>
            </a:prstGeom>
            <a:noFill/>
            <a:ln w="635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grpSp>
          <p:nvGrpSpPr>
            <p:cNvPr id="23" name="Group 14" descr="© INSCALE GmbH, 21.06.2010"/>
            <p:cNvGrpSpPr>
              <a:grpSpLocks/>
            </p:cNvGrpSpPr>
            <p:nvPr/>
          </p:nvGrpSpPr>
          <p:grpSpPr bwMode="auto">
            <a:xfrm>
              <a:off x="1119188" y="2325688"/>
              <a:ext cx="7454900" cy="3311525"/>
              <a:chOff x="705" y="1465"/>
              <a:chExt cx="4696" cy="2086"/>
            </a:xfrm>
          </p:grpSpPr>
          <p:sp>
            <p:nvSpPr>
              <p:cNvPr id="24" name="Freeform 15" descr="© INSCALE GmbH, 21.06.2010"/>
              <p:cNvSpPr>
                <a:spLocks/>
              </p:cNvSpPr>
              <p:nvPr/>
            </p:nvSpPr>
            <p:spPr bwMode="gray">
              <a:xfrm>
                <a:off x="705" y="1465"/>
                <a:ext cx="4695" cy="2086"/>
              </a:xfrm>
              <a:custGeom>
                <a:avLst/>
                <a:gdLst>
                  <a:gd name="T0" fmla="*/ 0 w 5473"/>
                  <a:gd name="T1" fmla="*/ 1651 h 2574"/>
                  <a:gd name="T2" fmla="*/ 775 w 5473"/>
                  <a:gd name="T3" fmla="*/ 0 h 2574"/>
                  <a:gd name="T4" fmla="*/ 1696 w 5473"/>
                  <a:gd name="T5" fmla="*/ 842 h 2574"/>
                  <a:gd name="T6" fmla="*/ 4028 w 5473"/>
                  <a:gd name="T7" fmla="*/ 1560 h 257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473"/>
                  <a:gd name="T13" fmla="*/ 0 h 2574"/>
                  <a:gd name="T14" fmla="*/ 5473 w 5473"/>
                  <a:gd name="T15" fmla="*/ 2574 h 257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473" h="2574">
                    <a:moveTo>
                      <a:pt x="0" y="2513"/>
                    </a:moveTo>
                    <a:cubicBezTo>
                      <a:pt x="405" y="2574"/>
                      <a:pt x="584" y="0"/>
                      <a:pt x="1054" y="0"/>
                    </a:cubicBezTo>
                    <a:cubicBezTo>
                      <a:pt x="1391" y="0"/>
                      <a:pt x="1714" y="782"/>
                      <a:pt x="2305" y="1282"/>
                    </a:cubicBezTo>
                    <a:cubicBezTo>
                      <a:pt x="2897" y="1784"/>
                      <a:pt x="4429" y="2433"/>
                      <a:pt x="5473" y="2375"/>
                    </a:cubicBezTo>
                  </a:path>
                </a:pathLst>
              </a:custGeom>
              <a:noFill/>
              <a:ln w="38100">
                <a:solidFill>
                  <a:srgbClr val="0070C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5" name="Freeform 16" descr="© INSCALE GmbH, 21.06.2010"/>
              <p:cNvSpPr>
                <a:spLocks/>
              </p:cNvSpPr>
              <p:nvPr/>
            </p:nvSpPr>
            <p:spPr bwMode="gray">
              <a:xfrm>
                <a:off x="848" y="2009"/>
                <a:ext cx="4553" cy="1492"/>
              </a:xfrm>
              <a:custGeom>
                <a:avLst/>
                <a:gdLst>
                  <a:gd name="T0" fmla="*/ 0 w 5307"/>
                  <a:gd name="T1" fmla="*/ 1209 h 1842"/>
                  <a:gd name="T2" fmla="*/ 1052 w 5307"/>
                  <a:gd name="T3" fmla="*/ 28 h 1842"/>
                  <a:gd name="T4" fmla="*/ 1920 w 5307"/>
                  <a:gd name="T5" fmla="*/ 382 h 1842"/>
                  <a:gd name="T6" fmla="*/ 3906 w 5307"/>
                  <a:gd name="T7" fmla="*/ 1011 h 184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307"/>
                  <a:gd name="T13" fmla="*/ 0 h 1842"/>
                  <a:gd name="T14" fmla="*/ 5307 w 5307"/>
                  <a:gd name="T15" fmla="*/ 1842 h 184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307" h="1842">
                    <a:moveTo>
                      <a:pt x="0" y="1842"/>
                    </a:moveTo>
                    <a:cubicBezTo>
                      <a:pt x="691" y="1791"/>
                      <a:pt x="744" y="147"/>
                      <a:pt x="1429" y="42"/>
                    </a:cubicBezTo>
                    <a:cubicBezTo>
                      <a:pt x="1784" y="0"/>
                      <a:pt x="1998" y="107"/>
                      <a:pt x="2609" y="582"/>
                    </a:cubicBezTo>
                    <a:cubicBezTo>
                      <a:pt x="3254" y="1084"/>
                      <a:pt x="4306" y="1396"/>
                      <a:pt x="5307" y="1541"/>
                    </a:cubicBezTo>
                  </a:path>
                </a:pathLst>
              </a:custGeom>
              <a:noFill/>
              <a:ln w="38100">
                <a:solidFill>
                  <a:srgbClr val="E2001A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6" name="Freeform 17" descr="© INSCALE GmbH, 21.06.2010"/>
              <p:cNvSpPr>
                <a:spLocks/>
              </p:cNvSpPr>
              <p:nvPr/>
            </p:nvSpPr>
            <p:spPr bwMode="gray">
              <a:xfrm>
                <a:off x="1075" y="2254"/>
                <a:ext cx="4326" cy="1247"/>
              </a:xfrm>
              <a:custGeom>
                <a:avLst/>
                <a:gdLst>
                  <a:gd name="T0" fmla="*/ 0 w 5042"/>
                  <a:gd name="T1" fmla="*/ 1010 h 1539"/>
                  <a:gd name="T2" fmla="*/ 1277 w 5042"/>
                  <a:gd name="T3" fmla="*/ 69 h 1539"/>
                  <a:gd name="T4" fmla="*/ 3712 w 5042"/>
                  <a:gd name="T5" fmla="*/ 704 h 1539"/>
                  <a:gd name="T6" fmla="*/ 0 60000 65536"/>
                  <a:gd name="T7" fmla="*/ 0 60000 65536"/>
                  <a:gd name="T8" fmla="*/ 0 60000 65536"/>
                  <a:gd name="T9" fmla="*/ 0 w 5042"/>
                  <a:gd name="T10" fmla="*/ 0 h 1539"/>
                  <a:gd name="T11" fmla="*/ 5042 w 5042"/>
                  <a:gd name="T12" fmla="*/ 1539 h 153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042" h="1539">
                    <a:moveTo>
                      <a:pt x="0" y="1539"/>
                    </a:moveTo>
                    <a:cubicBezTo>
                      <a:pt x="701" y="1452"/>
                      <a:pt x="814" y="210"/>
                      <a:pt x="1734" y="105"/>
                    </a:cubicBezTo>
                    <a:cubicBezTo>
                      <a:pt x="2375" y="0"/>
                      <a:pt x="3486" y="802"/>
                      <a:pt x="5042" y="1073"/>
                    </a:cubicBezTo>
                  </a:path>
                </a:pathLst>
              </a:custGeom>
              <a:noFill/>
              <a:ln w="38100">
                <a:solidFill>
                  <a:srgbClr val="4D4D4D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7" name="Freeform 18" descr="© INSCALE GmbH, 21.06.2010"/>
              <p:cNvSpPr>
                <a:spLocks/>
              </p:cNvSpPr>
              <p:nvPr/>
            </p:nvSpPr>
            <p:spPr bwMode="gray">
              <a:xfrm>
                <a:off x="1362" y="2560"/>
                <a:ext cx="4039" cy="941"/>
              </a:xfrm>
              <a:custGeom>
                <a:avLst/>
                <a:gdLst>
                  <a:gd name="T0" fmla="*/ 0 w 4708"/>
                  <a:gd name="T1" fmla="*/ 762 h 1162"/>
                  <a:gd name="T2" fmla="*/ 1768 w 4708"/>
                  <a:gd name="T3" fmla="*/ 11 h 1162"/>
                  <a:gd name="T4" fmla="*/ 3465 w 4708"/>
                  <a:gd name="T5" fmla="*/ 313 h 1162"/>
                  <a:gd name="T6" fmla="*/ 0 60000 65536"/>
                  <a:gd name="T7" fmla="*/ 0 60000 65536"/>
                  <a:gd name="T8" fmla="*/ 0 60000 65536"/>
                  <a:gd name="T9" fmla="*/ 0 w 4708"/>
                  <a:gd name="T10" fmla="*/ 0 h 1162"/>
                  <a:gd name="T11" fmla="*/ 4708 w 4708"/>
                  <a:gd name="T12" fmla="*/ 1162 h 116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708" h="1162">
                    <a:moveTo>
                      <a:pt x="0" y="1162"/>
                    </a:moveTo>
                    <a:cubicBezTo>
                      <a:pt x="751" y="1097"/>
                      <a:pt x="1293" y="0"/>
                      <a:pt x="2402" y="16"/>
                    </a:cubicBezTo>
                    <a:cubicBezTo>
                      <a:pt x="3117" y="37"/>
                      <a:pt x="4317" y="406"/>
                      <a:pt x="4708" y="478"/>
                    </a:cubicBezTo>
                  </a:path>
                </a:pathLst>
              </a:custGeom>
              <a:noFill/>
              <a:ln w="38100">
                <a:solidFill>
                  <a:srgbClr val="4D4D4D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28" name="Rectangle 19"/>
            <p:cNvSpPr>
              <a:spLocks noChangeArrowheads="1"/>
            </p:cNvSpPr>
            <p:nvPr/>
          </p:nvSpPr>
          <p:spPr bwMode="gray">
            <a:xfrm>
              <a:off x="84138" y="2047875"/>
              <a:ext cx="458787" cy="182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801688" eaLnBrk="0" hangingPunct="0"/>
              <a:r>
                <a:rPr lang="de-DE" sz="1200" noProof="1"/>
                <a:t>12%</a:t>
              </a:r>
            </a:p>
          </p:txBody>
        </p:sp>
        <p:sp>
          <p:nvSpPr>
            <p:cNvPr id="29" name="Rectangle 20"/>
            <p:cNvSpPr>
              <a:spLocks noChangeArrowheads="1"/>
            </p:cNvSpPr>
            <p:nvPr/>
          </p:nvSpPr>
          <p:spPr bwMode="gray">
            <a:xfrm>
              <a:off x="84138" y="3189288"/>
              <a:ext cx="458787" cy="18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801688" eaLnBrk="0" hangingPunct="0"/>
              <a:r>
                <a:rPr lang="de-DE" sz="1200" noProof="1"/>
                <a:t>8%</a:t>
              </a:r>
            </a:p>
          </p:txBody>
        </p:sp>
        <p:sp>
          <p:nvSpPr>
            <p:cNvPr id="30" name="Rectangle 21"/>
            <p:cNvSpPr>
              <a:spLocks noChangeArrowheads="1"/>
            </p:cNvSpPr>
            <p:nvPr/>
          </p:nvSpPr>
          <p:spPr bwMode="gray">
            <a:xfrm>
              <a:off x="84138" y="3760788"/>
              <a:ext cx="458787" cy="18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801688" eaLnBrk="0" hangingPunct="0"/>
              <a:r>
                <a:rPr lang="de-DE" sz="1200" noProof="1"/>
                <a:t>6%</a:t>
              </a:r>
            </a:p>
          </p:txBody>
        </p:sp>
        <p:sp>
          <p:nvSpPr>
            <p:cNvPr id="31" name="Rectangle 22"/>
            <p:cNvSpPr>
              <a:spLocks noChangeArrowheads="1"/>
            </p:cNvSpPr>
            <p:nvPr/>
          </p:nvSpPr>
          <p:spPr bwMode="gray">
            <a:xfrm>
              <a:off x="84138" y="4330700"/>
              <a:ext cx="458787" cy="182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801688" eaLnBrk="0" hangingPunct="0"/>
              <a:r>
                <a:rPr lang="de-DE" sz="1200" noProof="1"/>
                <a:t>4%</a:t>
              </a:r>
            </a:p>
          </p:txBody>
        </p:sp>
        <p:sp>
          <p:nvSpPr>
            <p:cNvPr id="32" name="Rectangle 23"/>
            <p:cNvSpPr>
              <a:spLocks noChangeArrowheads="1"/>
            </p:cNvSpPr>
            <p:nvPr/>
          </p:nvSpPr>
          <p:spPr bwMode="gray">
            <a:xfrm>
              <a:off x="84138" y="4902200"/>
              <a:ext cx="458787" cy="182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801688" eaLnBrk="0" hangingPunct="0"/>
              <a:r>
                <a:rPr lang="de-DE" sz="1200" noProof="1"/>
                <a:t>2%</a:t>
              </a:r>
            </a:p>
          </p:txBody>
        </p:sp>
        <p:sp>
          <p:nvSpPr>
            <p:cNvPr id="33" name="Rectangle 24"/>
            <p:cNvSpPr>
              <a:spLocks noChangeArrowheads="1"/>
            </p:cNvSpPr>
            <p:nvPr/>
          </p:nvSpPr>
          <p:spPr bwMode="gray">
            <a:xfrm>
              <a:off x="84138" y="5473700"/>
              <a:ext cx="458787" cy="182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801688" eaLnBrk="0" hangingPunct="0"/>
              <a:r>
                <a:rPr lang="de-DE" sz="1200" noProof="1"/>
                <a:t>0%</a:t>
              </a:r>
            </a:p>
          </p:txBody>
        </p:sp>
        <p:grpSp>
          <p:nvGrpSpPr>
            <p:cNvPr id="34" name="Group 25" descr="© INSCALE GmbH, 21.06.2010"/>
            <p:cNvGrpSpPr>
              <a:grpSpLocks/>
            </p:cNvGrpSpPr>
            <p:nvPr/>
          </p:nvGrpSpPr>
          <p:grpSpPr bwMode="auto">
            <a:xfrm>
              <a:off x="569913" y="5565775"/>
              <a:ext cx="8004175" cy="158750"/>
              <a:chOff x="359" y="3506"/>
              <a:chExt cx="5042" cy="100"/>
            </a:xfrm>
          </p:grpSpPr>
          <p:sp>
            <p:nvSpPr>
              <p:cNvPr id="35" name="Line 26" descr="© INSCALE GmbH, 21.06.2010"/>
              <p:cNvSpPr>
                <a:spLocks noChangeShapeType="1"/>
              </p:cNvSpPr>
              <p:nvPr/>
            </p:nvSpPr>
            <p:spPr bwMode="gray">
              <a:xfrm>
                <a:off x="359" y="3506"/>
                <a:ext cx="5042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6" name="Line 27" descr="© INSCALE GmbH, 21.06.2010"/>
              <p:cNvSpPr>
                <a:spLocks noChangeShapeType="1"/>
              </p:cNvSpPr>
              <p:nvPr/>
            </p:nvSpPr>
            <p:spPr bwMode="gray">
              <a:xfrm rot="5400000">
                <a:off x="2138" y="3559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" name="Line 28" descr="© INSCALE GmbH, 21.06.2010"/>
              <p:cNvSpPr>
                <a:spLocks noChangeShapeType="1"/>
              </p:cNvSpPr>
              <p:nvPr/>
            </p:nvSpPr>
            <p:spPr bwMode="gray">
              <a:xfrm rot="5400000">
                <a:off x="3125" y="3559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8" name="Line 29" descr="© INSCALE GmbH, 21.06.2010"/>
              <p:cNvSpPr>
                <a:spLocks noChangeShapeType="1"/>
              </p:cNvSpPr>
              <p:nvPr/>
            </p:nvSpPr>
            <p:spPr bwMode="gray">
              <a:xfrm rot="5400000">
                <a:off x="4605" y="3559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9" name="Line 30" descr="© INSCALE GmbH, 21.06.2010"/>
              <p:cNvSpPr>
                <a:spLocks noChangeShapeType="1"/>
              </p:cNvSpPr>
              <p:nvPr/>
            </p:nvSpPr>
            <p:spPr bwMode="gray">
              <a:xfrm rot="5400000">
                <a:off x="658" y="3559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0" name="Line 31" descr="© INSCALE GmbH, 21.06.2010"/>
              <p:cNvSpPr>
                <a:spLocks noChangeShapeType="1"/>
              </p:cNvSpPr>
              <p:nvPr/>
            </p:nvSpPr>
            <p:spPr bwMode="gray">
              <a:xfrm rot="5400000">
                <a:off x="905" y="3559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1" name="Line 32" descr="© INSCALE GmbH, 21.06.2010"/>
              <p:cNvSpPr>
                <a:spLocks noChangeShapeType="1"/>
              </p:cNvSpPr>
              <p:nvPr/>
            </p:nvSpPr>
            <p:spPr bwMode="gray">
              <a:xfrm rot="5400000">
                <a:off x="2385" y="3559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2" name="Line 33" descr="© INSCALE GmbH, 21.06.2010"/>
              <p:cNvSpPr>
                <a:spLocks noChangeShapeType="1"/>
              </p:cNvSpPr>
              <p:nvPr/>
            </p:nvSpPr>
            <p:spPr bwMode="gray">
              <a:xfrm rot="5400000">
                <a:off x="3372" y="3559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3" name="Line 34" descr="© INSCALE GmbH, 21.06.2010"/>
              <p:cNvSpPr>
                <a:spLocks noChangeShapeType="1"/>
              </p:cNvSpPr>
              <p:nvPr/>
            </p:nvSpPr>
            <p:spPr bwMode="gray">
              <a:xfrm rot="5400000">
                <a:off x="1152" y="3559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4" name="Line 35" descr="© INSCALE GmbH, 21.06.2010"/>
              <p:cNvSpPr>
                <a:spLocks noChangeShapeType="1"/>
              </p:cNvSpPr>
              <p:nvPr/>
            </p:nvSpPr>
            <p:spPr bwMode="gray">
              <a:xfrm rot="5400000">
                <a:off x="2632" y="3559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5" name="Line 36" descr="© INSCALE GmbH, 21.06.2010"/>
              <p:cNvSpPr>
                <a:spLocks noChangeShapeType="1"/>
              </p:cNvSpPr>
              <p:nvPr/>
            </p:nvSpPr>
            <p:spPr bwMode="gray">
              <a:xfrm rot="5400000">
                <a:off x="3619" y="3559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6" name="Line 37" descr="© INSCALE GmbH, 21.06.2010"/>
              <p:cNvSpPr>
                <a:spLocks noChangeShapeType="1"/>
              </p:cNvSpPr>
              <p:nvPr/>
            </p:nvSpPr>
            <p:spPr bwMode="gray">
              <a:xfrm rot="5400000">
                <a:off x="1398" y="3559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7" name="Line 38" descr="© INSCALE GmbH, 21.06.2010"/>
              <p:cNvSpPr>
                <a:spLocks noChangeShapeType="1"/>
              </p:cNvSpPr>
              <p:nvPr/>
            </p:nvSpPr>
            <p:spPr bwMode="gray">
              <a:xfrm rot="5400000">
                <a:off x="1645" y="3559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8" name="Line 39" descr="© INSCALE GmbH, 21.06.2010"/>
              <p:cNvSpPr>
                <a:spLocks noChangeShapeType="1"/>
              </p:cNvSpPr>
              <p:nvPr/>
            </p:nvSpPr>
            <p:spPr bwMode="gray">
              <a:xfrm rot="5400000">
                <a:off x="2879" y="3559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9" name="Line 40" descr="© INSCALE GmbH, 21.06.2010"/>
              <p:cNvSpPr>
                <a:spLocks noChangeShapeType="1"/>
              </p:cNvSpPr>
              <p:nvPr/>
            </p:nvSpPr>
            <p:spPr bwMode="gray">
              <a:xfrm rot="5400000">
                <a:off x="3865" y="3559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0" name="Line 41" descr="© INSCALE GmbH, 21.06.2010"/>
              <p:cNvSpPr>
                <a:spLocks noChangeShapeType="1"/>
              </p:cNvSpPr>
              <p:nvPr/>
            </p:nvSpPr>
            <p:spPr bwMode="gray">
              <a:xfrm rot="5400000">
                <a:off x="1892" y="3559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1" name="Line 42" descr="© INSCALE GmbH, 21.06.2010"/>
              <p:cNvSpPr>
                <a:spLocks noChangeShapeType="1"/>
              </p:cNvSpPr>
              <p:nvPr/>
            </p:nvSpPr>
            <p:spPr bwMode="gray">
              <a:xfrm rot="5400000">
                <a:off x="4112" y="3559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2" name="Line 43" descr="© INSCALE GmbH, 21.06.2010"/>
              <p:cNvSpPr>
                <a:spLocks noChangeShapeType="1"/>
              </p:cNvSpPr>
              <p:nvPr/>
            </p:nvSpPr>
            <p:spPr bwMode="gray">
              <a:xfrm rot="5400000">
                <a:off x="4359" y="3559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3" name="Line 44" descr="© INSCALE GmbH, 21.06.2010"/>
              <p:cNvSpPr>
                <a:spLocks noChangeShapeType="1"/>
              </p:cNvSpPr>
              <p:nvPr/>
            </p:nvSpPr>
            <p:spPr bwMode="gray">
              <a:xfrm rot="5400000">
                <a:off x="4852" y="3559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4" name="Line 45" descr="© INSCALE GmbH, 21.06.2010"/>
              <p:cNvSpPr>
                <a:spLocks noChangeShapeType="1"/>
              </p:cNvSpPr>
              <p:nvPr/>
            </p:nvSpPr>
            <p:spPr bwMode="gray">
              <a:xfrm rot="5400000">
                <a:off x="5099" y="3559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5" name="Line 46" descr="© INSCALE GmbH, 21.06.2010"/>
              <p:cNvSpPr>
                <a:spLocks noChangeShapeType="1"/>
              </p:cNvSpPr>
              <p:nvPr/>
            </p:nvSpPr>
            <p:spPr bwMode="gray">
              <a:xfrm rot="5400000">
                <a:off x="5346" y="3559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56" name="Rectangle 47"/>
            <p:cNvSpPr>
              <a:spLocks noChangeArrowheads="1"/>
            </p:cNvSpPr>
            <p:nvPr/>
          </p:nvSpPr>
          <p:spPr bwMode="gray">
            <a:xfrm rot="5400000">
              <a:off x="488950" y="5821363"/>
              <a:ext cx="458788" cy="18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ctr" defTabSz="801688" eaLnBrk="0" hangingPunct="0"/>
              <a:r>
                <a:rPr lang="de-DE" sz="1200" noProof="1"/>
                <a:t>0</a:t>
              </a:r>
            </a:p>
          </p:txBody>
        </p:sp>
        <p:sp>
          <p:nvSpPr>
            <p:cNvPr id="57" name="Rectangle 48"/>
            <p:cNvSpPr>
              <a:spLocks noChangeArrowheads="1"/>
            </p:cNvSpPr>
            <p:nvPr/>
          </p:nvSpPr>
          <p:spPr bwMode="gray">
            <a:xfrm rot="5400000">
              <a:off x="881063" y="5821362"/>
              <a:ext cx="458788" cy="182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ctr" defTabSz="801688" eaLnBrk="0" hangingPunct="0"/>
              <a:r>
                <a:rPr lang="de-DE" sz="1200" noProof="1"/>
                <a:t>100</a:t>
              </a:r>
            </a:p>
          </p:txBody>
        </p:sp>
        <p:sp>
          <p:nvSpPr>
            <p:cNvPr id="58" name="Rectangle 49"/>
            <p:cNvSpPr>
              <a:spLocks noChangeArrowheads="1"/>
            </p:cNvSpPr>
            <p:nvPr/>
          </p:nvSpPr>
          <p:spPr bwMode="gray">
            <a:xfrm rot="5400000">
              <a:off x="1273175" y="5821363"/>
              <a:ext cx="458788" cy="18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ctr" defTabSz="801688" eaLnBrk="0" hangingPunct="0"/>
              <a:r>
                <a:rPr lang="de-DE" sz="1200" noProof="1"/>
                <a:t>200</a:t>
              </a:r>
            </a:p>
          </p:txBody>
        </p:sp>
        <p:sp>
          <p:nvSpPr>
            <p:cNvPr id="60" name="Rectangle 50"/>
            <p:cNvSpPr>
              <a:spLocks noChangeArrowheads="1"/>
            </p:cNvSpPr>
            <p:nvPr/>
          </p:nvSpPr>
          <p:spPr bwMode="gray">
            <a:xfrm rot="5400000">
              <a:off x="1665288" y="5821362"/>
              <a:ext cx="458788" cy="182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ctr" defTabSz="801688" eaLnBrk="0" hangingPunct="0"/>
              <a:r>
                <a:rPr lang="de-DE" sz="1200" noProof="1"/>
                <a:t>300</a:t>
              </a:r>
            </a:p>
          </p:txBody>
        </p:sp>
        <p:sp>
          <p:nvSpPr>
            <p:cNvPr id="61" name="Rectangle 51"/>
            <p:cNvSpPr>
              <a:spLocks noChangeArrowheads="1"/>
            </p:cNvSpPr>
            <p:nvPr/>
          </p:nvSpPr>
          <p:spPr bwMode="gray">
            <a:xfrm rot="5400000">
              <a:off x="2057400" y="5821363"/>
              <a:ext cx="458788" cy="18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ctr" defTabSz="801688" eaLnBrk="0" hangingPunct="0"/>
              <a:r>
                <a:rPr lang="de-DE" sz="1200" noProof="1"/>
                <a:t>400</a:t>
              </a:r>
            </a:p>
          </p:txBody>
        </p:sp>
        <p:sp>
          <p:nvSpPr>
            <p:cNvPr id="62" name="Rectangle 52"/>
            <p:cNvSpPr>
              <a:spLocks noChangeArrowheads="1"/>
            </p:cNvSpPr>
            <p:nvPr/>
          </p:nvSpPr>
          <p:spPr bwMode="gray">
            <a:xfrm rot="5400000">
              <a:off x="2449513" y="5821362"/>
              <a:ext cx="458788" cy="182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ctr" defTabSz="801688" eaLnBrk="0" hangingPunct="0"/>
              <a:r>
                <a:rPr lang="de-DE" sz="1200" noProof="1"/>
                <a:t>500</a:t>
              </a:r>
            </a:p>
          </p:txBody>
        </p:sp>
        <p:sp>
          <p:nvSpPr>
            <p:cNvPr id="64" name="Rectangle 53"/>
            <p:cNvSpPr>
              <a:spLocks noChangeArrowheads="1"/>
            </p:cNvSpPr>
            <p:nvPr/>
          </p:nvSpPr>
          <p:spPr bwMode="gray">
            <a:xfrm rot="5400000">
              <a:off x="2841625" y="5821363"/>
              <a:ext cx="458788" cy="18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ctr" defTabSz="801688" eaLnBrk="0" hangingPunct="0"/>
              <a:r>
                <a:rPr lang="de-DE" sz="1200" noProof="1"/>
                <a:t>600</a:t>
              </a:r>
            </a:p>
          </p:txBody>
        </p:sp>
        <p:sp>
          <p:nvSpPr>
            <p:cNvPr id="65" name="Rectangle 54"/>
            <p:cNvSpPr>
              <a:spLocks noChangeArrowheads="1"/>
            </p:cNvSpPr>
            <p:nvPr/>
          </p:nvSpPr>
          <p:spPr bwMode="gray">
            <a:xfrm rot="5400000">
              <a:off x="3233738" y="5821362"/>
              <a:ext cx="458788" cy="182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ctr" defTabSz="801688" eaLnBrk="0" hangingPunct="0"/>
              <a:r>
                <a:rPr lang="de-DE" sz="1200" noProof="1"/>
                <a:t>700</a:t>
              </a:r>
            </a:p>
          </p:txBody>
        </p:sp>
        <p:sp>
          <p:nvSpPr>
            <p:cNvPr id="66" name="Rectangle 55"/>
            <p:cNvSpPr>
              <a:spLocks noChangeArrowheads="1"/>
            </p:cNvSpPr>
            <p:nvPr/>
          </p:nvSpPr>
          <p:spPr bwMode="gray">
            <a:xfrm rot="5400000">
              <a:off x="3625850" y="5821363"/>
              <a:ext cx="458788" cy="18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ctr" defTabSz="801688" eaLnBrk="0" hangingPunct="0"/>
              <a:r>
                <a:rPr lang="de-DE" sz="1200" noProof="1"/>
                <a:t>800</a:t>
              </a:r>
            </a:p>
          </p:txBody>
        </p:sp>
        <p:sp>
          <p:nvSpPr>
            <p:cNvPr id="68" name="Rectangle 56"/>
            <p:cNvSpPr>
              <a:spLocks noChangeArrowheads="1"/>
            </p:cNvSpPr>
            <p:nvPr/>
          </p:nvSpPr>
          <p:spPr bwMode="gray">
            <a:xfrm rot="5400000">
              <a:off x="4017963" y="5821362"/>
              <a:ext cx="458788" cy="182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ctr" defTabSz="801688" eaLnBrk="0" hangingPunct="0"/>
              <a:r>
                <a:rPr lang="de-DE" sz="1200" noProof="1"/>
                <a:t>900</a:t>
              </a:r>
            </a:p>
          </p:txBody>
        </p:sp>
        <p:sp>
          <p:nvSpPr>
            <p:cNvPr id="69" name="Rectangle 57"/>
            <p:cNvSpPr>
              <a:spLocks noChangeArrowheads="1"/>
            </p:cNvSpPr>
            <p:nvPr/>
          </p:nvSpPr>
          <p:spPr bwMode="gray">
            <a:xfrm rot="5400000">
              <a:off x="4410075" y="5821363"/>
              <a:ext cx="458788" cy="18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ctr" defTabSz="801688" eaLnBrk="0" hangingPunct="0"/>
              <a:r>
                <a:rPr lang="de-DE" sz="1200" noProof="1"/>
                <a:t>1000</a:t>
              </a:r>
            </a:p>
          </p:txBody>
        </p:sp>
        <p:sp>
          <p:nvSpPr>
            <p:cNvPr id="70" name="Rectangle 58"/>
            <p:cNvSpPr>
              <a:spLocks noChangeArrowheads="1"/>
            </p:cNvSpPr>
            <p:nvPr/>
          </p:nvSpPr>
          <p:spPr bwMode="gray">
            <a:xfrm rot="5400000">
              <a:off x="4802188" y="5821362"/>
              <a:ext cx="458788" cy="182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ctr" defTabSz="801688" eaLnBrk="0" hangingPunct="0"/>
              <a:r>
                <a:rPr lang="de-DE" sz="1200" noProof="1"/>
                <a:t>1100</a:t>
              </a:r>
            </a:p>
          </p:txBody>
        </p:sp>
        <p:sp>
          <p:nvSpPr>
            <p:cNvPr id="72" name="Rectangle 59"/>
            <p:cNvSpPr>
              <a:spLocks noChangeArrowheads="1"/>
            </p:cNvSpPr>
            <p:nvPr/>
          </p:nvSpPr>
          <p:spPr bwMode="gray">
            <a:xfrm rot="5400000">
              <a:off x="5194300" y="5821363"/>
              <a:ext cx="458788" cy="18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ctr" defTabSz="801688" eaLnBrk="0" hangingPunct="0"/>
              <a:r>
                <a:rPr lang="de-DE" sz="1200" noProof="1"/>
                <a:t>1200</a:t>
              </a:r>
            </a:p>
          </p:txBody>
        </p:sp>
        <p:sp>
          <p:nvSpPr>
            <p:cNvPr id="73" name="Rectangle 60"/>
            <p:cNvSpPr>
              <a:spLocks noChangeArrowheads="1"/>
            </p:cNvSpPr>
            <p:nvPr/>
          </p:nvSpPr>
          <p:spPr bwMode="gray">
            <a:xfrm rot="5400000">
              <a:off x="5586413" y="5821362"/>
              <a:ext cx="458788" cy="182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ctr" defTabSz="801688" eaLnBrk="0" hangingPunct="0"/>
              <a:r>
                <a:rPr lang="de-DE" sz="1200" noProof="1"/>
                <a:t>1300</a:t>
              </a:r>
            </a:p>
          </p:txBody>
        </p:sp>
        <p:sp>
          <p:nvSpPr>
            <p:cNvPr id="74" name="Rectangle 61"/>
            <p:cNvSpPr>
              <a:spLocks noChangeArrowheads="1"/>
            </p:cNvSpPr>
            <p:nvPr/>
          </p:nvSpPr>
          <p:spPr bwMode="gray">
            <a:xfrm rot="5400000">
              <a:off x="5978525" y="5821363"/>
              <a:ext cx="458788" cy="18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ctr" defTabSz="801688" eaLnBrk="0" hangingPunct="0"/>
              <a:r>
                <a:rPr lang="de-DE" sz="1200" noProof="1"/>
                <a:t>1400</a:t>
              </a:r>
            </a:p>
          </p:txBody>
        </p:sp>
        <p:sp>
          <p:nvSpPr>
            <p:cNvPr id="76" name="Rectangle 62"/>
            <p:cNvSpPr>
              <a:spLocks noChangeArrowheads="1"/>
            </p:cNvSpPr>
            <p:nvPr/>
          </p:nvSpPr>
          <p:spPr bwMode="gray">
            <a:xfrm rot="5400000">
              <a:off x="6370638" y="5821362"/>
              <a:ext cx="458788" cy="182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ctr" defTabSz="801688" eaLnBrk="0" hangingPunct="0"/>
              <a:r>
                <a:rPr lang="de-DE" sz="1200" noProof="1"/>
                <a:t>1500</a:t>
              </a:r>
            </a:p>
          </p:txBody>
        </p:sp>
        <p:sp>
          <p:nvSpPr>
            <p:cNvPr id="77" name="Rectangle 63"/>
            <p:cNvSpPr>
              <a:spLocks noChangeArrowheads="1"/>
            </p:cNvSpPr>
            <p:nvPr/>
          </p:nvSpPr>
          <p:spPr bwMode="gray">
            <a:xfrm rot="5400000">
              <a:off x="6762750" y="5821363"/>
              <a:ext cx="458788" cy="18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ctr" defTabSz="801688" eaLnBrk="0" hangingPunct="0"/>
              <a:r>
                <a:rPr lang="de-DE" sz="1200" noProof="1"/>
                <a:t>1600</a:t>
              </a:r>
            </a:p>
          </p:txBody>
        </p:sp>
        <p:sp>
          <p:nvSpPr>
            <p:cNvPr id="78" name="Rectangle 64"/>
            <p:cNvSpPr>
              <a:spLocks noChangeArrowheads="1"/>
            </p:cNvSpPr>
            <p:nvPr/>
          </p:nvSpPr>
          <p:spPr bwMode="gray">
            <a:xfrm rot="5400000">
              <a:off x="7154863" y="5821362"/>
              <a:ext cx="458788" cy="182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ctr" defTabSz="801688" eaLnBrk="0" hangingPunct="0"/>
              <a:r>
                <a:rPr lang="de-DE" sz="1200" noProof="1"/>
                <a:t>1700</a:t>
              </a:r>
            </a:p>
          </p:txBody>
        </p:sp>
        <p:sp>
          <p:nvSpPr>
            <p:cNvPr id="79" name="Rectangle 65"/>
            <p:cNvSpPr>
              <a:spLocks noChangeArrowheads="1"/>
            </p:cNvSpPr>
            <p:nvPr/>
          </p:nvSpPr>
          <p:spPr bwMode="gray">
            <a:xfrm rot="5400000">
              <a:off x="7546975" y="5821363"/>
              <a:ext cx="458788" cy="18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ctr" defTabSz="801688" eaLnBrk="0" hangingPunct="0"/>
              <a:r>
                <a:rPr lang="de-DE" sz="1200" noProof="1"/>
                <a:t>1800</a:t>
              </a:r>
            </a:p>
          </p:txBody>
        </p:sp>
        <p:sp>
          <p:nvSpPr>
            <p:cNvPr id="80" name="Rectangle 66"/>
            <p:cNvSpPr>
              <a:spLocks noChangeArrowheads="1"/>
            </p:cNvSpPr>
            <p:nvPr/>
          </p:nvSpPr>
          <p:spPr bwMode="gray">
            <a:xfrm rot="5400000">
              <a:off x="8331200" y="5821363"/>
              <a:ext cx="458788" cy="18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ctr" defTabSz="801688" eaLnBrk="0" hangingPunct="0"/>
              <a:r>
                <a:rPr lang="de-DE" sz="1200" noProof="1"/>
                <a:t>2000</a:t>
              </a:r>
            </a:p>
          </p:txBody>
        </p:sp>
        <p:sp>
          <p:nvSpPr>
            <p:cNvPr id="81" name="Rectangle 67"/>
            <p:cNvSpPr>
              <a:spLocks noChangeArrowheads="1"/>
            </p:cNvSpPr>
            <p:nvPr/>
          </p:nvSpPr>
          <p:spPr bwMode="gray">
            <a:xfrm rot="5400000">
              <a:off x="7939088" y="5821362"/>
              <a:ext cx="458788" cy="182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ctr" defTabSz="801688" eaLnBrk="0" hangingPunct="0"/>
              <a:r>
                <a:rPr lang="de-DE" sz="1200" noProof="1"/>
                <a:t>1900</a:t>
              </a:r>
            </a:p>
          </p:txBody>
        </p:sp>
        <p:sp>
          <p:nvSpPr>
            <p:cNvPr id="82" name="Rectangle 68"/>
            <p:cNvSpPr>
              <a:spLocks noChangeArrowheads="1"/>
            </p:cNvSpPr>
            <p:nvPr/>
          </p:nvSpPr>
          <p:spPr bwMode="gray">
            <a:xfrm>
              <a:off x="84138" y="1477963"/>
              <a:ext cx="458787" cy="18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801688" eaLnBrk="0" hangingPunct="0"/>
              <a:r>
                <a:rPr lang="de-DE" sz="1200" noProof="1"/>
                <a:t>14%</a:t>
              </a:r>
            </a:p>
          </p:txBody>
        </p:sp>
        <p:grpSp>
          <p:nvGrpSpPr>
            <p:cNvPr id="83" name="Group 69" descr="© INSCALE GmbH, 21.06.2010"/>
            <p:cNvGrpSpPr>
              <a:grpSpLocks/>
            </p:cNvGrpSpPr>
            <p:nvPr/>
          </p:nvGrpSpPr>
          <p:grpSpPr bwMode="auto">
            <a:xfrm>
              <a:off x="569913" y="1555750"/>
              <a:ext cx="149225" cy="4168775"/>
              <a:chOff x="359" y="980"/>
              <a:chExt cx="94" cy="2626"/>
            </a:xfrm>
          </p:grpSpPr>
          <p:sp>
            <p:nvSpPr>
              <p:cNvPr id="90" name="Line 70" descr="© INSCALE GmbH, 21.06.2010"/>
              <p:cNvSpPr>
                <a:spLocks noChangeShapeType="1"/>
              </p:cNvSpPr>
              <p:nvPr/>
            </p:nvSpPr>
            <p:spPr bwMode="gray">
              <a:xfrm rot="-5400000">
                <a:off x="-860" y="2293"/>
                <a:ext cx="2626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1" name="Line 71" descr="© INSCALE GmbH, 21.06.2010"/>
              <p:cNvSpPr>
                <a:spLocks noChangeShapeType="1"/>
              </p:cNvSpPr>
              <p:nvPr/>
            </p:nvSpPr>
            <p:spPr bwMode="gray">
              <a:xfrm>
                <a:off x="359" y="3146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2" name="Line 72" descr="© INSCALE GmbH, 21.06.2010"/>
              <p:cNvSpPr>
                <a:spLocks noChangeShapeType="1"/>
              </p:cNvSpPr>
              <p:nvPr/>
            </p:nvSpPr>
            <p:spPr bwMode="gray">
              <a:xfrm>
                <a:off x="359" y="2427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3" name="Line 73" descr="© INSCALE GmbH, 21.06.2010"/>
              <p:cNvSpPr>
                <a:spLocks noChangeShapeType="1"/>
              </p:cNvSpPr>
              <p:nvPr/>
            </p:nvSpPr>
            <p:spPr bwMode="gray">
              <a:xfrm>
                <a:off x="359" y="1708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4" name="Line 74" descr="© INSCALE GmbH, 21.06.2010"/>
              <p:cNvSpPr>
                <a:spLocks noChangeShapeType="1"/>
              </p:cNvSpPr>
              <p:nvPr/>
            </p:nvSpPr>
            <p:spPr bwMode="gray">
              <a:xfrm>
                <a:off x="359" y="989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5" name="Line 75" descr="© INSCALE GmbH, 21.06.2010"/>
              <p:cNvSpPr>
                <a:spLocks noChangeShapeType="1"/>
              </p:cNvSpPr>
              <p:nvPr/>
            </p:nvSpPr>
            <p:spPr bwMode="gray">
              <a:xfrm>
                <a:off x="359" y="2786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6" name="Line 76" descr="© INSCALE GmbH, 21.06.2010"/>
              <p:cNvSpPr>
                <a:spLocks noChangeShapeType="1"/>
              </p:cNvSpPr>
              <p:nvPr/>
            </p:nvSpPr>
            <p:spPr bwMode="gray">
              <a:xfrm>
                <a:off x="359" y="1348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7" name="Line 77" descr="© INSCALE GmbH, 21.06.2010"/>
              <p:cNvSpPr>
                <a:spLocks noChangeShapeType="1"/>
              </p:cNvSpPr>
              <p:nvPr/>
            </p:nvSpPr>
            <p:spPr bwMode="gray">
              <a:xfrm>
                <a:off x="359" y="2067"/>
                <a:ext cx="94" cy="0"/>
              </a:xfrm>
              <a:prstGeom prst="line">
                <a:avLst/>
              </a:prstGeom>
              <a:noFill/>
              <a:ln w="28575">
                <a:solidFill>
                  <a:srgbClr val="5F5F5F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98" name="Rectangle 78"/>
            <p:cNvSpPr>
              <a:spLocks noChangeArrowheads="1"/>
            </p:cNvSpPr>
            <p:nvPr/>
          </p:nvSpPr>
          <p:spPr bwMode="gray">
            <a:xfrm>
              <a:off x="84138" y="2619375"/>
              <a:ext cx="458787" cy="182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801688" eaLnBrk="0" hangingPunct="0"/>
              <a:r>
                <a:rPr lang="de-DE" sz="1200" noProof="1"/>
                <a:t>10%</a:t>
              </a:r>
            </a:p>
          </p:txBody>
        </p:sp>
        <p:sp>
          <p:nvSpPr>
            <p:cNvPr id="99" name="Rectangle 79"/>
            <p:cNvSpPr>
              <a:spLocks noChangeArrowheads="1"/>
            </p:cNvSpPr>
            <p:nvPr/>
          </p:nvSpPr>
          <p:spPr bwMode="gray">
            <a:xfrm>
              <a:off x="5122863" y="3291823"/>
              <a:ext cx="2170112" cy="5476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801688" eaLnBrk="0" hangingPunct="0"/>
              <a:r>
                <a:rPr lang="de-DE" sz="1200" b="1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laceholder</a:t>
              </a:r>
              <a:r>
                <a:rPr lang="de-DE" sz="1200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</a:p>
            <a:p>
              <a:pPr defTabSz="801688" eaLnBrk="0" hangingPunct="0"/>
              <a:r>
                <a:rPr lang="de-DE" sz="1200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lick the placeholder text to select it and type your new text.</a:t>
              </a:r>
            </a:p>
          </p:txBody>
        </p:sp>
        <p:sp>
          <p:nvSpPr>
            <p:cNvPr id="100" name="Rectangle 80"/>
            <p:cNvSpPr>
              <a:spLocks noChangeArrowheads="1"/>
            </p:cNvSpPr>
            <p:nvPr/>
          </p:nvSpPr>
          <p:spPr bwMode="gray">
            <a:xfrm>
              <a:off x="858838" y="2801938"/>
              <a:ext cx="1127125" cy="365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801688" eaLnBrk="0" hangingPunct="0"/>
              <a:r>
                <a:rPr lang="de-DE" sz="1200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his is a placeholder text</a:t>
              </a:r>
              <a:endParaRPr lang="de-DE" sz="1200" b="1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01" name="Rectangle 81"/>
            <p:cNvSpPr>
              <a:spLocks noChangeArrowheads="1"/>
            </p:cNvSpPr>
            <p:nvPr/>
          </p:nvSpPr>
          <p:spPr bwMode="gray">
            <a:xfrm>
              <a:off x="2570583" y="1774746"/>
              <a:ext cx="1011985" cy="1795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ctr" defTabSz="801688" eaLnBrk="0" hangingPunct="0"/>
              <a:r>
                <a:rPr lang="de-DE" sz="1200" b="1" noProof="1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Placeholder text</a:t>
              </a:r>
            </a:p>
          </p:txBody>
        </p:sp>
        <p:sp>
          <p:nvSpPr>
            <p:cNvPr id="102" name="Line 82" descr="© INSCALE GmbH, 21.06.2010"/>
            <p:cNvSpPr>
              <a:spLocks noChangeShapeType="1"/>
            </p:cNvSpPr>
            <p:nvPr/>
          </p:nvSpPr>
          <p:spPr bwMode="gray">
            <a:xfrm flipV="1">
              <a:off x="5035550" y="1555750"/>
              <a:ext cx="0" cy="4010025"/>
            </a:xfrm>
            <a:prstGeom prst="line">
              <a:avLst/>
            </a:prstGeom>
            <a:noFill/>
            <a:ln w="635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03" name="Line 83" descr="© INSCALE GmbH, 21.06.2010"/>
            <p:cNvSpPr>
              <a:spLocks noChangeShapeType="1"/>
            </p:cNvSpPr>
            <p:nvPr/>
          </p:nvSpPr>
          <p:spPr bwMode="gray">
            <a:xfrm flipV="1">
              <a:off x="7385050" y="1555750"/>
              <a:ext cx="0" cy="4010025"/>
            </a:xfrm>
            <a:prstGeom prst="line">
              <a:avLst/>
            </a:prstGeom>
            <a:noFill/>
            <a:ln w="635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4255864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/>
        </p:nvGrpSpPr>
        <p:grpSpPr>
          <a:xfrm>
            <a:off x="323895" y="1556864"/>
            <a:ext cx="4086540" cy="504000"/>
            <a:chOff x="323895" y="1556864"/>
            <a:chExt cx="4086540" cy="504000"/>
          </a:xfrm>
        </p:grpSpPr>
        <p:sp>
          <p:nvSpPr>
            <p:cNvPr id="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5" y="1556864"/>
              <a:ext cx="3683360" cy="503911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Agenda Slides</a:t>
              </a:r>
            </a:p>
          </p:txBody>
        </p:sp>
        <p:sp>
          <p:nvSpPr>
            <p:cNvPr id="3" name="Rechteck 2"/>
            <p:cNvSpPr/>
            <p:nvPr/>
          </p:nvSpPr>
          <p:spPr>
            <a:xfrm>
              <a:off x="323895" y="1556953"/>
              <a:ext cx="324000" cy="503911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323895" y="2180757"/>
            <a:ext cx="4086181" cy="504000"/>
            <a:chOff x="323895" y="2180757"/>
            <a:chExt cx="4086181" cy="504000"/>
          </a:xfrm>
        </p:grpSpPr>
        <p:sp>
          <p:nvSpPr>
            <p:cNvPr id="5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2180757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Gantt Charts</a:t>
              </a:r>
            </a:p>
          </p:txBody>
        </p:sp>
        <p:sp>
          <p:nvSpPr>
            <p:cNvPr id="92" name="Rechteck 91"/>
            <p:cNvSpPr/>
            <p:nvPr/>
          </p:nvSpPr>
          <p:spPr>
            <a:xfrm>
              <a:off x="323895" y="2180758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2</a:t>
              </a:r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323895" y="2804650"/>
            <a:ext cx="4086181" cy="504000"/>
            <a:chOff x="323895" y="2804650"/>
            <a:chExt cx="4086181" cy="504000"/>
          </a:xfrm>
        </p:grpSpPr>
        <p:sp>
          <p:nvSpPr>
            <p:cNvPr id="93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2804650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Funnels 3D</a:t>
              </a:r>
            </a:p>
          </p:txBody>
        </p:sp>
        <p:sp>
          <p:nvSpPr>
            <p:cNvPr id="94" name="Rechteck 93"/>
            <p:cNvSpPr/>
            <p:nvPr/>
          </p:nvSpPr>
          <p:spPr>
            <a:xfrm>
              <a:off x="323895" y="2804651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3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323895" y="3428543"/>
            <a:ext cx="4086181" cy="504000"/>
            <a:chOff x="323895" y="3428543"/>
            <a:chExt cx="4086181" cy="504000"/>
          </a:xfrm>
        </p:grpSpPr>
        <p:sp>
          <p:nvSpPr>
            <p:cNvPr id="9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3428543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Pie / Donut Charts</a:t>
              </a:r>
            </a:p>
          </p:txBody>
        </p:sp>
        <p:sp>
          <p:nvSpPr>
            <p:cNvPr id="96" name="Rechteck 95"/>
            <p:cNvSpPr/>
            <p:nvPr/>
          </p:nvSpPr>
          <p:spPr>
            <a:xfrm>
              <a:off x="323895" y="3428544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4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" name="Gruppieren 11"/>
          <p:cNvGrpSpPr/>
          <p:nvPr/>
        </p:nvGrpSpPr>
        <p:grpSpPr>
          <a:xfrm>
            <a:off x="323895" y="4052436"/>
            <a:ext cx="4086181" cy="504000"/>
            <a:chOff x="323895" y="4052436"/>
            <a:chExt cx="4086181" cy="504000"/>
          </a:xfrm>
        </p:grpSpPr>
        <p:sp>
          <p:nvSpPr>
            <p:cNvPr id="9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4052436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Overlapping Text Boxes</a:t>
              </a:r>
            </a:p>
          </p:txBody>
        </p:sp>
        <p:sp>
          <p:nvSpPr>
            <p:cNvPr id="98" name="Rechteck 97"/>
            <p:cNvSpPr/>
            <p:nvPr/>
          </p:nvSpPr>
          <p:spPr>
            <a:xfrm>
              <a:off x="323895" y="4052437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5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323895" y="4676329"/>
            <a:ext cx="4086181" cy="504000"/>
            <a:chOff x="323895" y="4676329"/>
            <a:chExt cx="4086181" cy="504000"/>
          </a:xfrm>
        </p:grpSpPr>
        <p:sp>
          <p:nvSpPr>
            <p:cNvPr id="9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4676329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Timelines Arrows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323895" y="4676330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6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9" name="Gruppieren 8"/>
          <p:cNvGrpSpPr/>
          <p:nvPr/>
        </p:nvGrpSpPr>
        <p:grpSpPr>
          <a:xfrm>
            <a:off x="323895" y="5300224"/>
            <a:ext cx="4086181" cy="504000"/>
            <a:chOff x="323895" y="5300224"/>
            <a:chExt cx="4086181" cy="504000"/>
          </a:xfrm>
        </p:grpSpPr>
        <p:sp>
          <p:nvSpPr>
            <p:cNvPr id="101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5300224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Sphere with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Core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102" name="Rechteck 101"/>
            <p:cNvSpPr/>
            <p:nvPr/>
          </p:nvSpPr>
          <p:spPr>
            <a:xfrm>
              <a:off x="323895" y="5300225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7</a:t>
              </a:r>
            </a:p>
          </p:txBody>
        </p:sp>
      </p:grpSp>
      <p:grpSp>
        <p:nvGrpSpPr>
          <p:cNvPr id="15" name="Gruppieren 14"/>
          <p:cNvGrpSpPr/>
          <p:nvPr/>
        </p:nvGrpSpPr>
        <p:grpSpPr>
          <a:xfrm>
            <a:off x="4733970" y="1556862"/>
            <a:ext cx="4086181" cy="504000"/>
            <a:chOff x="4733970" y="1556862"/>
            <a:chExt cx="4086181" cy="504000"/>
          </a:xfrm>
        </p:grpSpPr>
        <p:sp>
          <p:nvSpPr>
            <p:cNvPr id="5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1556862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Step Process Chart</a:t>
              </a:r>
            </a:p>
          </p:txBody>
        </p:sp>
        <p:sp>
          <p:nvSpPr>
            <p:cNvPr id="58" name="Rechteck 57"/>
            <p:cNvSpPr/>
            <p:nvPr/>
          </p:nvSpPr>
          <p:spPr>
            <a:xfrm>
              <a:off x="4733970" y="1556863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8</a:t>
              </a:r>
            </a:p>
          </p:txBody>
        </p:sp>
      </p:grpSp>
      <p:grpSp>
        <p:nvGrpSpPr>
          <p:cNvPr id="16" name="Gruppieren 15"/>
          <p:cNvGrpSpPr/>
          <p:nvPr/>
        </p:nvGrpSpPr>
        <p:grpSpPr>
          <a:xfrm>
            <a:off x="4733970" y="2180756"/>
            <a:ext cx="4086181" cy="504000"/>
            <a:chOff x="4733970" y="2180756"/>
            <a:chExt cx="4086181" cy="504000"/>
          </a:xfrm>
        </p:grpSpPr>
        <p:sp>
          <p:nvSpPr>
            <p:cNvPr id="5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2180756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Curves and Trend Charts</a:t>
              </a:r>
            </a:p>
          </p:txBody>
        </p:sp>
        <p:sp>
          <p:nvSpPr>
            <p:cNvPr id="60" name="Rechteck 59"/>
            <p:cNvSpPr/>
            <p:nvPr/>
          </p:nvSpPr>
          <p:spPr>
            <a:xfrm>
              <a:off x="4733970" y="2180757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9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7" name="Gruppieren 16"/>
          <p:cNvGrpSpPr/>
          <p:nvPr/>
        </p:nvGrpSpPr>
        <p:grpSpPr>
          <a:xfrm>
            <a:off x="4733970" y="2804650"/>
            <a:ext cx="4086181" cy="504000"/>
            <a:chOff x="4733970" y="2804650"/>
            <a:chExt cx="4086181" cy="504000"/>
          </a:xfrm>
        </p:grpSpPr>
        <p:sp>
          <p:nvSpPr>
            <p:cNvPr id="61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2804650"/>
              <a:ext cx="3670300" cy="503999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16200000" scaled="0"/>
              <a:tileRect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chemeClr val="bg1"/>
                  </a:solidFill>
                </a:rPr>
                <a:t>3D Spheres </a:t>
              </a:r>
              <a:r>
                <a:rPr lang="en-US" sz="1600" b="1" noProof="1" smtClean="0">
                  <a:solidFill>
                    <a:schemeClr val="bg1"/>
                  </a:solidFill>
                </a:rPr>
                <a:t>Fill </a:t>
              </a:r>
              <a:r>
                <a:rPr lang="en-US" sz="1600" b="1" noProof="1">
                  <a:solidFill>
                    <a:schemeClr val="bg1"/>
                  </a:solidFill>
                </a:rPr>
                <a:t>L</a:t>
              </a:r>
              <a:r>
                <a:rPr lang="en-US" sz="1600" b="1" noProof="1" smtClean="0">
                  <a:solidFill>
                    <a:schemeClr val="bg1"/>
                  </a:solidFill>
                </a:rPr>
                <a:t>evels</a:t>
              </a:r>
              <a:r>
                <a:rPr lang="en-US" sz="1600" b="1" noProof="1">
                  <a:solidFill>
                    <a:schemeClr val="bg1"/>
                  </a:solidFill>
                </a:rPr>
                <a:t>	</a:t>
              </a:r>
            </a:p>
          </p:txBody>
        </p:sp>
        <p:sp>
          <p:nvSpPr>
            <p:cNvPr id="62" name="Rechteck 61"/>
            <p:cNvSpPr/>
            <p:nvPr/>
          </p:nvSpPr>
          <p:spPr>
            <a:xfrm>
              <a:off x="4733970" y="2804651"/>
              <a:ext cx="324000" cy="503999"/>
            </a:xfrm>
            <a:prstGeom prst="rect">
              <a:avLst/>
            </a:pr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rgbClr val="0070C0"/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0</a:t>
              </a:r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4733970" y="3428544"/>
            <a:ext cx="4086181" cy="504000"/>
            <a:chOff x="4733970" y="3428544"/>
            <a:chExt cx="4086181" cy="504000"/>
          </a:xfrm>
        </p:grpSpPr>
        <p:sp>
          <p:nvSpPr>
            <p:cNvPr id="63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3428544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Data-driven Diagrams	</a:t>
              </a:r>
            </a:p>
          </p:txBody>
        </p:sp>
        <p:sp>
          <p:nvSpPr>
            <p:cNvPr id="64" name="Rechteck 63"/>
            <p:cNvSpPr/>
            <p:nvPr/>
          </p:nvSpPr>
          <p:spPr>
            <a:xfrm>
              <a:off x="4733970" y="3428545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1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8" name="Gruppieren 127"/>
          <p:cNvGrpSpPr/>
          <p:nvPr/>
        </p:nvGrpSpPr>
        <p:grpSpPr>
          <a:xfrm>
            <a:off x="4733970" y="4052438"/>
            <a:ext cx="4086181" cy="504000"/>
            <a:chOff x="4733970" y="4052438"/>
            <a:chExt cx="4086181" cy="504000"/>
          </a:xfrm>
        </p:grpSpPr>
        <p:sp>
          <p:nvSpPr>
            <p:cNvPr id="6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4052438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Arrow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Process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66" name="Rechteck 65"/>
            <p:cNvSpPr/>
            <p:nvPr/>
          </p:nvSpPr>
          <p:spPr>
            <a:xfrm>
              <a:off x="4733970" y="4052439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2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9" name="Gruppieren 128"/>
          <p:cNvGrpSpPr/>
          <p:nvPr/>
        </p:nvGrpSpPr>
        <p:grpSpPr>
          <a:xfrm>
            <a:off x="4733970" y="4676332"/>
            <a:ext cx="4086181" cy="504000"/>
            <a:chOff x="4733970" y="4676332"/>
            <a:chExt cx="4086181" cy="504000"/>
          </a:xfrm>
        </p:grpSpPr>
        <p:sp>
          <p:nvSpPr>
            <p:cNvPr id="6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4676332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Circle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Diagram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68" name="Rechteck 67"/>
            <p:cNvSpPr/>
            <p:nvPr/>
          </p:nvSpPr>
          <p:spPr>
            <a:xfrm>
              <a:off x="4733970" y="4676333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3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30" name="Gruppieren 129"/>
          <p:cNvGrpSpPr/>
          <p:nvPr/>
        </p:nvGrpSpPr>
        <p:grpSpPr>
          <a:xfrm>
            <a:off x="4733970" y="5300225"/>
            <a:ext cx="4086181" cy="504000"/>
            <a:chOff x="4733970" y="5300225"/>
            <a:chExt cx="4086181" cy="504000"/>
          </a:xfrm>
        </p:grpSpPr>
        <p:sp>
          <p:nvSpPr>
            <p:cNvPr id="6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5300225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3D Arrows</a:t>
              </a:r>
            </a:p>
          </p:txBody>
        </p:sp>
        <p:sp>
          <p:nvSpPr>
            <p:cNvPr id="70" name="Rechteck 69"/>
            <p:cNvSpPr/>
            <p:nvPr/>
          </p:nvSpPr>
          <p:spPr>
            <a:xfrm>
              <a:off x="4733970" y="5300226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4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siness Starter Package</a:t>
            </a:r>
            <a:endParaRPr lang="en-US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laceholder for your own sub headline</a:t>
            </a:r>
          </a:p>
        </p:txBody>
      </p:sp>
    </p:spTree>
    <p:extLst>
      <p:ext uri="{BB962C8B-B14F-4D97-AF65-F5344CB8AC3E}">
        <p14:creationId xmlns:p14="http://schemas.microsoft.com/office/powerpoint/2010/main" val="2548502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>
                <a:latin typeface="+mn-lt"/>
              </a:rPr>
              <a:t>3D Spheres - Fill Level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Placeholder for your own sub headline</a:t>
            </a:r>
          </a:p>
        </p:txBody>
      </p:sp>
      <p:grpSp>
        <p:nvGrpSpPr>
          <p:cNvPr id="8" name="Gruppieren 7"/>
          <p:cNvGrpSpPr/>
          <p:nvPr/>
        </p:nvGrpSpPr>
        <p:grpSpPr>
          <a:xfrm>
            <a:off x="-954088" y="1506538"/>
            <a:ext cx="9782176" cy="3484563"/>
            <a:chOff x="-954088" y="1506538"/>
            <a:chExt cx="9782176" cy="3484563"/>
          </a:xfrm>
        </p:grpSpPr>
        <p:grpSp>
          <p:nvGrpSpPr>
            <p:cNvPr id="15" name="Group 5"/>
            <p:cNvGrpSpPr>
              <a:grpSpLocks/>
            </p:cNvGrpSpPr>
            <p:nvPr/>
          </p:nvGrpSpPr>
          <p:grpSpPr bwMode="auto">
            <a:xfrm>
              <a:off x="-954088" y="1506538"/>
              <a:ext cx="3048001" cy="3190875"/>
              <a:chOff x="-601" y="729"/>
              <a:chExt cx="1920" cy="2010"/>
            </a:xfrm>
          </p:grpSpPr>
          <p:pic>
            <p:nvPicPr>
              <p:cNvPr id="16" name="Picture 6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-601" y="2367"/>
                <a:ext cx="1920" cy="3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17" name="Group 7"/>
              <p:cNvGrpSpPr>
                <a:grpSpLocks/>
              </p:cNvGrpSpPr>
              <p:nvPr/>
            </p:nvGrpSpPr>
            <p:grpSpPr bwMode="auto">
              <a:xfrm>
                <a:off x="-539" y="729"/>
                <a:ext cx="1784" cy="1784"/>
                <a:chOff x="-539" y="729"/>
                <a:chExt cx="1784" cy="1784"/>
              </a:xfrm>
            </p:grpSpPr>
            <p:sp>
              <p:nvSpPr>
                <p:cNvPr id="18" name="Oval 8"/>
                <p:cNvSpPr>
                  <a:spLocks noChangeArrowheads="1"/>
                </p:cNvSpPr>
                <p:nvPr/>
              </p:nvSpPr>
              <p:spPr bwMode="gray">
                <a:xfrm>
                  <a:off x="-410" y="857"/>
                  <a:ext cx="1531" cy="1531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F1F1F1"/>
                    </a:gs>
                    <a:gs pos="100000">
                      <a:srgbClr val="B2B2B2"/>
                    </a:gs>
                  </a:gsLst>
                  <a:path path="shape">
                    <a:fillToRect l="50000" t="50000" r="50000" b="50000"/>
                  </a:path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12700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19" name="Freeform 9"/>
                <p:cNvSpPr>
                  <a:spLocks/>
                </p:cNvSpPr>
                <p:nvPr/>
              </p:nvSpPr>
              <p:spPr bwMode="gray">
                <a:xfrm>
                  <a:off x="-346" y="1931"/>
                  <a:ext cx="1402" cy="457"/>
                </a:xfrm>
                <a:custGeom>
                  <a:avLst/>
                  <a:gdLst/>
                  <a:ahLst/>
                  <a:cxnLst>
                    <a:cxn ang="0">
                      <a:pos x="465" y="74"/>
                    </a:cxn>
                    <a:cxn ang="0">
                      <a:pos x="0" y="0"/>
                    </a:cxn>
                    <a:cxn ang="0">
                      <a:pos x="465" y="303"/>
                    </a:cxn>
                    <a:cxn ang="0">
                      <a:pos x="930" y="0"/>
                    </a:cxn>
                    <a:cxn ang="0">
                      <a:pos x="465" y="74"/>
                    </a:cxn>
                  </a:cxnLst>
                  <a:rect l="0" t="0" r="r" b="b"/>
                  <a:pathLst>
                    <a:path w="930" h="303">
                      <a:moveTo>
                        <a:pt x="465" y="74"/>
                      </a:moveTo>
                      <a:cubicBezTo>
                        <a:pt x="224" y="74"/>
                        <a:pt x="25" y="41"/>
                        <a:pt x="0" y="0"/>
                      </a:cubicBezTo>
                      <a:cubicBezTo>
                        <a:pt x="79" y="178"/>
                        <a:pt x="258" y="303"/>
                        <a:pt x="465" y="303"/>
                      </a:cubicBezTo>
                      <a:cubicBezTo>
                        <a:pt x="673" y="303"/>
                        <a:pt x="851" y="179"/>
                        <a:pt x="930" y="0"/>
                      </a:cubicBezTo>
                      <a:cubicBezTo>
                        <a:pt x="904" y="42"/>
                        <a:pt x="706" y="74"/>
                        <a:pt x="465" y="74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chemeClr val="tx2"/>
                    </a:gs>
                    <a:gs pos="100000">
                      <a:srgbClr val="0070C0"/>
                    </a:gs>
                  </a:gsLst>
                  <a:lin ang="5400000" scaled="1"/>
                </a:gradFill>
                <a:ln w="1270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de-DE"/>
                </a:p>
              </p:txBody>
            </p:sp>
            <p:pic>
              <p:nvPicPr>
                <p:cNvPr id="20" name="Picture 10"/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gray">
                <a:xfrm>
                  <a:off x="-109" y="882"/>
                  <a:ext cx="934" cy="54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1" name="Freeform 11"/>
                <p:cNvSpPr>
                  <a:spLocks/>
                </p:cNvSpPr>
                <p:nvPr/>
              </p:nvSpPr>
              <p:spPr bwMode="gray">
                <a:xfrm>
                  <a:off x="-350" y="1797"/>
                  <a:ext cx="1411" cy="248"/>
                </a:xfrm>
                <a:custGeom>
                  <a:avLst/>
                  <a:gdLst/>
                  <a:ahLst/>
                  <a:cxnLst>
                    <a:cxn ang="0">
                      <a:pos x="935" y="82"/>
                    </a:cxn>
                    <a:cxn ang="0">
                      <a:pos x="467" y="0"/>
                    </a:cxn>
                    <a:cxn ang="0">
                      <a:pos x="0" y="82"/>
                    </a:cxn>
                    <a:cxn ang="0">
                      <a:pos x="1" y="87"/>
                    </a:cxn>
                    <a:cxn ang="0">
                      <a:pos x="2" y="91"/>
                    </a:cxn>
                    <a:cxn ang="0">
                      <a:pos x="467" y="165"/>
                    </a:cxn>
                    <a:cxn ang="0">
                      <a:pos x="932" y="91"/>
                    </a:cxn>
                    <a:cxn ang="0">
                      <a:pos x="934" y="86"/>
                    </a:cxn>
                    <a:cxn ang="0">
                      <a:pos x="935" y="82"/>
                    </a:cxn>
                  </a:cxnLst>
                  <a:rect l="0" t="0" r="r" b="b"/>
                  <a:pathLst>
                    <a:path w="935" h="165">
                      <a:moveTo>
                        <a:pt x="935" y="82"/>
                      </a:moveTo>
                      <a:cubicBezTo>
                        <a:pt x="935" y="37"/>
                        <a:pt x="726" y="0"/>
                        <a:pt x="467" y="0"/>
                      </a:cubicBezTo>
                      <a:cubicBezTo>
                        <a:pt x="209" y="0"/>
                        <a:pt x="0" y="37"/>
                        <a:pt x="0" y="82"/>
                      </a:cubicBezTo>
                      <a:cubicBezTo>
                        <a:pt x="0" y="84"/>
                        <a:pt x="0" y="85"/>
                        <a:pt x="1" y="87"/>
                      </a:cubicBezTo>
                      <a:cubicBezTo>
                        <a:pt x="1" y="88"/>
                        <a:pt x="2" y="89"/>
                        <a:pt x="2" y="91"/>
                      </a:cubicBezTo>
                      <a:cubicBezTo>
                        <a:pt x="27" y="132"/>
                        <a:pt x="226" y="165"/>
                        <a:pt x="467" y="165"/>
                      </a:cubicBezTo>
                      <a:cubicBezTo>
                        <a:pt x="708" y="165"/>
                        <a:pt x="906" y="133"/>
                        <a:pt x="932" y="91"/>
                      </a:cubicBezTo>
                      <a:cubicBezTo>
                        <a:pt x="933" y="90"/>
                        <a:pt x="934" y="88"/>
                        <a:pt x="934" y="86"/>
                      </a:cubicBezTo>
                      <a:cubicBezTo>
                        <a:pt x="935" y="85"/>
                        <a:pt x="935" y="84"/>
                        <a:pt x="935" y="82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tx2">
                        <a:lumMod val="75000"/>
                      </a:schemeClr>
                    </a:gs>
                    <a:gs pos="100000">
                      <a:srgbClr val="0070C0"/>
                    </a:gs>
                  </a:gsLst>
                  <a:lin ang="0" scaled="0"/>
                  <a:tileRect/>
                </a:gradFill>
                <a:ln w="1270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de-DE"/>
                </a:p>
              </p:txBody>
            </p:sp>
            <p:sp>
              <p:nvSpPr>
                <p:cNvPr id="22" name="Text Box 12"/>
                <p:cNvSpPr txBox="1">
                  <a:spLocks noChangeArrowheads="1"/>
                </p:cNvSpPr>
                <p:nvPr/>
              </p:nvSpPr>
              <p:spPr bwMode="gray">
                <a:xfrm>
                  <a:off x="113" y="1816"/>
                  <a:ext cx="498" cy="38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90000" tIns="90000" rIns="72000" bIns="90000">
                  <a:spAutoFit/>
                </a:bodyPr>
                <a:lstStyle>
                  <a:lvl1pPr marL="177800" indent="-177800" defTabSz="801688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defTabSz="801688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defTabSz="801688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defTabSz="801688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defTabSz="801688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defTabSz="8016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defTabSz="8016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defTabSz="8016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defTabSz="8016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algn="ctr" eaLnBrk="1" hangingPunct="1">
                    <a:spcBef>
                      <a:spcPct val="20000"/>
                    </a:spcBef>
                  </a:pPr>
                  <a:r>
                    <a:rPr lang="de-DE" sz="2800" b="1" noProof="1">
                      <a:solidFill>
                        <a:schemeClr val="bg1"/>
                      </a:solidFill>
                      <a:effectLst>
                        <a:outerShdw blurRad="50800" dist="38100" dir="2700000" algn="tl" rotWithShape="0">
                          <a:prstClr val="black">
                            <a:alpha val="40000"/>
                          </a:prstClr>
                        </a:outerShdw>
                      </a:effectLst>
                      <a:latin typeface="+mn-lt"/>
                    </a:rPr>
                    <a:t>31%</a:t>
                  </a:r>
                </a:p>
              </p:txBody>
            </p:sp>
            <p:sp>
              <p:nvSpPr>
                <p:cNvPr id="23" name="Text Box 13"/>
                <p:cNvSpPr txBox="1">
                  <a:spLocks noChangeArrowheads="1"/>
                </p:cNvSpPr>
                <p:nvPr/>
              </p:nvSpPr>
              <p:spPr bwMode="gray">
                <a:xfrm>
                  <a:off x="114" y="1194"/>
                  <a:ext cx="498" cy="38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90000" tIns="90000" rIns="72000" bIns="90000">
                  <a:spAutoFit/>
                </a:bodyPr>
                <a:lstStyle>
                  <a:lvl1pPr marL="177800" indent="-177800" defTabSz="801688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defTabSz="801688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defTabSz="801688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defTabSz="801688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defTabSz="801688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defTabSz="8016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defTabSz="8016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defTabSz="8016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defTabSz="80168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algn="ctr" eaLnBrk="1" hangingPunct="1">
                    <a:spcBef>
                      <a:spcPct val="20000"/>
                    </a:spcBef>
                  </a:pPr>
                  <a:r>
                    <a:rPr lang="de-DE" sz="2800" b="1" noProof="1">
                      <a:latin typeface="+mn-lt"/>
                    </a:rPr>
                    <a:t>69%</a:t>
                  </a:r>
                </a:p>
              </p:txBody>
            </p:sp>
            <p:sp>
              <p:nvSpPr>
                <p:cNvPr id="24" name="AutoShape 14"/>
                <p:cNvSpPr>
                  <a:spLocks noChangeArrowheads="1"/>
                </p:cNvSpPr>
                <p:nvPr/>
              </p:nvSpPr>
              <p:spPr bwMode="gray">
                <a:xfrm>
                  <a:off x="-539" y="729"/>
                  <a:ext cx="1784" cy="1784"/>
                </a:xfrm>
                <a:custGeom>
                  <a:avLst/>
                  <a:gdLst>
                    <a:gd name="T0" fmla="*/ 6 w 21600"/>
                    <a:gd name="T1" fmla="*/ 0 h 21600"/>
                    <a:gd name="T2" fmla="*/ 2 w 21600"/>
                    <a:gd name="T3" fmla="*/ 2 h 21600"/>
                    <a:gd name="T4" fmla="*/ 0 w 21600"/>
                    <a:gd name="T5" fmla="*/ 6 h 21600"/>
                    <a:gd name="T6" fmla="*/ 2 w 21600"/>
                    <a:gd name="T7" fmla="*/ 10 h 21600"/>
                    <a:gd name="T8" fmla="*/ 6 w 21600"/>
                    <a:gd name="T9" fmla="*/ 12 h 21600"/>
                    <a:gd name="T10" fmla="*/ 10 w 21600"/>
                    <a:gd name="T11" fmla="*/ 10 h 21600"/>
                    <a:gd name="T12" fmla="*/ 12 w 21600"/>
                    <a:gd name="T13" fmla="*/ 6 h 21600"/>
                    <a:gd name="T14" fmla="*/ 10 w 21600"/>
                    <a:gd name="T15" fmla="*/ 2 h 2160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3160 w 21600"/>
                    <a:gd name="T25" fmla="*/ 3160 h 21600"/>
                    <a:gd name="T26" fmla="*/ 18440 w 21600"/>
                    <a:gd name="T27" fmla="*/ 18440 h 21600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1600" h="21600">
                      <a:moveTo>
                        <a:pt x="0" y="10800"/>
                      </a:moveTo>
                      <a:cubicBezTo>
                        <a:pt x="0" y="4835"/>
                        <a:pt x="4835" y="0"/>
                        <a:pt x="10800" y="0"/>
                      </a:cubicBezTo>
                      <a:cubicBezTo>
                        <a:pt x="16765" y="0"/>
                        <a:pt x="21600" y="4835"/>
                        <a:pt x="21600" y="10800"/>
                      </a:cubicBezTo>
                      <a:cubicBezTo>
                        <a:pt x="21600" y="16765"/>
                        <a:pt x="16765" y="21600"/>
                        <a:pt x="10800" y="21600"/>
                      </a:cubicBezTo>
                      <a:cubicBezTo>
                        <a:pt x="4835" y="21600"/>
                        <a:pt x="0" y="16765"/>
                        <a:pt x="0" y="10800"/>
                      </a:cubicBezTo>
                      <a:close/>
                      <a:moveTo>
                        <a:pt x="1608" y="10800"/>
                      </a:moveTo>
                      <a:cubicBezTo>
                        <a:pt x="1608" y="15877"/>
                        <a:pt x="5723" y="19992"/>
                        <a:pt x="10800" y="19992"/>
                      </a:cubicBezTo>
                      <a:cubicBezTo>
                        <a:pt x="15877" y="19992"/>
                        <a:pt x="19992" y="15877"/>
                        <a:pt x="19992" y="10800"/>
                      </a:cubicBezTo>
                      <a:cubicBezTo>
                        <a:pt x="19992" y="5723"/>
                        <a:pt x="15877" y="1608"/>
                        <a:pt x="10800" y="1608"/>
                      </a:cubicBezTo>
                      <a:cubicBezTo>
                        <a:pt x="5723" y="1608"/>
                        <a:pt x="1608" y="5723"/>
                        <a:pt x="1608" y="10800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DDDDDD"/>
                    </a:gs>
                    <a:gs pos="100000">
                      <a:srgbClr val="747474"/>
                    </a:gs>
                  </a:gsLst>
                  <a:lin ang="5400000" scaled="1"/>
                </a:gradFill>
                <a:ln w="12700">
                  <a:solidFill>
                    <a:schemeClr val="bg1"/>
                  </a:solidFill>
                  <a:round/>
                  <a:headEnd/>
                  <a:tailEnd/>
                </a:ln>
                <a:effectLst>
                  <a:reflection blurRad="6350" stA="52000" endA="300" endPos="35000" dir="5400000" sy="-100000" algn="bl" rotWithShape="0"/>
                </a:effectLst>
              </p:spPr>
              <p:txBody>
                <a:bodyPr wrap="none" lIns="90000" tIns="90000" rIns="72000" bIns="9000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7" name="Gruppieren 6"/>
            <p:cNvGrpSpPr/>
            <p:nvPr/>
          </p:nvGrpSpPr>
          <p:grpSpPr>
            <a:xfrm>
              <a:off x="2239963" y="2705100"/>
              <a:ext cx="1452562" cy="1452563"/>
              <a:chOff x="2239963" y="2705100"/>
              <a:chExt cx="1452562" cy="1452563"/>
            </a:xfrm>
            <a:effectLst>
              <a:outerShdw blurRad="254000" dir="18900000" sy="23000" kx="-1200000" algn="bl" rotWithShape="0">
                <a:prstClr val="black">
                  <a:alpha val="20000"/>
                </a:prstClr>
              </a:outerShdw>
              <a:reflection blurRad="6350" stA="52000" endA="300" endPos="35000" dir="5400000" sy="-100000" algn="bl" rotWithShape="0"/>
            </a:effectLst>
          </p:grpSpPr>
          <p:sp>
            <p:nvSpPr>
              <p:cNvPr id="26" name="Oval 17"/>
              <p:cNvSpPr>
                <a:spLocks noChangeArrowheads="1"/>
              </p:cNvSpPr>
              <p:nvPr/>
            </p:nvSpPr>
            <p:spPr bwMode="gray">
              <a:xfrm>
                <a:off x="2239963" y="2705100"/>
                <a:ext cx="1452562" cy="1452563"/>
              </a:xfrm>
              <a:prstGeom prst="ellipse">
                <a:avLst/>
              </a:prstGeom>
              <a:gradFill rotWithShape="1">
                <a:gsLst>
                  <a:gs pos="0">
                    <a:srgbClr val="F1F1F1"/>
                  </a:gs>
                  <a:gs pos="100000">
                    <a:srgbClr val="B2B2B2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7" name="Freeform 18"/>
              <p:cNvSpPr>
                <a:spLocks/>
              </p:cNvSpPr>
              <p:nvPr/>
            </p:nvSpPr>
            <p:spPr bwMode="gray">
              <a:xfrm>
                <a:off x="2300288" y="3724275"/>
                <a:ext cx="1330325" cy="433388"/>
              </a:xfrm>
              <a:custGeom>
                <a:avLst/>
                <a:gdLst>
                  <a:gd name="T0" fmla="*/ 378 w 930"/>
                  <a:gd name="T1" fmla="*/ 60 h 303"/>
                  <a:gd name="T2" fmla="*/ 0 w 930"/>
                  <a:gd name="T3" fmla="*/ 0 h 303"/>
                  <a:gd name="T4" fmla="*/ 378 w 930"/>
                  <a:gd name="T5" fmla="*/ 246 h 303"/>
                  <a:gd name="T6" fmla="*/ 755 w 930"/>
                  <a:gd name="T7" fmla="*/ 0 h 303"/>
                  <a:gd name="T8" fmla="*/ 378 w 930"/>
                  <a:gd name="T9" fmla="*/ 60 h 30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30"/>
                  <a:gd name="T16" fmla="*/ 0 h 303"/>
                  <a:gd name="T17" fmla="*/ 930 w 930"/>
                  <a:gd name="T18" fmla="*/ 303 h 30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30" h="303">
                    <a:moveTo>
                      <a:pt x="465" y="74"/>
                    </a:moveTo>
                    <a:cubicBezTo>
                      <a:pt x="224" y="74"/>
                      <a:pt x="25" y="41"/>
                      <a:pt x="0" y="0"/>
                    </a:cubicBezTo>
                    <a:cubicBezTo>
                      <a:pt x="79" y="178"/>
                      <a:pt x="258" y="303"/>
                      <a:pt x="465" y="303"/>
                    </a:cubicBezTo>
                    <a:cubicBezTo>
                      <a:pt x="673" y="303"/>
                      <a:pt x="851" y="179"/>
                      <a:pt x="930" y="0"/>
                    </a:cubicBezTo>
                    <a:cubicBezTo>
                      <a:pt x="904" y="42"/>
                      <a:pt x="706" y="74"/>
                      <a:pt x="465" y="74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A80404"/>
                  </a:gs>
                  <a:gs pos="100000">
                    <a:srgbClr val="FB7303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pic>
            <p:nvPicPr>
              <p:cNvPr id="28" name="Picture 19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2525713" y="2728913"/>
                <a:ext cx="885825" cy="5143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Freeform 20"/>
              <p:cNvSpPr>
                <a:spLocks/>
              </p:cNvSpPr>
              <p:nvPr/>
            </p:nvSpPr>
            <p:spPr bwMode="gray">
              <a:xfrm>
                <a:off x="2297113" y="3597275"/>
                <a:ext cx="1338262" cy="234950"/>
              </a:xfrm>
              <a:custGeom>
                <a:avLst/>
                <a:gdLst>
                  <a:gd name="T0" fmla="*/ 760 w 935"/>
                  <a:gd name="T1" fmla="*/ 66 h 165"/>
                  <a:gd name="T2" fmla="*/ 380 w 935"/>
                  <a:gd name="T3" fmla="*/ 0 h 165"/>
                  <a:gd name="T4" fmla="*/ 0 w 935"/>
                  <a:gd name="T5" fmla="*/ 66 h 165"/>
                  <a:gd name="T6" fmla="*/ 1 w 935"/>
                  <a:gd name="T7" fmla="*/ 70 h 165"/>
                  <a:gd name="T8" fmla="*/ 2 w 935"/>
                  <a:gd name="T9" fmla="*/ 74 h 165"/>
                  <a:gd name="T10" fmla="*/ 380 w 935"/>
                  <a:gd name="T11" fmla="*/ 133 h 165"/>
                  <a:gd name="T12" fmla="*/ 757 w 935"/>
                  <a:gd name="T13" fmla="*/ 74 h 165"/>
                  <a:gd name="T14" fmla="*/ 759 w 935"/>
                  <a:gd name="T15" fmla="*/ 69 h 165"/>
                  <a:gd name="T16" fmla="*/ 760 w 935"/>
                  <a:gd name="T17" fmla="*/ 66 h 16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935"/>
                  <a:gd name="T28" fmla="*/ 0 h 165"/>
                  <a:gd name="T29" fmla="*/ 935 w 935"/>
                  <a:gd name="T30" fmla="*/ 165 h 16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935" h="165">
                    <a:moveTo>
                      <a:pt x="935" y="82"/>
                    </a:moveTo>
                    <a:cubicBezTo>
                      <a:pt x="935" y="37"/>
                      <a:pt x="726" y="0"/>
                      <a:pt x="467" y="0"/>
                    </a:cubicBezTo>
                    <a:cubicBezTo>
                      <a:pt x="209" y="0"/>
                      <a:pt x="0" y="37"/>
                      <a:pt x="0" y="82"/>
                    </a:cubicBezTo>
                    <a:cubicBezTo>
                      <a:pt x="0" y="84"/>
                      <a:pt x="0" y="85"/>
                      <a:pt x="1" y="87"/>
                    </a:cubicBezTo>
                    <a:cubicBezTo>
                      <a:pt x="1" y="88"/>
                      <a:pt x="2" y="89"/>
                      <a:pt x="2" y="91"/>
                    </a:cubicBezTo>
                    <a:cubicBezTo>
                      <a:pt x="27" y="132"/>
                      <a:pt x="226" y="165"/>
                      <a:pt x="467" y="165"/>
                    </a:cubicBezTo>
                    <a:cubicBezTo>
                      <a:pt x="708" y="165"/>
                      <a:pt x="906" y="133"/>
                      <a:pt x="932" y="91"/>
                    </a:cubicBezTo>
                    <a:cubicBezTo>
                      <a:pt x="933" y="90"/>
                      <a:pt x="934" y="88"/>
                      <a:pt x="934" y="86"/>
                    </a:cubicBezTo>
                    <a:cubicBezTo>
                      <a:pt x="935" y="85"/>
                      <a:pt x="935" y="84"/>
                      <a:pt x="935" y="82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5F0202"/>
                  </a:gs>
                  <a:gs pos="100000">
                    <a:srgbClr val="C40505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0" name="Text Box 21"/>
              <p:cNvSpPr txBox="1">
                <a:spLocks noChangeArrowheads="1"/>
              </p:cNvSpPr>
              <p:nvPr/>
            </p:nvSpPr>
            <p:spPr bwMode="gray">
              <a:xfrm>
                <a:off x="2644775" y="3568700"/>
                <a:ext cx="654050" cy="5207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90000" rIns="72000" bIns="90000">
                <a:spAutoFit/>
              </a:bodyPr>
              <a:lstStyle>
                <a:lvl1pPr marL="177800" indent="-1778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algn="ctr" eaLnBrk="1" hangingPunct="1">
                  <a:spcBef>
                    <a:spcPct val="20000"/>
                  </a:spcBef>
                </a:pPr>
                <a:r>
                  <a:rPr lang="de-DE" sz="2200" b="1" noProof="1">
                    <a:solidFill>
                      <a:schemeClr val="bg1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  <a:latin typeface="+mn-lt"/>
                  </a:rPr>
                  <a:t>31%</a:t>
                </a:r>
              </a:p>
            </p:txBody>
          </p:sp>
          <p:sp>
            <p:nvSpPr>
              <p:cNvPr id="31" name="Text Box 22"/>
              <p:cNvSpPr txBox="1">
                <a:spLocks noChangeArrowheads="1"/>
              </p:cNvSpPr>
              <p:nvPr/>
            </p:nvSpPr>
            <p:spPr bwMode="gray">
              <a:xfrm>
                <a:off x="2689225" y="2970213"/>
                <a:ext cx="565150" cy="4587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90000" rIns="72000" bIns="90000">
                <a:spAutoFit/>
              </a:bodyPr>
              <a:lstStyle>
                <a:lvl1pPr marL="177800" indent="-1778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algn="ctr" eaLnBrk="1" hangingPunct="1">
                  <a:spcBef>
                    <a:spcPct val="20000"/>
                  </a:spcBef>
                </a:pPr>
                <a:r>
                  <a:rPr lang="de-DE" b="1" noProof="1">
                    <a:latin typeface="+mn-lt"/>
                  </a:rPr>
                  <a:t>69%</a:t>
                </a:r>
              </a:p>
            </p:txBody>
          </p:sp>
        </p:grpSp>
        <p:sp>
          <p:nvSpPr>
            <p:cNvPr id="32" name="Text Box 23"/>
            <p:cNvSpPr txBox="1">
              <a:spLocks noChangeArrowheads="1"/>
            </p:cNvSpPr>
            <p:nvPr/>
          </p:nvSpPr>
          <p:spPr bwMode="gray">
            <a:xfrm>
              <a:off x="2495784" y="4532313"/>
              <a:ext cx="901700" cy="458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spcBef>
                  <a:spcPct val="20000"/>
                </a:spcBef>
              </a:pPr>
              <a:r>
                <a:rPr lang="de-DE" b="1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rPr>
                <a:t>Phase 1</a:t>
              </a:r>
              <a:endParaRPr lang="de-DE" sz="1400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endParaRPr>
            </a:p>
          </p:txBody>
        </p:sp>
        <p:grpSp>
          <p:nvGrpSpPr>
            <p:cNvPr id="6" name="Gruppieren 5"/>
            <p:cNvGrpSpPr/>
            <p:nvPr/>
          </p:nvGrpSpPr>
          <p:grpSpPr>
            <a:xfrm>
              <a:off x="3949700" y="2705100"/>
              <a:ext cx="1454150" cy="1452563"/>
              <a:chOff x="3949700" y="2705100"/>
              <a:chExt cx="1454150" cy="1452563"/>
            </a:xfrm>
            <a:effectLst>
              <a:outerShdw blurRad="254000" dir="18900000" sy="23000" kx="-1200000" algn="bl" rotWithShape="0">
                <a:prstClr val="black">
                  <a:alpha val="20000"/>
                </a:prstClr>
              </a:outerShdw>
              <a:reflection blurRad="6350" stA="52000" endA="300" endPos="35000" dir="5400000" sy="-100000" algn="bl" rotWithShape="0"/>
            </a:effectLst>
          </p:grpSpPr>
          <p:sp>
            <p:nvSpPr>
              <p:cNvPr id="35" name="Oval 26"/>
              <p:cNvSpPr>
                <a:spLocks noChangeArrowheads="1"/>
              </p:cNvSpPr>
              <p:nvPr/>
            </p:nvSpPr>
            <p:spPr bwMode="gray">
              <a:xfrm>
                <a:off x="3949700" y="2705100"/>
                <a:ext cx="1454150" cy="1452563"/>
              </a:xfrm>
              <a:prstGeom prst="ellipse">
                <a:avLst/>
              </a:prstGeom>
              <a:gradFill rotWithShape="1">
                <a:gsLst>
                  <a:gs pos="0">
                    <a:srgbClr val="F1F1F1"/>
                  </a:gs>
                  <a:gs pos="100000">
                    <a:srgbClr val="B2B2B2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6" name="Freeform 27"/>
              <p:cNvSpPr>
                <a:spLocks/>
              </p:cNvSpPr>
              <p:nvPr/>
            </p:nvSpPr>
            <p:spPr bwMode="gray">
              <a:xfrm>
                <a:off x="3949700" y="3430588"/>
                <a:ext cx="1454150" cy="727075"/>
              </a:xfrm>
              <a:custGeom>
                <a:avLst/>
                <a:gdLst>
                  <a:gd name="T0" fmla="*/ 825 w 1016"/>
                  <a:gd name="T1" fmla="*/ 6 h 508"/>
                  <a:gd name="T2" fmla="*/ 824 w 1016"/>
                  <a:gd name="T3" fmla="*/ 8 h 508"/>
                  <a:gd name="T4" fmla="*/ 413 w 1016"/>
                  <a:gd name="T5" fmla="*/ 92 h 508"/>
                  <a:gd name="T6" fmla="*/ 2 w 1016"/>
                  <a:gd name="T7" fmla="*/ 8 h 508"/>
                  <a:gd name="T8" fmla="*/ 1 w 1016"/>
                  <a:gd name="T9" fmla="*/ 6 h 508"/>
                  <a:gd name="T10" fmla="*/ 0 w 1016"/>
                  <a:gd name="T11" fmla="*/ 0 h 508"/>
                  <a:gd name="T12" fmla="*/ 413 w 1016"/>
                  <a:gd name="T13" fmla="*/ 413 h 508"/>
                  <a:gd name="T14" fmla="*/ 826 w 1016"/>
                  <a:gd name="T15" fmla="*/ 1 h 508"/>
                  <a:gd name="T16" fmla="*/ 825 w 1016"/>
                  <a:gd name="T17" fmla="*/ 6 h 50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016"/>
                  <a:gd name="T28" fmla="*/ 0 h 508"/>
                  <a:gd name="T29" fmla="*/ 1016 w 1016"/>
                  <a:gd name="T30" fmla="*/ 508 h 50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016" h="508">
                    <a:moveTo>
                      <a:pt x="1015" y="8"/>
                    </a:moveTo>
                    <a:cubicBezTo>
                      <a:pt x="1014" y="9"/>
                      <a:pt x="1014" y="9"/>
                      <a:pt x="1014" y="10"/>
                    </a:cubicBezTo>
                    <a:cubicBezTo>
                      <a:pt x="992" y="68"/>
                      <a:pt x="774" y="113"/>
                      <a:pt x="508" y="113"/>
                    </a:cubicBezTo>
                    <a:cubicBezTo>
                      <a:pt x="242" y="113"/>
                      <a:pt x="24" y="68"/>
                      <a:pt x="2" y="10"/>
                    </a:cubicBezTo>
                    <a:cubicBezTo>
                      <a:pt x="2" y="9"/>
                      <a:pt x="2" y="9"/>
                      <a:pt x="1" y="8"/>
                    </a:cubicBezTo>
                    <a:cubicBezTo>
                      <a:pt x="1" y="6"/>
                      <a:pt x="0" y="3"/>
                      <a:pt x="0" y="0"/>
                    </a:cubicBezTo>
                    <a:cubicBezTo>
                      <a:pt x="0" y="281"/>
                      <a:pt x="228" y="508"/>
                      <a:pt x="508" y="508"/>
                    </a:cubicBezTo>
                    <a:cubicBezTo>
                      <a:pt x="788" y="508"/>
                      <a:pt x="1015" y="281"/>
                      <a:pt x="1016" y="1"/>
                    </a:cubicBezTo>
                    <a:cubicBezTo>
                      <a:pt x="1016" y="4"/>
                      <a:pt x="1015" y="6"/>
                      <a:pt x="1015" y="8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A80404"/>
                  </a:gs>
                  <a:gs pos="100000">
                    <a:srgbClr val="FB7303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pic>
            <p:nvPicPr>
              <p:cNvPr id="37" name="Picture 28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233863" y="2728913"/>
                <a:ext cx="885825" cy="5143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8" name="Freeform 29"/>
              <p:cNvSpPr>
                <a:spLocks/>
              </p:cNvSpPr>
              <p:nvPr/>
            </p:nvSpPr>
            <p:spPr bwMode="gray">
              <a:xfrm>
                <a:off x="3949700" y="3273425"/>
                <a:ext cx="1454150" cy="322263"/>
              </a:xfrm>
              <a:custGeom>
                <a:avLst/>
                <a:gdLst>
                  <a:gd name="T0" fmla="*/ 2 w 1016"/>
                  <a:gd name="T1" fmla="*/ 99 h 225"/>
                  <a:gd name="T2" fmla="*/ 413 w 1016"/>
                  <a:gd name="T3" fmla="*/ 183 h 225"/>
                  <a:gd name="T4" fmla="*/ 824 w 1016"/>
                  <a:gd name="T5" fmla="*/ 99 h 225"/>
                  <a:gd name="T6" fmla="*/ 825 w 1016"/>
                  <a:gd name="T7" fmla="*/ 97 h 225"/>
                  <a:gd name="T8" fmla="*/ 826 w 1016"/>
                  <a:gd name="T9" fmla="*/ 92 h 225"/>
                  <a:gd name="T10" fmla="*/ 826 w 1016"/>
                  <a:gd name="T11" fmla="*/ 91 h 225"/>
                  <a:gd name="T12" fmla="*/ 826 w 1016"/>
                  <a:gd name="T13" fmla="*/ 90 h 225"/>
                  <a:gd name="T14" fmla="*/ 413 w 1016"/>
                  <a:gd name="T15" fmla="*/ 0 h 225"/>
                  <a:gd name="T16" fmla="*/ 0 w 1016"/>
                  <a:gd name="T17" fmla="*/ 91 h 225"/>
                  <a:gd name="T18" fmla="*/ 0 w 1016"/>
                  <a:gd name="T19" fmla="*/ 91 h 225"/>
                  <a:gd name="T20" fmla="*/ 1 w 1016"/>
                  <a:gd name="T21" fmla="*/ 97 h 225"/>
                  <a:gd name="T22" fmla="*/ 2 w 1016"/>
                  <a:gd name="T23" fmla="*/ 99 h 22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016"/>
                  <a:gd name="T37" fmla="*/ 0 h 225"/>
                  <a:gd name="T38" fmla="*/ 1016 w 1016"/>
                  <a:gd name="T39" fmla="*/ 225 h 22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016" h="225">
                    <a:moveTo>
                      <a:pt x="2" y="122"/>
                    </a:moveTo>
                    <a:cubicBezTo>
                      <a:pt x="24" y="180"/>
                      <a:pt x="242" y="225"/>
                      <a:pt x="508" y="225"/>
                    </a:cubicBezTo>
                    <a:cubicBezTo>
                      <a:pt x="774" y="225"/>
                      <a:pt x="992" y="180"/>
                      <a:pt x="1014" y="122"/>
                    </a:cubicBezTo>
                    <a:cubicBezTo>
                      <a:pt x="1014" y="121"/>
                      <a:pt x="1014" y="121"/>
                      <a:pt x="1015" y="120"/>
                    </a:cubicBezTo>
                    <a:cubicBezTo>
                      <a:pt x="1015" y="118"/>
                      <a:pt x="1016" y="116"/>
                      <a:pt x="1016" y="113"/>
                    </a:cubicBezTo>
                    <a:cubicBezTo>
                      <a:pt x="1016" y="113"/>
                      <a:pt x="1016" y="113"/>
                      <a:pt x="1016" y="112"/>
                    </a:cubicBezTo>
                    <a:cubicBezTo>
                      <a:pt x="1016" y="112"/>
                      <a:pt x="1016" y="111"/>
                      <a:pt x="1016" y="111"/>
                    </a:cubicBezTo>
                    <a:cubicBezTo>
                      <a:pt x="1013" y="49"/>
                      <a:pt x="786" y="0"/>
                      <a:pt x="508" y="0"/>
                    </a:cubicBezTo>
                    <a:cubicBezTo>
                      <a:pt x="228" y="0"/>
                      <a:pt x="0" y="50"/>
                      <a:pt x="0" y="112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0" y="115"/>
                      <a:pt x="1" y="118"/>
                      <a:pt x="1" y="120"/>
                    </a:cubicBezTo>
                    <a:cubicBezTo>
                      <a:pt x="2" y="121"/>
                      <a:pt x="2" y="121"/>
                      <a:pt x="2" y="122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5F0202"/>
                  </a:gs>
                  <a:gs pos="100000">
                    <a:srgbClr val="C40505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9" name="Text Box 30"/>
              <p:cNvSpPr txBox="1">
                <a:spLocks noChangeArrowheads="1"/>
              </p:cNvSpPr>
              <p:nvPr/>
            </p:nvSpPr>
            <p:spPr bwMode="gray">
              <a:xfrm>
                <a:off x="4364038" y="3349625"/>
                <a:ext cx="654050" cy="5207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90000" rIns="72000" bIns="90000">
                <a:spAutoFit/>
              </a:bodyPr>
              <a:lstStyle>
                <a:lvl1pPr marL="177800" indent="-1778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algn="ctr" eaLnBrk="1" hangingPunct="1">
                  <a:spcBef>
                    <a:spcPct val="20000"/>
                  </a:spcBef>
                </a:pPr>
                <a:r>
                  <a:rPr lang="de-DE" sz="2200" b="1" noProof="1">
                    <a:solidFill>
                      <a:schemeClr val="bg1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  <a:latin typeface="+mn-lt"/>
                  </a:rPr>
                  <a:t>52%</a:t>
                </a:r>
              </a:p>
            </p:txBody>
          </p:sp>
          <p:sp>
            <p:nvSpPr>
              <p:cNvPr id="40" name="Text Box 31"/>
              <p:cNvSpPr txBox="1">
                <a:spLocks noChangeArrowheads="1"/>
              </p:cNvSpPr>
              <p:nvPr/>
            </p:nvSpPr>
            <p:spPr bwMode="gray">
              <a:xfrm>
                <a:off x="4408488" y="2846388"/>
                <a:ext cx="565150" cy="4587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90000" rIns="72000" bIns="90000">
                <a:spAutoFit/>
              </a:bodyPr>
              <a:lstStyle>
                <a:lvl1pPr marL="177800" indent="-1778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algn="ctr" eaLnBrk="1" hangingPunct="1">
                  <a:spcBef>
                    <a:spcPct val="20000"/>
                  </a:spcBef>
                </a:pPr>
                <a:r>
                  <a:rPr lang="de-DE" b="1" noProof="1">
                    <a:latin typeface="+mn-lt"/>
                  </a:rPr>
                  <a:t>48%</a:t>
                </a:r>
              </a:p>
            </p:txBody>
          </p:sp>
        </p:grpSp>
        <p:sp>
          <p:nvSpPr>
            <p:cNvPr id="41" name="Text Box 32"/>
            <p:cNvSpPr txBox="1">
              <a:spLocks noChangeArrowheads="1"/>
            </p:cNvSpPr>
            <p:nvPr/>
          </p:nvSpPr>
          <p:spPr bwMode="gray">
            <a:xfrm>
              <a:off x="4218515" y="4532313"/>
              <a:ext cx="901700" cy="458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spcBef>
                  <a:spcPct val="20000"/>
                </a:spcBef>
              </a:pPr>
              <a:r>
                <a:rPr lang="de-DE" b="1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rPr>
                <a:t>Phase 2</a:t>
              </a:r>
              <a:endParaRPr lang="de-DE" sz="1400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endParaRPr>
            </a:p>
          </p:txBody>
        </p:sp>
        <p:grpSp>
          <p:nvGrpSpPr>
            <p:cNvPr id="5" name="Gruppieren 4"/>
            <p:cNvGrpSpPr/>
            <p:nvPr/>
          </p:nvGrpSpPr>
          <p:grpSpPr>
            <a:xfrm>
              <a:off x="5661025" y="2667000"/>
              <a:ext cx="1454150" cy="1492251"/>
              <a:chOff x="5661025" y="2667000"/>
              <a:chExt cx="1454150" cy="1492251"/>
            </a:xfrm>
            <a:effectLst>
              <a:outerShdw blurRad="254000" dir="18900000" sy="23000" kx="-1200000" algn="bl" rotWithShape="0">
                <a:prstClr val="black">
                  <a:alpha val="20000"/>
                </a:prstClr>
              </a:outerShdw>
              <a:reflection blurRad="6350" stA="52000" endA="300" endPos="35000" dir="5400000" sy="-100000" algn="bl" rotWithShape="0"/>
            </a:effectLst>
          </p:grpSpPr>
          <p:sp>
            <p:nvSpPr>
              <p:cNvPr id="44" name="Oval 35"/>
              <p:cNvSpPr>
                <a:spLocks noChangeArrowheads="1"/>
              </p:cNvSpPr>
              <p:nvPr/>
            </p:nvSpPr>
            <p:spPr bwMode="gray">
              <a:xfrm>
                <a:off x="5661025" y="2706688"/>
                <a:ext cx="1454150" cy="1452563"/>
              </a:xfrm>
              <a:prstGeom prst="ellipse">
                <a:avLst/>
              </a:prstGeom>
              <a:gradFill rotWithShape="1">
                <a:gsLst>
                  <a:gs pos="0">
                    <a:srgbClr val="F1F1F1"/>
                  </a:gs>
                  <a:gs pos="100000">
                    <a:srgbClr val="B2B2B2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5" name="Freeform 36"/>
              <p:cNvSpPr>
                <a:spLocks/>
              </p:cNvSpPr>
              <p:nvPr/>
            </p:nvSpPr>
            <p:spPr bwMode="gray">
              <a:xfrm>
                <a:off x="5661025" y="3143250"/>
                <a:ext cx="1454150" cy="1016000"/>
              </a:xfrm>
              <a:custGeom>
                <a:avLst/>
                <a:gdLst>
                  <a:gd name="T0" fmla="*/ 792 w 1016"/>
                  <a:gd name="T1" fmla="*/ 1 h 709"/>
                  <a:gd name="T2" fmla="*/ 792 w 1016"/>
                  <a:gd name="T3" fmla="*/ 5 h 709"/>
                  <a:gd name="T4" fmla="*/ 413 w 1016"/>
                  <a:gd name="T5" fmla="*/ 71 h 709"/>
                  <a:gd name="T6" fmla="*/ 33 w 1016"/>
                  <a:gd name="T7" fmla="*/ 5 h 709"/>
                  <a:gd name="T8" fmla="*/ 34 w 1016"/>
                  <a:gd name="T9" fmla="*/ 0 h 709"/>
                  <a:gd name="T10" fmla="*/ 0 w 1016"/>
                  <a:gd name="T11" fmla="*/ 164 h 709"/>
                  <a:gd name="T12" fmla="*/ 413 w 1016"/>
                  <a:gd name="T13" fmla="*/ 578 h 709"/>
                  <a:gd name="T14" fmla="*/ 826 w 1016"/>
                  <a:gd name="T15" fmla="*/ 164 h 709"/>
                  <a:gd name="T16" fmla="*/ 792 w 1016"/>
                  <a:gd name="T17" fmla="*/ 1 h 70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016"/>
                  <a:gd name="T28" fmla="*/ 0 h 709"/>
                  <a:gd name="T29" fmla="*/ 1016 w 1016"/>
                  <a:gd name="T30" fmla="*/ 709 h 70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016" h="709">
                    <a:moveTo>
                      <a:pt x="975" y="1"/>
                    </a:moveTo>
                    <a:cubicBezTo>
                      <a:pt x="975" y="2"/>
                      <a:pt x="975" y="4"/>
                      <a:pt x="975" y="5"/>
                    </a:cubicBezTo>
                    <a:cubicBezTo>
                      <a:pt x="975" y="51"/>
                      <a:pt x="766" y="88"/>
                      <a:pt x="508" y="88"/>
                    </a:cubicBezTo>
                    <a:cubicBezTo>
                      <a:pt x="250" y="88"/>
                      <a:pt x="41" y="51"/>
                      <a:pt x="41" y="5"/>
                    </a:cubicBezTo>
                    <a:cubicBezTo>
                      <a:pt x="41" y="4"/>
                      <a:pt x="41" y="2"/>
                      <a:pt x="42" y="0"/>
                    </a:cubicBezTo>
                    <a:cubicBezTo>
                      <a:pt x="15" y="62"/>
                      <a:pt x="0" y="130"/>
                      <a:pt x="0" y="202"/>
                    </a:cubicBezTo>
                    <a:cubicBezTo>
                      <a:pt x="0" y="482"/>
                      <a:pt x="228" y="709"/>
                      <a:pt x="508" y="709"/>
                    </a:cubicBezTo>
                    <a:cubicBezTo>
                      <a:pt x="789" y="709"/>
                      <a:pt x="1016" y="482"/>
                      <a:pt x="1016" y="202"/>
                    </a:cubicBezTo>
                    <a:cubicBezTo>
                      <a:pt x="1016" y="130"/>
                      <a:pt x="1001" y="62"/>
                      <a:pt x="975" y="1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A80404"/>
                  </a:gs>
                  <a:gs pos="100000">
                    <a:srgbClr val="FB7303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6" name="Freeform 37"/>
              <p:cNvSpPr>
                <a:spLocks/>
              </p:cNvSpPr>
              <p:nvPr/>
            </p:nvSpPr>
            <p:spPr bwMode="gray">
              <a:xfrm>
                <a:off x="5719763" y="3036888"/>
                <a:ext cx="1336675" cy="236538"/>
              </a:xfrm>
              <a:custGeom>
                <a:avLst/>
                <a:gdLst>
                  <a:gd name="T0" fmla="*/ 380 w 934"/>
                  <a:gd name="T1" fmla="*/ 135 h 165"/>
                  <a:gd name="T2" fmla="*/ 759 w 934"/>
                  <a:gd name="T3" fmla="*/ 67 h 165"/>
                  <a:gd name="T4" fmla="*/ 759 w 934"/>
                  <a:gd name="T5" fmla="*/ 63 h 165"/>
                  <a:gd name="T6" fmla="*/ 757 w 934"/>
                  <a:gd name="T7" fmla="*/ 61 h 165"/>
                  <a:gd name="T8" fmla="*/ 380 w 934"/>
                  <a:gd name="T9" fmla="*/ 0 h 165"/>
                  <a:gd name="T10" fmla="*/ 2 w 934"/>
                  <a:gd name="T11" fmla="*/ 61 h 165"/>
                  <a:gd name="T12" fmla="*/ 1 w 934"/>
                  <a:gd name="T13" fmla="*/ 63 h 165"/>
                  <a:gd name="T14" fmla="*/ 0 w 934"/>
                  <a:gd name="T15" fmla="*/ 67 h 165"/>
                  <a:gd name="T16" fmla="*/ 380 w 934"/>
                  <a:gd name="T17" fmla="*/ 135 h 16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934"/>
                  <a:gd name="T28" fmla="*/ 0 h 165"/>
                  <a:gd name="T29" fmla="*/ 934 w 934"/>
                  <a:gd name="T30" fmla="*/ 165 h 16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934" h="165">
                    <a:moveTo>
                      <a:pt x="467" y="165"/>
                    </a:moveTo>
                    <a:cubicBezTo>
                      <a:pt x="725" y="165"/>
                      <a:pt x="934" y="128"/>
                      <a:pt x="934" y="82"/>
                    </a:cubicBezTo>
                    <a:cubicBezTo>
                      <a:pt x="934" y="81"/>
                      <a:pt x="934" y="79"/>
                      <a:pt x="934" y="78"/>
                    </a:cubicBezTo>
                    <a:cubicBezTo>
                      <a:pt x="933" y="77"/>
                      <a:pt x="933" y="75"/>
                      <a:pt x="932" y="74"/>
                    </a:cubicBezTo>
                    <a:cubicBezTo>
                      <a:pt x="908" y="32"/>
                      <a:pt x="709" y="0"/>
                      <a:pt x="467" y="0"/>
                    </a:cubicBezTo>
                    <a:cubicBezTo>
                      <a:pt x="224" y="0"/>
                      <a:pt x="25" y="33"/>
                      <a:pt x="2" y="75"/>
                    </a:cubicBezTo>
                    <a:cubicBezTo>
                      <a:pt x="2" y="76"/>
                      <a:pt x="1" y="76"/>
                      <a:pt x="1" y="77"/>
                    </a:cubicBezTo>
                    <a:cubicBezTo>
                      <a:pt x="0" y="79"/>
                      <a:pt x="0" y="81"/>
                      <a:pt x="0" y="82"/>
                    </a:cubicBezTo>
                    <a:cubicBezTo>
                      <a:pt x="0" y="128"/>
                      <a:pt x="209" y="165"/>
                      <a:pt x="467" y="165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5F0202"/>
                  </a:gs>
                  <a:gs pos="100000">
                    <a:srgbClr val="C40505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pic>
            <p:nvPicPr>
              <p:cNvPr id="47" name="Picture 38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5945188" y="2724150"/>
                <a:ext cx="885825" cy="5143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8" name="Text Box 39"/>
              <p:cNvSpPr txBox="1">
                <a:spLocks noChangeArrowheads="1"/>
              </p:cNvSpPr>
              <p:nvPr/>
            </p:nvSpPr>
            <p:spPr bwMode="gray">
              <a:xfrm>
                <a:off x="6067425" y="3236913"/>
                <a:ext cx="654050" cy="5207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90000" rIns="72000" bIns="90000">
                <a:spAutoFit/>
              </a:bodyPr>
              <a:lstStyle>
                <a:lvl1pPr marL="177800" indent="-1778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algn="ctr" eaLnBrk="1" hangingPunct="1">
                  <a:spcBef>
                    <a:spcPct val="20000"/>
                  </a:spcBef>
                </a:pPr>
                <a:r>
                  <a:rPr lang="de-DE" sz="2200" b="1" noProof="1">
                    <a:solidFill>
                      <a:schemeClr val="bg1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  <a:latin typeface="+mn-lt"/>
                  </a:rPr>
                  <a:t>73%</a:t>
                </a:r>
              </a:p>
            </p:txBody>
          </p:sp>
          <p:sp>
            <p:nvSpPr>
              <p:cNvPr id="49" name="Text Box 40"/>
              <p:cNvSpPr txBox="1">
                <a:spLocks noChangeArrowheads="1"/>
              </p:cNvSpPr>
              <p:nvPr/>
            </p:nvSpPr>
            <p:spPr bwMode="gray">
              <a:xfrm>
                <a:off x="6111875" y="2667000"/>
                <a:ext cx="565150" cy="4587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90000" rIns="72000" bIns="90000">
                <a:spAutoFit/>
              </a:bodyPr>
              <a:lstStyle>
                <a:lvl1pPr marL="177800" indent="-1778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algn="ctr" eaLnBrk="1" hangingPunct="1">
                  <a:spcBef>
                    <a:spcPct val="20000"/>
                  </a:spcBef>
                </a:pPr>
                <a:r>
                  <a:rPr lang="de-DE" b="1" noProof="1">
                    <a:latin typeface="+mn-lt"/>
                  </a:rPr>
                  <a:t>27%</a:t>
                </a:r>
              </a:p>
            </p:txBody>
          </p:sp>
        </p:grpSp>
        <p:sp>
          <p:nvSpPr>
            <p:cNvPr id="50" name="Text Box 41"/>
            <p:cNvSpPr txBox="1">
              <a:spLocks noChangeArrowheads="1"/>
            </p:cNvSpPr>
            <p:nvPr/>
          </p:nvSpPr>
          <p:spPr bwMode="gray">
            <a:xfrm>
              <a:off x="5924784" y="4494213"/>
              <a:ext cx="901700" cy="458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spcBef>
                  <a:spcPct val="20000"/>
                </a:spcBef>
              </a:pPr>
              <a:r>
                <a:rPr lang="de-DE" b="1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rPr>
                <a:t>Phase 3</a:t>
              </a:r>
              <a:endParaRPr lang="de-DE" sz="1400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endParaRPr>
            </a:p>
          </p:txBody>
        </p:sp>
        <p:grpSp>
          <p:nvGrpSpPr>
            <p:cNvPr id="4" name="Gruppieren 3"/>
            <p:cNvGrpSpPr/>
            <p:nvPr/>
          </p:nvGrpSpPr>
          <p:grpSpPr>
            <a:xfrm>
              <a:off x="7373938" y="2705100"/>
              <a:ext cx="1454150" cy="1452563"/>
              <a:chOff x="7373938" y="2705100"/>
              <a:chExt cx="1454150" cy="1452563"/>
            </a:xfrm>
            <a:effectLst>
              <a:outerShdw blurRad="254000" dir="18900000" sy="23000" kx="-1200000" algn="bl" rotWithShape="0">
                <a:prstClr val="black">
                  <a:alpha val="20000"/>
                </a:prstClr>
              </a:outerShdw>
              <a:reflection blurRad="6350" stA="52000" endA="300" endPos="35000" dir="5400000" sy="-100000" algn="bl" rotWithShape="0"/>
            </a:effectLst>
          </p:grpSpPr>
          <p:sp>
            <p:nvSpPr>
              <p:cNvPr id="53" name="Oval 44"/>
              <p:cNvSpPr>
                <a:spLocks noChangeArrowheads="1"/>
              </p:cNvSpPr>
              <p:nvPr/>
            </p:nvSpPr>
            <p:spPr bwMode="gray">
              <a:xfrm>
                <a:off x="7373938" y="2705100"/>
                <a:ext cx="1454150" cy="1452563"/>
              </a:xfrm>
              <a:prstGeom prst="ellipse">
                <a:avLst/>
              </a:prstGeom>
              <a:gradFill rotWithShape="1">
                <a:gsLst>
                  <a:gs pos="0">
                    <a:srgbClr val="A80404"/>
                  </a:gs>
                  <a:gs pos="100000">
                    <a:srgbClr val="FB7303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pic>
            <p:nvPicPr>
              <p:cNvPr id="54" name="Picture 45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7658101" y="2725738"/>
                <a:ext cx="885825" cy="5143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55" name="Text Box 46"/>
              <p:cNvSpPr txBox="1">
                <a:spLocks noChangeArrowheads="1"/>
              </p:cNvSpPr>
              <p:nvPr/>
            </p:nvSpPr>
            <p:spPr bwMode="gray">
              <a:xfrm>
                <a:off x="7716838" y="3159125"/>
                <a:ext cx="796925" cy="5207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90000" rIns="72000" bIns="90000">
                <a:spAutoFit/>
              </a:bodyPr>
              <a:lstStyle>
                <a:lvl1pPr marL="177800" indent="-1778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algn="ctr" eaLnBrk="1" hangingPunct="1">
                  <a:spcBef>
                    <a:spcPct val="20000"/>
                  </a:spcBef>
                </a:pPr>
                <a:r>
                  <a:rPr lang="de-DE" sz="2200" b="1" noProof="1">
                    <a:solidFill>
                      <a:schemeClr val="bg1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  <a:latin typeface="+mn-lt"/>
                  </a:rPr>
                  <a:t>100%</a:t>
                </a:r>
              </a:p>
            </p:txBody>
          </p:sp>
        </p:grpSp>
        <p:sp>
          <p:nvSpPr>
            <p:cNvPr id="56" name="Text Box 47"/>
            <p:cNvSpPr txBox="1">
              <a:spLocks noChangeArrowheads="1"/>
            </p:cNvSpPr>
            <p:nvPr/>
          </p:nvSpPr>
          <p:spPr bwMode="gray">
            <a:xfrm>
              <a:off x="7650103" y="4532313"/>
              <a:ext cx="901700" cy="458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spcBef>
                  <a:spcPct val="20000"/>
                </a:spcBef>
              </a:pPr>
              <a:r>
                <a:rPr lang="de-DE" b="1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rPr>
                <a:t>Phase 4</a:t>
              </a:r>
              <a:endParaRPr lang="de-DE" sz="1400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9400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3D Spheres - Fill Level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Placeholder for your own sub headline</a:t>
            </a:r>
          </a:p>
        </p:txBody>
      </p:sp>
      <p:grpSp>
        <p:nvGrpSpPr>
          <p:cNvPr id="4" name="Gruppieren 3"/>
          <p:cNvGrpSpPr/>
          <p:nvPr/>
        </p:nvGrpSpPr>
        <p:grpSpPr>
          <a:xfrm>
            <a:off x="333375" y="1546225"/>
            <a:ext cx="1454150" cy="1839537"/>
            <a:chOff x="333375" y="1546225"/>
            <a:chExt cx="1454150" cy="1839537"/>
          </a:xfrm>
        </p:grpSpPr>
        <p:grpSp>
          <p:nvGrpSpPr>
            <p:cNvPr id="43" name="Gruppieren 42"/>
            <p:cNvGrpSpPr/>
            <p:nvPr/>
          </p:nvGrpSpPr>
          <p:grpSpPr>
            <a:xfrm>
              <a:off x="333375" y="1546225"/>
              <a:ext cx="1454150" cy="1452563"/>
              <a:chOff x="333375" y="1546225"/>
              <a:chExt cx="1454150" cy="1452563"/>
            </a:xfrm>
            <a:effectLst>
              <a:reflection blurRad="6350" stA="52000" endA="300" endPos="35000" dir="5400000" sy="-100000" algn="bl" rotWithShape="0"/>
            </a:effectLst>
          </p:grpSpPr>
          <p:sp>
            <p:nvSpPr>
              <p:cNvPr id="16" name="_color1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33375" y="1546225"/>
                <a:ext cx="1454150" cy="1452563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chemeClr val="accent1">
                      <a:lumMod val="40000"/>
                      <a:lumOff val="6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</a:pPr>
                <a:endParaRPr lang="en-GB"/>
              </a:p>
            </p:txBody>
          </p:sp>
          <p:sp>
            <p:nvSpPr>
              <p:cNvPr id="18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638175" y="2862263"/>
                <a:ext cx="844550" cy="1365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95" y="95"/>
                  </a:cxn>
                  <a:cxn ang="0">
                    <a:pos x="590" y="1"/>
                  </a:cxn>
                  <a:cxn ang="0">
                    <a:pos x="295" y="37"/>
                  </a:cxn>
                  <a:cxn ang="0">
                    <a:pos x="0" y="0"/>
                  </a:cxn>
                </a:cxnLst>
                <a:rect l="0" t="0" r="r" b="b"/>
                <a:pathLst>
                  <a:path w="590" h="95">
                    <a:moveTo>
                      <a:pt x="0" y="0"/>
                    </a:moveTo>
                    <a:cubicBezTo>
                      <a:pt x="83" y="60"/>
                      <a:pt x="185" y="95"/>
                      <a:pt x="295" y="95"/>
                    </a:cubicBezTo>
                    <a:cubicBezTo>
                      <a:pt x="405" y="95"/>
                      <a:pt x="507" y="60"/>
                      <a:pt x="590" y="1"/>
                    </a:cubicBezTo>
                    <a:cubicBezTo>
                      <a:pt x="557" y="21"/>
                      <a:pt x="437" y="37"/>
                      <a:pt x="295" y="37"/>
                    </a:cubicBezTo>
                    <a:cubicBezTo>
                      <a:pt x="152" y="37"/>
                      <a:pt x="32" y="21"/>
                      <a:pt x="0" y="0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tx2"/>
                  </a:gs>
                  <a:gs pos="100000">
                    <a:srgbClr val="0070C0"/>
                  </a:gs>
                </a:gsLst>
                <a:lin ang="5400000" scaled="1"/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625475" y="2778125"/>
                <a:ext cx="869950" cy="138113"/>
              </a:xfrm>
              <a:custGeom>
                <a:avLst/>
                <a:gdLst/>
                <a:ahLst/>
                <a:cxnLst>
                  <a:cxn ang="0">
                    <a:pos x="607" y="51"/>
                  </a:cxn>
                  <a:cxn ang="0">
                    <a:pos x="608" y="48"/>
                  </a:cxn>
                  <a:cxn ang="0">
                    <a:pos x="304" y="0"/>
                  </a:cxn>
                  <a:cxn ang="0">
                    <a:pos x="0" y="48"/>
                  </a:cxn>
                  <a:cxn ang="0">
                    <a:pos x="1" y="51"/>
                  </a:cxn>
                  <a:cxn ang="0">
                    <a:pos x="1" y="52"/>
                  </a:cxn>
                  <a:cxn ang="0">
                    <a:pos x="5" y="57"/>
                  </a:cxn>
                  <a:cxn ang="0">
                    <a:pos x="9" y="59"/>
                  </a:cxn>
                  <a:cxn ang="0">
                    <a:pos x="304" y="96"/>
                  </a:cxn>
                  <a:cxn ang="0">
                    <a:pos x="599" y="60"/>
                  </a:cxn>
                  <a:cxn ang="0">
                    <a:pos x="603" y="56"/>
                  </a:cxn>
                  <a:cxn ang="0">
                    <a:pos x="607" y="52"/>
                  </a:cxn>
                  <a:cxn ang="0">
                    <a:pos x="607" y="51"/>
                  </a:cxn>
                </a:cxnLst>
                <a:rect l="0" t="0" r="r" b="b"/>
                <a:pathLst>
                  <a:path w="608" h="96">
                    <a:moveTo>
                      <a:pt x="607" y="51"/>
                    </a:moveTo>
                    <a:cubicBezTo>
                      <a:pt x="608" y="50"/>
                      <a:pt x="608" y="49"/>
                      <a:pt x="608" y="48"/>
                    </a:cubicBezTo>
                    <a:cubicBezTo>
                      <a:pt x="608" y="22"/>
                      <a:pt x="472" y="0"/>
                      <a:pt x="304" y="0"/>
                    </a:cubicBezTo>
                    <a:cubicBezTo>
                      <a:pt x="136" y="0"/>
                      <a:pt x="0" y="22"/>
                      <a:pt x="0" y="48"/>
                    </a:cubicBezTo>
                    <a:cubicBezTo>
                      <a:pt x="0" y="49"/>
                      <a:pt x="0" y="50"/>
                      <a:pt x="1" y="51"/>
                    </a:cubicBezTo>
                    <a:cubicBezTo>
                      <a:pt x="1" y="52"/>
                      <a:pt x="1" y="52"/>
                      <a:pt x="1" y="52"/>
                    </a:cubicBezTo>
                    <a:cubicBezTo>
                      <a:pt x="2" y="54"/>
                      <a:pt x="3" y="55"/>
                      <a:pt x="5" y="57"/>
                    </a:cubicBezTo>
                    <a:cubicBezTo>
                      <a:pt x="6" y="58"/>
                      <a:pt x="7" y="58"/>
                      <a:pt x="9" y="59"/>
                    </a:cubicBezTo>
                    <a:cubicBezTo>
                      <a:pt x="41" y="80"/>
                      <a:pt x="161" y="96"/>
                      <a:pt x="304" y="96"/>
                    </a:cubicBezTo>
                    <a:cubicBezTo>
                      <a:pt x="446" y="96"/>
                      <a:pt x="566" y="80"/>
                      <a:pt x="599" y="60"/>
                    </a:cubicBezTo>
                    <a:cubicBezTo>
                      <a:pt x="600" y="59"/>
                      <a:pt x="602" y="58"/>
                      <a:pt x="603" y="56"/>
                    </a:cubicBezTo>
                    <a:cubicBezTo>
                      <a:pt x="605" y="55"/>
                      <a:pt x="606" y="54"/>
                      <a:pt x="607" y="52"/>
                    </a:cubicBezTo>
                    <a:cubicBezTo>
                      <a:pt x="607" y="52"/>
                      <a:pt x="607" y="52"/>
                      <a:pt x="607" y="5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tx2">
                      <a:lumMod val="75000"/>
                    </a:schemeClr>
                  </a:gs>
                  <a:gs pos="100000">
                    <a:srgbClr val="0070C0"/>
                  </a:gs>
                </a:gsLst>
                <a:lin ang="0" scaled="0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pic>
            <p:nvPicPr>
              <p:cNvPr id="20" name="_effect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gray">
              <a:xfrm>
                <a:off x="615950" y="1570038"/>
                <a:ext cx="885825" cy="514350"/>
              </a:xfrm>
              <a:prstGeom prst="rect">
                <a:avLst/>
              </a:prstGeom>
              <a:noFill/>
            </p:spPr>
          </p:pic>
        </p:grpSp>
        <p:sp>
          <p:nvSpPr>
            <p:cNvPr id="21" name="Text Box 61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851334" y="3122613"/>
              <a:ext cx="402353" cy="2631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177800" indent="-177800" algn="ctr" defTabSz="801688">
                <a:lnSpc>
                  <a:spcPct val="95000"/>
                </a:lnSpc>
                <a:spcBef>
                  <a:spcPct val="20000"/>
                </a:spcBef>
                <a:spcAft>
                  <a:spcPts val="800"/>
                </a:spcAft>
              </a:pPr>
              <a:r>
                <a:rPr lang="en-GB" b="1" noProof="1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10%</a:t>
              </a:r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2092976" y="1546225"/>
            <a:ext cx="1454150" cy="1839537"/>
            <a:chOff x="2092976" y="1546225"/>
            <a:chExt cx="1454150" cy="1839537"/>
          </a:xfrm>
        </p:grpSpPr>
        <p:grpSp>
          <p:nvGrpSpPr>
            <p:cNvPr id="40" name="Gruppieren 39"/>
            <p:cNvGrpSpPr/>
            <p:nvPr/>
          </p:nvGrpSpPr>
          <p:grpSpPr>
            <a:xfrm>
              <a:off x="2092976" y="1546225"/>
              <a:ext cx="1454150" cy="1452563"/>
              <a:chOff x="2092976" y="1546225"/>
              <a:chExt cx="1454150" cy="1452563"/>
            </a:xfrm>
            <a:effectLst>
              <a:reflection blurRad="6350" stA="52000" endA="300" endPos="35000" dir="5400000" sy="-100000" algn="bl" rotWithShape="0"/>
            </a:effectLst>
          </p:grpSpPr>
          <p:sp>
            <p:nvSpPr>
              <p:cNvPr id="23" name="_color1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2092976" y="1546225"/>
                <a:ext cx="1454150" cy="1452563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chemeClr val="accent1">
                      <a:lumMod val="40000"/>
                      <a:lumOff val="6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</a:pPr>
                <a:endParaRPr lang="en-GB"/>
              </a:p>
            </p:txBody>
          </p:sp>
          <p:sp>
            <p:nvSpPr>
              <p:cNvPr id="24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2245376" y="2716213"/>
                <a:ext cx="1149350" cy="282575"/>
              </a:xfrm>
              <a:custGeom>
                <a:avLst/>
                <a:gdLst/>
                <a:ahLst/>
                <a:cxnLst>
                  <a:cxn ang="0">
                    <a:pos x="401" y="62"/>
                  </a:cxn>
                  <a:cxn ang="0">
                    <a:pos x="0" y="0"/>
                  </a:cxn>
                  <a:cxn ang="0">
                    <a:pos x="401" y="197"/>
                  </a:cxn>
                  <a:cxn ang="0">
                    <a:pos x="803" y="0"/>
                  </a:cxn>
                  <a:cxn ang="0">
                    <a:pos x="401" y="62"/>
                  </a:cxn>
                </a:cxnLst>
                <a:rect l="0" t="0" r="r" b="b"/>
                <a:pathLst>
                  <a:path w="803" h="197">
                    <a:moveTo>
                      <a:pt x="401" y="62"/>
                    </a:moveTo>
                    <a:cubicBezTo>
                      <a:pt x="197" y="62"/>
                      <a:pt x="28" y="35"/>
                      <a:pt x="0" y="0"/>
                    </a:cubicBezTo>
                    <a:cubicBezTo>
                      <a:pt x="93" y="120"/>
                      <a:pt x="238" y="197"/>
                      <a:pt x="401" y="197"/>
                    </a:cubicBezTo>
                    <a:cubicBezTo>
                      <a:pt x="565" y="197"/>
                      <a:pt x="710" y="120"/>
                      <a:pt x="803" y="0"/>
                    </a:cubicBezTo>
                    <a:cubicBezTo>
                      <a:pt x="776" y="35"/>
                      <a:pt x="607" y="62"/>
                      <a:pt x="401" y="62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tx2"/>
                  </a:gs>
                  <a:gs pos="100000">
                    <a:srgbClr val="0070C0"/>
                  </a:gs>
                </a:gsLst>
                <a:lin ang="5400000" scaled="1"/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pic>
            <p:nvPicPr>
              <p:cNvPr id="25" name="_effect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gray">
              <a:xfrm>
                <a:off x="2377139" y="1570038"/>
                <a:ext cx="885825" cy="514350"/>
              </a:xfrm>
              <a:prstGeom prst="rect">
                <a:avLst/>
              </a:prstGeom>
              <a:noFill/>
            </p:spPr>
          </p:pic>
          <p:sp>
            <p:nvSpPr>
              <p:cNvPr id="27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2240614" y="2601913"/>
                <a:ext cx="1160463" cy="206375"/>
              </a:xfrm>
              <a:custGeom>
                <a:avLst/>
                <a:gdLst/>
                <a:ahLst/>
                <a:cxnLst>
                  <a:cxn ang="0">
                    <a:pos x="405" y="144"/>
                  </a:cxn>
                  <a:cxn ang="0">
                    <a:pos x="807" y="82"/>
                  </a:cxn>
                  <a:cxn ang="0">
                    <a:pos x="807" y="82"/>
                  </a:cxn>
                  <a:cxn ang="0">
                    <a:pos x="809" y="78"/>
                  </a:cxn>
                  <a:cxn ang="0">
                    <a:pos x="810" y="77"/>
                  </a:cxn>
                  <a:cxn ang="0">
                    <a:pos x="811" y="72"/>
                  </a:cxn>
                  <a:cxn ang="0">
                    <a:pos x="405" y="0"/>
                  </a:cxn>
                  <a:cxn ang="0">
                    <a:pos x="0" y="72"/>
                  </a:cxn>
                  <a:cxn ang="0">
                    <a:pos x="1" y="77"/>
                  </a:cxn>
                  <a:cxn ang="0">
                    <a:pos x="1" y="78"/>
                  </a:cxn>
                  <a:cxn ang="0">
                    <a:pos x="3" y="81"/>
                  </a:cxn>
                  <a:cxn ang="0">
                    <a:pos x="4" y="82"/>
                  </a:cxn>
                  <a:cxn ang="0">
                    <a:pos x="405" y="144"/>
                  </a:cxn>
                </a:cxnLst>
                <a:rect l="0" t="0" r="r" b="b"/>
                <a:pathLst>
                  <a:path w="811" h="144">
                    <a:moveTo>
                      <a:pt x="405" y="144"/>
                    </a:moveTo>
                    <a:cubicBezTo>
                      <a:pt x="611" y="144"/>
                      <a:pt x="780" y="117"/>
                      <a:pt x="807" y="82"/>
                    </a:cubicBezTo>
                    <a:cubicBezTo>
                      <a:pt x="807" y="82"/>
                      <a:pt x="807" y="82"/>
                      <a:pt x="807" y="82"/>
                    </a:cubicBezTo>
                    <a:cubicBezTo>
                      <a:pt x="808" y="81"/>
                      <a:pt x="809" y="79"/>
                      <a:pt x="809" y="78"/>
                    </a:cubicBezTo>
                    <a:cubicBezTo>
                      <a:pt x="809" y="78"/>
                      <a:pt x="809" y="78"/>
                      <a:pt x="810" y="77"/>
                    </a:cubicBezTo>
                    <a:cubicBezTo>
                      <a:pt x="810" y="76"/>
                      <a:pt x="811" y="74"/>
                      <a:pt x="811" y="72"/>
                    </a:cubicBezTo>
                    <a:cubicBezTo>
                      <a:pt x="811" y="32"/>
                      <a:pt x="629" y="0"/>
                      <a:pt x="405" y="0"/>
                    </a:cubicBezTo>
                    <a:cubicBezTo>
                      <a:pt x="181" y="0"/>
                      <a:pt x="0" y="32"/>
                      <a:pt x="0" y="72"/>
                    </a:cubicBezTo>
                    <a:cubicBezTo>
                      <a:pt x="0" y="74"/>
                      <a:pt x="0" y="75"/>
                      <a:pt x="1" y="77"/>
                    </a:cubicBezTo>
                    <a:cubicBezTo>
                      <a:pt x="1" y="78"/>
                      <a:pt x="1" y="78"/>
                      <a:pt x="1" y="78"/>
                    </a:cubicBezTo>
                    <a:cubicBezTo>
                      <a:pt x="2" y="79"/>
                      <a:pt x="2" y="80"/>
                      <a:pt x="3" y="81"/>
                    </a:cubicBezTo>
                    <a:cubicBezTo>
                      <a:pt x="3" y="82"/>
                      <a:pt x="4" y="82"/>
                      <a:pt x="4" y="82"/>
                    </a:cubicBezTo>
                    <a:cubicBezTo>
                      <a:pt x="32" y="117"/>
                      <a:pt x="201" y="144"/>
                      <a:pt x="405" y="14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tx2">
                      <a:lumMod val="75000"/>
                    </a:schemeClr>
                  </a:gs>
                  <a:gs pos="100000">
                    <a:srgbClr val="0070C0"/>
                  </a:gs>
                </a:gsLst>
                <a:lin ang="0" scaled="0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28" name="Text Box 62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2615698" y="3122613"/>
              <a:ext cx="402353" cy="2631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177800" indent="-177800" algn="ctr" defTabSz="801688">
                <a:lnSpc>
                  <a:spcPct val="95000"/>
                </a:lnSpc>
                <a:spcBef>
                  <a:spcPct val="20000"/>
                </a:spcBef>
                <a:spcAft>
                  <a:spcPts val="800"/>
                </a:spcAft>
              </a:pPr>
              <a:r>
                <a:rPr lang="en-GB" b="1" noProof="1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20%</a:t>
              </a:r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3852577" y="1546225"/>
            <a:ext cx="1452562" cy="1839537"/>
            <a:chOff x="3852577" y="1546225"/>
            <a:chExt cx="1452562" cy="1839537"/>
          </a:xfrm>
        </p:grpSpPr>
        <p:grpSp>
          <p:nvGrpSpPr>
            <p:cNvPr id="36" name="Gruppieren 35"/>
            <p:cNvGrpSpPr/>
            <p:nvPr/>
          </p:nvGrpSpPr>
          <p:grpSpPr>
            <a:xfrm>
              <a:off x="3852577" y="1546225"/>
              <a:ext cx="1452562" cy="1452563"/>
              <a:chOff x="3852577" y="1546225"/>
              <a:chExt cx="1452562" cy="1452563"/>
            </a:xfrm>
            <a:effectLst>
              <a:reflection blurRad="6350" stA="52000" endA="300" endPos="35000" dir="5400000" sy="-100000" algn="bl" rotWithShape="0"/>
            </a:effectLst>
          </p:grpSpPr>
          <p:sp>
            <p:nvSpPr>
              <p:cNvPr id="30" name="_color1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852577" y="1546225"/>
                <a:ext cx="1452562" cy="1452563"/>
              </a:xfrm>
              <a:prstGeom prst="ellipse">
                <a:avLst/>
              </a:prstGeom>
              <a:gradFill rotWithShape="1">
                <a:gsLst>
                  <a:gs pos="0">
                    <a:srgbClr val="B2B2B2">
                      <a:gamma/>
                      <a:tint val="18039"/>
                      <a:invGamma/>
                    </a:srgbClr>
                  </a:gs>
                  <a:gs pos="100000">
                    <a:schemeClr val="accent1">
                      <a:lumMod val="40000"/>
                      <a:lumOff val="6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</a:pPr>
                <a:endParaRPr lang="en-GB"/>
              </a:p>
            </p:txBody>
          </p:sp>
          <p:sp>
            <p:nvSpPr>
              <p:cNvPr id="31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912902" y="2565400"/>
                <a:ext cx="1330325" cy="433388"/>
              </a:xfrm>
              <a:custGeom>
                <a:avLst/>
                <a:gdLst/>
                <a:ahLst/>
                <a:cxnLst>
                  <a:cxn ang="0">
                    <a:pos x="465" y="74"/>
                  </a:cxn>
                  <a:cxn ang="0">
                    <a:pos x="0" y="0"/>
                  </a:cxn>
                  <a:cxn ang="0">
                    <a:pos x="465" y="303"/>
                  </a:cxn>
                  <a:cxn ang="0">
                    <a:pos x="930" y="0"/>
                  </a:cxn>
                  <a:cxn ang="0">
                    <a:pos x="465" y="74"/>
                  </a:cxn>
                </a:cxnLst>
                <a:rect l="0" t="0" r="r" b="b"/>
                <a:pathLst>
                  <a:path w="930" h="303">
                    <a:moveTo>
                      <a:pt x="465" y="74"/>
                    </a:moveTo>
                    <a:cubicBezTo>
                      <a:pt x="224" y="74"/>
                      <a:pt x="25" y="41"/>
                      <a:pt x="0" y="0"/>
                    </a:cubicBezTo>
                    <a:cubicBezTo>
                      <a:pt x="79" y="178"/>
                      <a:pt x="258" y="303"/>
                      <a:pt x="465" y="303"/>
                    </a:cubicBezTo>
                    <a:cubicBezTo>
                      <a:pt x="673" y="303"/>
                      <a:pt x="851" y="179"/>
                      <a:pt x="930" y="0"/>
                    </a:cubicBezTo>
                    <a:cubicBezTo>
                      <a:pt x="904" y="42"/>
                      <a:pt x="706" y="74"/>
                      <a:pt x="465" y="74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tx2"/>
                  </a:gs>
                  <a:gs pos="100000">
                    <a:srgbClr val="0070C0"/>
                  </a:gs>
                </a:gsLst>
                <a:lin ang="5400000" scaled="1"/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pic>
            <p:nvPicPr>
              <p:cNvPr id="32" name="_effect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gray">
              <a:xfrm>
                <a:off x="4138327" y="1570038"/>
                <a:ext cx="885825" cy="514350"/>
              </a:xfrm>
              <a:prstGeom prst="rect">
                <a:avLst/>
              </a:prstGeom>
              <a:noFill/>
            </p:spPr>
          </p:pic>
          <p:sp>
            <p:nvSpPr>
              <p:cNvPr id="34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924299" y="2453903"/>
                <a:ext cx="1316831" cy="231187"/>
              </a:xfrm>
              <a:custGeom>
                <a:avLst/>
                <a:gdLst/>
                <a:ahLst/>
                <a:cxnLst>
                  <a:cxn ang="0">
                    <a:pos x="935" y="82"/>
                  </a:cxn>
                  <a:cxn ang="0">
                    <a:pos x="467" y="0"/>
                  </a:cxn>
                  <a:cxn ang="0">
                    <a:pos x="0" y="82"/>
                  </a:cxn>
                  <a:cxn ang="0">
                    <a:pos x="1" y="87"/>
                  </a:cxn>
                  <a:cxn ang="0">
                    <a:pos x="2" y="91"/>
                  </a:cxn>
                  <a:cxn ang="0">
                    <a:pos x="467" y="165"/>
                  </a:cxn>
                  <a:cxn ang="0">
                    <a:pos x="932" y="91"/>
                  </a:cxn>
                  <a:cxn ang="0">
                    <a:pos x="934" y="86"/>
                  </a:cxn>
                  <a:cxn ang="0">
                    <a:pos x="935" y="82"/>
                  </a:cxn>
                </a:cxnLst>
                <a:rect l="0" t="0" r="r" b="b"/>
                <a:pathLst>
                  <a:path w="935" h="165">
                    <a:moveTo>
                      <a:pt x="935" y="82"/>
                    </a:moveTo>
                    <a:cubicBezTo>
                      <a:pt x="935" y="37"/>
                      <a:pt x="726" y="0"/>
                      <a:pt x="467" y="0"/>
                    </a:cubicBezTo>
                    <a:cubicBezTo>
                      <a:pt x="209" y="0"/>
                      <a:pt x="0" y="37"/>
                      <a:pt x="0" y="82"/>
                    </a:cubicBezTo>
                    <a:cubicBezTo>
                      <a:pt x="0" y="84"/>
                      <a:pt x="0" y="85"/>
                      <a:pt x="1" y="87"/>
                    </a:cubicBezTo>
                    <a:cubicBezTo>
                      <a:pt x="1" y="88"/>
                      <a:pt x="2" y="89"/>
                      <a:pt x="2" y="91"/>
                    </a:cubicBezTo>
                    <a:cubicBezTo>
                      <a:pt x="27" y="132"/>
                      <a:pt x="226" y="165"/>
                      <a:pt x="467" y="165"/>
                    </a:cubicBezTo>
                    <a:cubicBezTo>
                      <a:pt x="708" y="165"/>
                      <a:pt x="906" y="133"/>
                      <a:pt x="932" y="91"/>
                    </a:cubicBezTo>
                    <a:cubicBezTo>
                      <a:pt x="933" y="90"/>
                      <a:pt x="934" y="88"/>
                      <a:pt x="934" y="86"/>
                    </a:cubicBezTo>
                    <a:cubicBezTo>
                      <a:pt x="935" y="85"/>
                      <a:pt x="935" y="84"/>
                      <a:pt x="935" y="8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tx2">
                      <a:lumMod val="75000"/>
                    </a:schemeClr>
                  </a:gs>
                  <a:gs pos="100000">
                    <a:srgbClr val="0070C0"/>
                  </a:gs>
                </a:gsLst>
                <a:lin ang="0" scaled="0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35" name="Text Box 63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4386411" y="3122613"/>
              <a:ext cx="402353" cy="2631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177800" indent="-177800" algn="ctr" defTabSz="801688">
                <a:lnSpc>
                  <a:spcPct val="95000"/>
                </a:lnSpc>
                <a:spcBef>
                  <a:spcPct val="20000"/>
                </a:spcBef>
                <a:spcAft>
                  <a:spcPts val="800"/>
                </a:spcAft>
              </a:pPr>
              <a:r>
                <a:rPr lang="en-GB" b="1" noProof="1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30%</a:t>
              </a:r>
            </a:p>
          </p:txBody>
        </p:sp>
      </p:grpSp>
      <p:grpSp>
        <p:nvGrpSpPr>
          <p:cNvPr id="7" name="Gruppieren 6"/>
          <p:cNvGrpSpPr/>
          <p:nvPr/>
        </p:nvGrpSpPr>
        <p:grpSpPr>
          <a:xfrm>
            <a:off x="5610590" y="1546225"/>
            <a:ext cx="1452563" cy="1839537"/>
            <a:chOff x="5610590" y="1546225"/>
            <a:chExt cx="1452563" cy="1839537"/>
          </a:xfrm>
        </p:grpSpPr>
        <p:grpSp>
          <p:nvGrpSpPr>
            <p:cNvPr id="33" name="Gruppieren 32"/>
            <p:cNvGrpSpPr/>
            <p:nvPr/>
          </p:nvGrpSpPr>
          <p:grpSpPr>
            <a:xfrm>
              <a:off x="5610590" y="1546225"/>
              <a:ext cx="1452563" cy="1452563"/>
              <a:chOff x="5610590" y="1546225"/>
              <a:chExt cx="1452563" cy="1452563"/>
            </a:xfrm>
            <a:effectLst>
              <a:reflection blurRad="6350" stA="52000" endA="300" endPos="35000" dir="5400000" sy="-100000" algn="bl" rotWithShape="0"/>
            </a:effectLst>
          </p:grpSpPr>
          <p:sp>
            <p:nvSpPr>
              <p:cNvPr id="37" name="_color1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5610590" y="1546225"/>
                <a:ext cx="1452563" cy="1452563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chemeClr val="accent1">
                      <a:lumMod val="40000"/>
                      <a:lumOff val="6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</a:pPr>
                <a:endParaRPr lang="en-GB"/>
              </a:p>
            </p:txBody>
          </p:sp>
          <p:sp>
            <p:nvSpPr>
              <p:cNvPr id="38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5626465" y="2424113"/>
                <a:ext cx="1420813" cy="574675"/>
              </a:xfrm>
              <a:custGeom>
                <a:avLst/>
                <a:gdLst/>
                <a:ahLst/>
                <a:cxnLst>
                  <a:cxn ang="0">
                    <a:pos x="496" y="9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496" y="402"/>
                  </a:cxn>
                  <a:cxn ang="0">
                    <a:pos x="993" y="1"/>
                  </a:cxn>
                  <a:cxn ang="0">
                    <a:pos x="992" y="2"/>
                  </a:cxn>
                  <a:cxn ang="0">
                    <a:pos x="496" y="94"/>
                  </a:cxn>
                </a:cxnLst>
                <a:rect l="0" t="0" r="r" b="b"/>
                <a:pathLst>
                  <a:path w="993" h="402">
                    <a:moveTo>
                      <a:pt x="496" y="94"/>
                    </a:moveTo>
                    <a:cubicBezTo>
                      <a:pt x="236" y="94"/>
                      <a:pt x="22" y="54"/>
                      <a:pt x="0" y="2"/>
                    </a:cubicBezTo>
                    <a:cubicBezTo>
                      <a:pt x="0" y="2"/>
                      <a:pt x="0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8" y="230"/>
                      <a:pt x="252" y="402"/>
                      <a:pt x="496" y="402"/>
                    </a:cubicBezTo>
                    <a:cubicBezTo>
                      <a:pt x="740" y="402"/>
                      <a:pt x="944" y="230"/>
                      <a:pt x="993" y="1"/>
                    </a:cubicBezTo>
                    <a:cubicBezTo>
                      <a:pt x="993" y="1"/>
                      <a:pt x="993" y="2"/>
                      <a:pt x="992" y="2"/>
                    </a:cubicBezTo>
                    <a:cubicBezTo>
                      <a:pt x="971" y="54"/>
                      <a:pt x="757" y="94"/>
                      <a:pt x="496" y="94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tx2"/>
                  </a:gs>
                  <a:gs pos="100000">
                    <a:srgbClr val="0070C0"/>
                  </a:gs>
                </a:gsLst>
                <a:lin ang="5400000" scaled="1"/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pic>
            <p:nvPicPr>
              <p:cNvPr id="39" name="_effect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gray">
              <a:xfrm>
                <a:off x="5894753" y="1570038"/>
                <a:ext cx="885825" cy="514350"/>
              </a:xfrm>
              <a:prstGeom prst="rect">
                <a:avLst/>
              </a:prstGeom>
              <a:noFill/>
            </p:spPr>
          </p:pic>
          <p:sp>
            <p:nvSpPr>
              <p:cNvPr id="41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5624878" y="2282009"/>
                <a:ext cx="1423988" cy="287338"/>
              </a:xfrm>
              <a:custGeom>
                <a:avLst/>
                <a:gdLst/>
                <a:ahLst/>
                <a:cxnLst>
                  <a:cxn ang="0">
                    <a:pos x="995" y="100"/>
                  </a:cxn>
                  <a:cxn ang="0">
                    <a:pos x="497" y="0"/>
                  </a:cxn>
                  <a:cxn ang="0">
                    <a:pos x="0" y="100"/>
                  </a:cxn>
                  <a:cxn ang="0">
                    <a:pos x="0" y="103"/>
                  </a:cxn>
                  <a:cxn ang="0">
                    <a:pos x="1" y="107"/>
                  </a:cxn>
                  <a:cxn ang="0">
                    <a:pos x="1" y="107"/>
                  </a:cxn>
                  <a:cxn ang="0">
                    <a:pos x="1" y="109"/>
                  </a:cxn>
                  <a:cxn ang="0">
                    <a:pos x="497" y="201"/>
                  </a:cxn>
                  <a:cxn ang="0">
                    <a:pos x="993" y="109"/>
                  </a:cxn>
                  <a:cxn ang="0">
                    <a:pos x="994" y="108"/>
                  </a:cxn>
                  <a:cxn ang="0">
                    <a:pos x="995" y="102"/>
                  </a:cxn>
                  <a:cxn ang="0">
                    <a:pos x="995" y="100"/>
                  </a:cxn>
                </a:cxnLst>
                <a:rect l="0" t="0" r="r" b="b"/>
                <a:pathLst>
                  <a:path w="995" h="201">
                    <a:moveTo>
                      <a:pt x="995" y="100"/>
                    </a:moveTo>
                    <a:cubicBezTo>
                      <a:pt x="995" y="45"/>
                      <a:pt x="772" y="0"/>
                      <a:pt x="497" y="0"/>
                    </a:cubicBezTo>
                    <a:cubicBezTo>
                      <a:pt x="222" y="0"/>
                      <a:pt x="0" y="45"/>
                      <a:pt x="0" y="100"/>
                    </a:cubicBezTo>
                    <a:cubicBezTo>
                      <a:pt x="0" y="101"/>
                      <a:pt x="0" y="102"/>
                      <a:pt x="0" y="103"/>
                    </a:cubicBezTo>
                    <a:cubicBezTo>
                      <a:pt x="0" y="104"/>
                      <a:pt x="0" y="105"/>
                      <a:pt x="1" y="107"/>
                    </a:cubicBezTo>
                    <a:cubicBezTo>
                      <a:pt x="1" y="107"/>
                      <a:pt x="1" y="107"/>
                      <a:pt x="1" y="107"/>
                    </a:cubicBezTo>
                    <a:cubicBezTo>
                      <a:pt x="1" y="108"/>
                      <a:pt x="1" y="109"/>
                      <a:pt x="1" y="109"/>
                    </a:cubicBezTo>
                    <a:cubicBezTo>
                      <a:pt x="23" y="161"/>
                      <a:pt x="237" y="201"/>
                      <a:pt x="497" y="201"/>
                    </a:cubicBezTo>
                    <a:cubicBezTo>
                      <a:pt x="758" y="201"/>
                      <a:pt x="972" y="161"/>
                      <a:pt x="993" y="109"/>
                    </a:cubicBezTo>
                    <a:cubicBezTo>
                      <a:pt x="994" y="109"/>
                      <a:pt x="994" y="108"/>
                      <a:pt x="994" y="108"/>
                    </a:cubicBezTo>
                    <a:cubicBezTo>
                      <a:pt x="994" y="106"/>
                      <a:pt x="995" y="104"/>
                      <a:pt x="995" y="102"/>
                    </a:cubicBezTo>
                    <a:cubicBezTo>
                      <a:pt x="995" y="102"/>
                      <a:pt x="995" y="101"/>
                      <a:pt x="995" y="10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tx2">
                      <a:lumMod val="75000"/>
                    </a:schemeClr>
                  </a:gs>
                  <a:gs pos="100000">
                    <a:srgbClr val="0070C0"/>
                  </a:gs>
                </a:gsLst>
                <a:lin ang="0" scaled="0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42" name="Text Box 64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6134899" y="3122613"/>
              <a:ext cx="402354" cy="2631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177800" indent="-177800" algn="ctr" defTabSz="801688">
                <a:lnSpc>
                  <a:spcPct val="95000"/>
                </a:lnSpc>
                <a:spcBef>
                  <a:spcPct val="20000"/>
                </a:spcBef>
                <a:spcAft>
                  <a:spcPts val="800"/>
                </a:spcAft>
              </a:pPr>
              <a:r>
                <a:rPr lang="en-GB" b="1" noProof="1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40%</a:t>
              </a:r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7368604" y="1546225"/>
            <a:ext cx="1454150" cy="1839537"/>
            <a:chOff x="7368604" y="1546225"/>
            <a:chExt cx="1454150" cy="1839537"/>
          </a:xfrm>
        </p:grpSpPr>
        <p:grpSp>
          <p:nvGrpSpPr>
            <p:cNvPr id="29" name="Gruppieren 28"/>
            <p:cNvGrpSpPr/>
            <p:nvPr/>
          </p:nvGrpSpPr>
          <p:grpSpPr>
            <a:xfrm>
              <a:off x="7368604" y="1546225"/>
              <a:ext cx="1454150" cy="1452563"/>
              <a:chOff x="7368604" y="1546225"/>
              <a:chExt cx="1454150" cy="1452563"/>
            </a:xfrm>
            <a:effectLst>
              <a:reflection blurRad="6350" stA="52000" endA="300" endPos="35000" dir="5400000" sy="-100000" algn="bl" rotWithShape="0"/>
            </a:effectLst>
          </p:grpSpPr>
          <p:sp>
            <p:nvSpPr>
              <p:cNvPr id="44" name="_color1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7368604" y="1546225"/>
                <a:ext cx="1454150" cy="1452563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chemeClr val="accent1">
                      <a:lumMod val="40000"/>
                      <a:lumOff val="6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</a:pPr>
                <a:endParaRPr lang="en-GB"/>
              </a:p>
            </p:txBody>
          </p:sp>
          <p:sp>
            <p:nvSpPr>
              <p:cNvPr id="45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7368604" y="2271713"/>
                <a:ext cx="1454150" cy="727075"/>
              </a:xfrm>
              <a:custGeom>
                <a:avLst/>
                <a:gdLst/>
                <a:ahLst/>
                <a:cxnLst>
                  <a:cxn ang="0">
                    <a:pos x="1015" y="8"/>
                  </a:cxn>
                  <a:cxn ang="0">
                    <a:pos x="1014" y="10"/>
                  </a:cxn>
                  <a:cxn ang="0">
                    <a:pos x="508" y="113"/>
                  </a:cxn>
                  <a:cxn ang="0">
                    <a:pos x="2" y="10"/>
                  </a:cxn>
                  <a:cxn ang="0">
                    <a:pos x="1" y="8"/>
                  </a:cxn>
                  <a:cxn ang="0">
                    <a:pos x="0" y="0"/>
                  </a:cxn>
                  <a:cxn ang="0">
                    <a:pos x="508" y="508"/>
                  </a:cxn>
                  <a:cxn ang="0">
                    <a:pos x="1016" y="1"/>
                  </a:cxn>
                  <a:cxn ang="0">
                    <a:pos x="1015" y="8"/>
                  </a:cxn>
                </a:cxnLst>
                <a:rect l="0" t="0" r="r" b="b"/>
                <a:pathLst>
                  <a:path w="1016" h="508">
                    <a:moveTo>
                      <a:pt x="1015" y="8"/>
                    </a:moveTo>
                    <a:cubicBezTo>
                      <a:pt x="1014" y="9"/>
                      <a:pt x="1014" y="9"/>
                      <a:pt x="1014" y="10"/>
                    </a:cubicBezTo>
                    <a:cubicBezTo>
                      <a:pt x="992" y="68"/>
                      <a:pt x="774" y="113"/>
                      <a:pt x="508" y="113"/>
                    </a:cubicBezTo>
                    <a:cubicBezTo>
                      <a:pt x="242" y="113"/>
                      <a:pt x="24" y="68"/>
                      <a:pt x="2" y="10"/>
                    </a:cubicBezTo>
                    <a:cubicBezTo>
                      <a:pt x="2" y="9"/>
                      <a:pt x="2" y="9"/>
                      <a:pt x="1" y="8"/>
                    </a:cubicBezTo>
                    <a:cubicBezTo>
                      <a:pt x="1" y="6"/>
                      <a:pt x="0" y="3"/>
                      <a:pt x="0" y="0"/>
                    </a:cubicBezTo>
                    <a:cubicBezTo>
                      <a:pt x="0" y="281"/>
                      <a:pt x="228" y="508"/>
                      <a:pt x="508" y="508"/>
                    </a:cubicBezTo>
                    <a:cubicBezTo>
                      <a:pt x="788" y="508"/>
                      <a:pt x="1015" y="281"/>
                      <a:pt x="1016" y="1"/>
                    </a:cubicBezTo>
                    <a:cubicBezTo>
                      <a:pt x="1016" y="4"/>
                      <a:pt x="1015" y="6"/>
                      <a:pt x="1015" y="8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tx2"/>
                  </a:gs>
                  <a:gs pos="100000">
                    <a:srgbClr val="0070C0"/>
                  </a:gs>
                </a:gsLst>
                <a:lin ang="5400000" scaled="1"/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pic>
            <p:nvPicPr>
              <p:cNvPr id="46" name="_effect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gray">
              <a:xfrm>
                <a:off x="7652767" y="1570038"/>
                <a:ext cx="885825" cy="514350"/>
              </a:xfrm>
              <a:prstGeom prst="rect">
                <a:avLst/>
              </a:prstGeom>
              <a:noFill/>
            </p:spPr>
          </p:pic>
          <p:sp>
            <p:nvSpPr>
              <p:cNvPr id="48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7368604" y="2123515"/>
                <a:ext cx="1454150" cy="322263"/>
              </a:xfrm>
              <a:custGeom>
                <a:avLst/>
                <a:gdLst/>
                <a:ahLst/>
                <a:cxnLst>
                  <a:cxn ang="0">
                    <a:pos x="2" y="122"/>
                  </a:cxn>
                  <a:cxn ang="0">
                    <a:pos x="508" y="225"/>
                  </a:cxn>
                  <a:cxn ang="0">
                    <a:pos x="1014" y="122"/>
                  </a:cxn>
                  <a:cxn ang="0">
                    <a:pos x="1015" y="120"/>
                  </a:cxn>
                  <a:cxn ang="0">
                    <a:pos x="1016" y="113"/>
                  </a:cxn>
                  <a:cxn ang="0">
                    <a:pos x="1016" y="112"/>
                  </a:cxn>
                  <a:cxn ang="0">
                    <a:pos x="1016" y="111"/>
                  </a:cxn>
                  <a:cxn ang="0">
                    <a:pos x="508" y="0"/>
                  </a:cxn>
                  <a:cxn ang="0">
                    <a:pos x="0" y="112"/>
                  </a:cxn>
                  <a:cxn ang="0">
                    <a:pos x="0" y="112"/>
                  </a:cxn>
                  <a:cxn ang="0">
                    <a:pos x="1" y="120"/>
                  </a:cxn>
                  <a:cxn ang="0">
                    <a:pos x="2" y="122"/>
                  </a:cxn>
                </a:cxnLst>
                <a:rect l="0" t="0" r="r" b="b"/>
                <a:pathLst>
                  <a:path w="1016" h="225">
                    <a:moveTo>
                      <a:pt x="2" y="122"/>
                    </a:moveTo>
                    <a:cubicBezTo>
                      <a:pt x="24" y="180"/>
                      <a:pt x="242" y="225"/>
                      <a:pt x="508" y="225"/>
                    </a:cubicBezTo>
                    <a:cubicBezTo>
                      <a:pt x="774" y="225"/>
                      <a:pt x="992" y="180"/>
                      <a:pt x="1014" y="122"/>
                    </a:cubicBezTo>
                    <a:cubicBezTo>
                      <a:pt x="1014" y="121"/>
                      <a:pt x="1014" y="121"/>
                      <a:pt x="1015" y="120"/>
                    </a:cubicBezTo>
                    <a:cubicBezTo>
                      <a:pt x="1015" y="118"/>
                      <a:pt x="1016" y="116"/>
                      <a:pt x="1016" y="113"/>
                    </a:cubicBezTo>
                    <a:cubicBezTo>
                      <a:pt x="1016" y="113"/>
                      <a:pt x="1016" y="113"/>
                      <a:pt x="1016" y="112"/>
                    </a:cubicBezTo>
                    <a:cubicBezTo>
                      <a:pt x="1016" y="112"/>
                      <a:pt x="1016" y="111"/>
                      <a:pt x="1016" y="111"/>
                    </a:cubicBezTo>
                    <a:cubicBezTo>
                      <a:pt x="1013" y="49"/>
                      <a:pt x="786" y="0"/>
                      <a:pt x="508" y="0"/>
                    </a:cubicBezTo>
                    <a:cubicBezTo>
                      <a:pt x="228" y="0"/>
                      <a:pt x="0" y="50"/>
                      <a:pt x="0" y="112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0" y="115"/>
                      <a:pt x="1" y="118"/>
                      <a:pt x="1" y="120"/>
                    </a:cubicBezTo>
                    <a:cubicBezTo>
                      <a:pt x="2" y="121"/>
                      <a:pt x="2" y="121"/>
                      <a:pt x="2" y="12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tx2">
                      <a:lumMod val="75000"/>
                    </a:schemeClr>
                  </a:gs>
                  <a:gs pos="100000">
                    <a:srgbClr val="0070C0"/>
                  </a:gs>
                </a:gsLst>
                <a:lin ang="0" scaled="0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49" name="Text Box 65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7892913" y="3122613"/>
              <a:ext cx="402354" cy="2631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177800" indent="-177800" algn="ctr" defTabSz="801688">
                <a:lnSpc>
                  <a:spcPct val="95000"/>
                </a:lnSpc>
                <a:spcBef>
                  <a:spcPct val="20000"/>
                </a:spcBef>
                <a:spcAft>
                  <a:spcPts val="800"/>
                </a:spcAft>
              </a:pPr>
              <a:r>
                <a:rPr lang="en-GB" b="1" noProof="1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50%</a:t>
              </a:r>
            </a:p>
          </p:txBody>
        </p:sp>
      </p:grpSp>
      <p:grpSp>
        <p:nvGrpSpPr>
          <p:cNvPr id="9" name="Gruppieren 8"/>
          <p:cNvGrpSpPr/>
          <p:nvPr/>
        </p:nvGrpSpPr>
        <p:grpSpPr>
          <a:xfrm>
            <a:off x="333375" y="3937000"/>
            <a:ext cx="1454150" cy="1937962"/>
            <a:chOff x="333375" y="3937000"/>
            <a:chExt cx="1454150" cy="1937962"/>
          </a:xfrm>
        </p:grpSpPr>
        <p:grpSp>
          <p:nvGrpSpPr>
            <p:cNvPr id="14" name="Gruppieren 13"/>
            <p:cNvGrpSpPr/>
            <p:nvPr/>
          </p:nvGrpSpPr>
          <p:grpSpPr>
            <a:xfrm>
              <a:off x="333375" y="3937000"/>
              <a:ext cx="1454150" cy="1457326"/>
              <a:chOff x="333375" y="3937000"/>
              <a:chExt cx="1454150" cy="1457326"/>
            </a:xfrm>
            <a:effectLst>
              <a:reflection blurRad="6350" stA="52000" endA="300" endPos="35000" dir="5400000" sy="-100000" algn="bl" rotWithShape="0"/>
            </a:effectLst>
          </p:grpSpPr>
          <p:sp>
            <p:nvSpPr>
              <p:cNvPr id="51" name="_color1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33375" y="3937000"/>
                <a:ext cx="1454150" cy="1452563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chemeClr val="accent1">
                      <a:lumMod val="40000"/>
                      <a:lumOff val="6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</a:pPr>
                <a:endParaRPr lang="en-GB"/>
              </a:p>
            </p:txBody>
          </p:sp>
          <p:sp>
            <p:nvSpPr>
              <p:cNvPr id="52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33375" y="4522788"/>
                <a:ext cx="1454150" cy="871538"/>
              </a:xfrm>
              <a:custGeom>
                <a:avLst/>
                <a:gdLst/>
                <a:ahLst/>
                <a:cxnLst>
                  <a:cxn ang="0">
                    <a:pos x="1006" y="1"/>
                  </a:cxn>
                  <a:cxn ang="0">
                    <a:pos x="1006" y="2"/>
                  </a:cxn>
                  <a:cxn ang="0">
                    <a:pos x="508" y="103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0" y="102"/>
                  </a:cxn>
                  <a:cxn ang="0">
                    <a:pos x="508" y="609"/>
                  </a:cxn>
                  <a:cxn ang="0">
                    <a:pos x="1016" y="102"/>
                  </a:cxn>
                  <a:cxn ang="0">
                    <a:pos x="1006" y="1"/>
                  </a:cxn>
                </a:cxnLst>
                <a:rect l="0" t="0" r="r" b="b"/>
                <a:pathLst>
                  <a:path w="1016" h="609">
                    <a:moveTo>
                      <a:pt x="1006" y="1"/>
                    </a:moveTo>
                    <a:cubicBezTo>
                      <a:pt x="1006" y="1"/>
                      <a:pt x="1006" y="2"/>
                      <a:pt x="1006" y="2"/>
                    </a:cubicBezTo>
                    <a:cubicBezTo>
                      <a:pt x="1006" y="58"/>
                      <a:pt x="783" y="103"/>
                      <a:pt x="508" y="103"/>
                    </a:cubicBezTo>
                    <a:cubicBezTo>
                      <a:pt x="233" y="103"/>
                      <a:pt x="10" y="58"/>
                      <a:pt x="10" y="2"/>
                    </a:cubicBezTo>
                    <a:cubicBezTo>
                      <a:pt x="10" y="2"/>
                      <a:pt x="10" y="1"/>
                      <a:pt x="10" y="0"/>
                    </a:cubicBezTo>
                    <a:cubicBezTo>
                      <a:pt x="4" y="33"/>
                      <a:pt x="0" y="67"/>
                      <a:pt x="0" y="102"/>
                    </a:cubicBezTo>
                    <a:cubicBezTo>
                      <a:pt x="0" y="382"/>
                      <a:pt x="228" y="609"/>
                      <a:pt x="508" y="609"/>
                    </a:cubicBezTo>
                    <a:cubicBezTo>
                      <a:pt x="788" y="609"/>
                      <a:pt x="1016" y="382"/>
                      <a:pt x="1016" y="102"/>
                    </a:cubicBezTo>
                    <a:cubicBezTo>
                      <a:pt x="1016" y="67"/>
                      <a:pt x="1012" y="33"/>
                      <a:pt x="1006" y="1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tx2"/>
                  </a:gs>
                  <a:gs pos="100000">
                    <a:srgbClr val="0070C0"/>
                  </a:gs>
                </a:gsLst>
                <a:lin ang="5400000" scaled="1"/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47663" y="4386263"/>
                <a:ext cx="1425575" cy="287338"/>
              </a:xfrm>
              <a:custGeom>
                <a:avLst/>
                <a:gdLst/>
                <a:ahLst/>
                <a:cxnLst>
                  <a:cxn ang="0">
                    <a:pos x="498" y="201"/>
                  </a:cxn>
                  <a:cxn ang="0">
                    <a:pos x="996" y="100"/>
                  </a:cxn>
                  <a:cxn ang="0">
                    <a:pos x="996" y="99"/>
                  </a:cxn>
                  <a:cxn ang="0">
                    <a:pos x="995" y="93"/>
                  </a:cxn>
                  <a:cxn ang="0">
                    <a:pos x="994" y="92"/>
                  </a:cxn>
                  <a:cxn ang="0">
                    <a:pos x="498" y="0"/>
                  </a:cxn>
                  <a:cxn ang="0">
                    <a:pos x="2" y="92"/>
                  </a:cxn>
                  <a:cxn ang="0">
                    <a:pos x="1" y="93"/>
                  </a:cxn>
                  <a:cxn ang="0">
                    <a:pos x="0" y="98"/>
                  </a:cxn>
                  <a:cxn ang="0">
                    <a:pos x="0" y="100"/>
                  </a:cxn>
                  <a:cxn ang="0">
                    <a:pos x="498" y="201"/>
                  </a:cxn>
                </a:cxnLst>
                <a:rect l="0" t="0" r="r" b="b"/>
                <a:pathLst>
                  <a:path w="996" h="201">
                    <a:moveTo>
                      <a:pt x="498" y="201"/>
                    </a:moveTo>
                    <a:cubicBezTo>
                      <a:pt x="773" y="201"/>
                      <a:pt x="996" y="156"/>
                      <a:pt x="996" y="100"/>
                    </a:cubicBezTo>
                    <a:cubicBezTo>
                      <a:pt x="996" y="100"/>
                      <a:pt x="996" y="99"/>
                      <a:pt x="996" y="99"/>
                    </a:cubicBezTo>
                    <a:cubicBezTo>
                      <a:pt x="995" y="97"/>
                      <a:pt x="995" y="95"/>
                      <a:pt x="995" y="93"/>
                    </a:cubicBezTo>
                    <a:cubicBezTo>
                      <a:pt x="994" y="93"/>
                      <a:pt x="994" y="92"/>
                      <a:pt x="994" y="92"/>
                    </a:cubicBezTo>
                    <a:cubicBezTo>
                      <a:pt x="973" y="40"/>
                      <a:pt x="759" y="0"/>
                      <a:pt x="498" y="0"/>
                    </a:cubicBezTo>
                    <a:cubicBezTo>
                      <a:pt x="238" y="0"/>
                      <a:pt x="24" y="40"/>
                      <a:pt x="2" y="92"/>
                    </a:cubicBezTo>
                    <a:cubicBezTo>
                      <a:pt x="2" y="92"/>
                      <a:pt x="2" y="93"/>
                      <a:pt x="1" y="93"/>
                    </a:cubicBezTo>
                    <a:cubicBezTo>
                      <a:pt x="1" y="95"/>
                      <a:pt x="1" y="97"/>
                      <a:pt x="0" y="98"/>
                    </a:cubicBezTo>
                    <a:cubicBezTo>
                      <a:pt x="0" y="99"/>
                      <a:pt x="0" y="100"/>
                      <a:pt x="0" y="100"/>
                    </a:cubicBezTo>
                    <a:cubicBezTo>
                      <a:pt x="0" y="156"/>
                      <a:pt x="223" y="201"/>
                      <a:pt x="498" y="20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tx2">
                      <a:lumMod val="75000"/>
                    </a:schemeClr>
                  </a:gs>
                  <a:gs pos="100000">
                    <a:srgbClr val="0070C0"/>
                  </a:gs>
                </a:gsLst>
                <a:lin ang="0" scaled="0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pic>
            <p:nvPicPr>
              <p:cNvPr id="55" name="_effect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gray">
              <a:xfrm>
                <a:off x="615950" y="3954463"/>
                <a:ext cx="885825" cy="514350"/>
              </a:xfrm>
              <a:prstGeom prst="rect">
                <a:avLst/>
              </a:prstGeom>
              <a:noFill/>
            </p:spPr>
          </p:pic>
        </p:grpSp>
        <p:sp>
          <p:nvSpPr>
            <p:cNvPr id="56" name="Text Box 66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851334" y="5611813"/>
              <a:ext cx="402354" cy="2631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177800" indent="-177800" algn="ctr" defTabSz="801688">
                <a:lnSpc>
                  <a:spcPct val="95000"/>
                </a:lnSpc>
                <a:spcBef>
                  <a:spcPct val="20000"/>
                </a:spcBef>
                <a:spcAft>
                  <a:spcPts val="800"/>
                </a:spcAft>
              </a:pPr>
              <a:r>
                <a:rPr lang="en-GB" b="1" noProof="1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60%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2092976" y="3937000"/>
            <a:ext cx="1454150" cy="1937962"/>
            <a:chOff x="2092976" y="3937000"/>
            <a:chExt cx="1454150" cy="1937962"/>
          </a:xfrm>
        </p:grpSpPr>
        <p:grpSp>
          <p:nvGrpSpPr>
            <p:cNvPr id="15" name="Gruppieren 14"/>
            <p:cNvGrpSpPr/>
            <p:nvPr/>
          </p:nvGrpSpPr>
          <p:grpSpPr>
            <a:xfrm>
              <a:off x="2092976" y="3937000"/>
              <a:ext cx="1454150" cy="1452563"/>
              <a:chOff x="2092976" y="3937000"/>
              <a:chExt cx="1454150" cy="1452563"/>
            </a:xfrm>
            <a:effectLst>
              <a:reflection blurRad="6350" stA="52000" endA="300" endPos="35000" dir="5400000" sy="-100000" algn="bl" rotWithShape="0"/>
            </a:effectLst>
          </p:grpSpPr>
          <p:sp>
            <p:nvSpPr>
              <p:cNvPr id="58" name="_color1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2092976" y="3937000"/>
                <a:ext cx="1454150" cy="1452563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chemeClr val="accent1">
                      <a:lumMod val="40000"/>
                      <a:lumOff val="6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</a:pPr>
                <a:endParaRPr lang="en-GB"/>
              </a:p>
            </p:txBody>
          </p:sp>
          <p:sp>
            <p:nvSpPr>
              <p:cNvPr id="60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2092976" y="4373563"/>
                <a:ext cx="1454150" cy="1016000"/>
              </a:xfrm>
              <a:custGeom>
                <a:avLst/>
                <a:gdLst/>
                <a:ahLst/>
                <a:cxnLst>
                  <a:cxn ang="0">
                    <a:pos x="975" y="1"/>
                  </a:cxn>
                  <a:cxn ang="0">
                    <a:pos x="975" y="5"/>
                  </a:cxn>
                  <a:cxn ang="0">
                    <a:pos x="508" y="88"/>
                  </a:cxn>
                  <a:cxn ang="0">
                    <a:pos x="41" y="5"/>
                  </a:cxn>
                  <a:cxn ang="0">
                    <a:pos x="42" y="0"/>
                  </a:cxn>
                  <a:cxn ang="0">
                    <a:pos x="0" y="202"/>
                  </a:cxn>
                  <a:cxn ang="0">
                    <a:pos x="508" y="709"/>
                  </a:cxn>
                  <a:cxn ang="0">
                    <a:pos x="1016" y="202"/>
                  </a:cxn>
                  <a:cxn ang="0">
                    <a:pos x="975" y="1"/>
                  </a:cxn>
                </a:cxnLst>
                <a:rect l="0" t="0" r="r" b="b"/>
                <a:pathLst>
                  <a:path w="1016" h="709">
                    <a:moveTo>
                      <a:pt x="975" y="1"/>
                    </a:moveTo>
                    <a:cubicBezTo>
                      <a:pt x="975" y="2"/>
                      <a:pt x="975" y="4"/>
                      <a:pt x="975" y="5"/>
                    </a:cubicBezTo>
                    <a:cubicBezTo>
                      <a:pt x="975" y="51"/>
                      <a:pt x="766" y="88"/>
                      <a:pt x="508" y="88"/>
                    </a:cubicBezTo>
                    <a:cubicBezTo>
                      <a:pt x="250" y="88"/>
                      <a:pt x="41" y="51"/>
                      <a:pt x="41" y="5"/>
                    </a:cubicBezTo>
                    <a:cubicBezTo>
                      <a:pt x="41" y="4"/>
                      <a:pt x="41" y="2"/>
                      <a:pt x="42" y="0"/>
                    </a:cubicBezTo>
                    <a:cubicBezTo>
                      <a:pt x="15" y="62"/>
                      <a:pt x="0" y="130"/>
                      <a:pt x="0" y="202"/>
                    </a:cubicBezTo>
                    <a:cubicBezTo>
                      <a:pt x="0" y="482"/>
                      <a:pt x="228" y="709"/>
                      <a:pt x="508" y="709"/>
                    </a:cubicBezTo>
                    <a:cubicBezTo>
                      <a:pt x="789" y="709"/>
                      <a:pt x="1016" y="482"/>
                      <a:pt x="1016" y="202"/>
                    </a:cubicBezTo>
                    <a:cubicBezTo>
                      <a:pt x="1016" y="130"/>
                      <a:pt x="1001" y="62"/>
                      <a:pt x="975" y="1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tx2"/>
                  </a:gs>
                  <a:gs pos="100000">
                    <a:srgbClr val="0070C0"/>
                  </a:gs>
                </a:gsLst>
                <a:lin ang="5400000" scaled="1"/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62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2151714" y="4267200"/>
                <a:ext cx="1336675" cy="236538"/>
              </a:xfrm>
              <a:custGeom>
                <a:avLst/>
                <a:gdLst/>
                <a:ahLst/>
                <a:cxnLst>
                  <a:cxn ang="0">
                    <a:pos x="467" y="165"/>
                  </a:cxn>
                  <a:cxn ang="0">
                    <a:pos x="934" y="82"/>
                  </a:cxn>
                  <a:cxn ang="0">
                    <a:pos x="934" y="78"/>
                  </a:cxn>
                  <a:cxn ang="0">
                    <a:pos x="932" y="74"/>
                  </a:cxn>
                  <a:cxn ang="0">
                    <a:pos x="467" y="0"/>
                  </a:cxn>
                  <a:cxn ang="0">
                    <a:pos x="2" y="75"/>
                  </a:cxn>
                  <a:cxn ang="0">
                    <a:pos x="1" y="77"/>
                  </a:cxn>
                  <a:cxn ang="0">
                    <a:pos x="0" y="82"/>
                  </a:cxn>
                  <a:cxn ang="0">
                    <a:pos x="467" y="165"/>
                  </a:cxn>
                </a:cxnLst>
                <a:rect l="0" t="0" r="r" b="b"/>
                <a:pathLst>
                  <a:path w="934" h="165">
                    <a:moveTo>
                      <a:pt x="467" y="165"/>
                    </a:moveTo>
                    <a:cubicBezTo>
                      <a:pt x="725" y="165"/>
                      <a:pt x="934" y="128"/>
                      <a:pt x="934" y="82"/>
                    </a:cubicBezTo>
                    <a:cubicBezTo>
                      <a:pt x="934" y="81"/>
                      <a:pt x="934" y="79"/>
                      <a:pt x="934" y="78"/>
                    </a:cubicBezTo>
                    <a:cubicBezTo>
                      <a:pt x="933" y="77"/>
                      <a:pt x="933" y="75"/>
                      <a:pt x="932" y="74"/>
                    </a:cubicBezTo>
                    <a:cubicBezTo>
                      <a:pt x="908" y="32"/>
                      <a:pt x="709" y="0"/>
                      <a:pt x="467" y="0"/>
                    </a:cubicBezTo>
                    <a:cubicBezTo>
                      <a:pt x="224" y="0"/>
                      <a:pt x="25" y="33"/>
                      <a:pt x="2" y="75"/>
                    </a:cubicBezTo>
                    <a:cubicBezTo>
                      <a:pt x="2" y="76"/>
                      <a:pt x="1" y="76"/>
                      <a:pt x="1" y="77"/>
                    </a:cubicBezTo>
                    <a:cubicBezTo>
                      <a:pt x="0" y="79"/>
                      <a:pt x="0" y="81"/>
                      <a:pt x="0" y="82"/>
                    </a:cubicBezTo>
                    <a:cubicBezTo>
                      <a:pt x="0" y="128"/>
                      <a:pt x="209" y="165"/>
                      <a:pt x="467" y="16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tx2">
                      <a:lumMod val="75000"/>
                    </a:schemeClr>
                  </a:gs>
                  <a:gs pos="100000">
                    <a:srgbClr val="0070C0"/>
                  </a:gs>
                </a:gsLst>
                <a:lin ang="0" scaled="0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pic>
            <p:nvPicPr>
              <p:cNvPr id="64" name="_effect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gray">
              <a:xfrm>
                <a:off x="2377139" y="3954463"/>
                <a:ext cx="885825" cy="514350"/>
              </a:xfrm>
              <a:prstGeom prst="rect">
                <a:avLst/>
              </a:prstGeom>
              <a:noFill/>
            </p:spPr>
          </p:pic>
        </p:grpSp>
        <p:sp>
          <p:nvSpPr>
            <p:cNvPr id="65" name="Text Box 67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2615698" y="5611813"/>
              <a:ext cx="402353" cy="2631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177800" indent="-177800" algn="ctr" defTabSz="801688">
                <a:lnSpc>
                  <a:spcPct val="95000"/>
                </a:lnSpc>
                <a:spcBef>
                  <a:spcPct val="20000"/>
                </a:spcBef>
                <a:spcAft>
                  <a:spcPts val="800"/>
                </a:spcAft>
              </a:pPr>
              <a:r>
                <a:rPr lang="en-GB" b="1" noProof="1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70%</a:t>
              </a: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3852577" y="3937000"/>
            <a:ext cx="1452562" cy="1937962"/>
            <a:chOff x="3852577" y="3937000"/>
            <a:chExt cx="1452562" cy="1937962"/>
          </a:xfrm>
        </p:grpSpPr>
        <p:grpSp>
          <p:nvGrpSpPr>
            <p:cNvPr id="17" name="Gruppieren 16"/>
            <p:cNvGrpSpPr/>
            <p:nvPr/>
          </p:nvGrpSpPr>
          <p:grpSpPr>
            <a:xfrm>
              <a:off x="3852577" y="3937000"/>
              <a:ext cx="1452562" cy="1452563"/>
              <a:chOff x="3852577" y="3937000"/>
              <a:chExt cx="1452562" cy="1452563"/>
            </a:xfrm>
            <a:effectLst>
              <a:reflection blurRad="6350" stA="52000" endA="300" endPos="35000" dir="5400000" sy="-100000" algn="bl" rotWithShape="0"/>
            </a:effectLst>
          </p:grpSpPr>
          <p:sp>
            <p:nvSpPr>
              <p:cNvPr id="68" name="_color1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852577" y="3937000"/>
                <a:ext cx="1452562" cy="1452563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chemeClr val="accent1">
                      <a:lumMod val="40000"/>
                      <a:lumOff val="6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</a:pPr>
                <a:endParaRPr lang="en-GB"/>
              </a:p>
            </p:txBody>
          </p:sp>
          <p:sp>
            <p:nvSpPr>
              <p:cNvPr id="69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852577" y="4221163"/>
                <a:ext cx="1452562" cy="1168400"/>
              </a:xfrm>
              <a:custGeom>
                <a:avLst/>
                <a:gdLst/>
                <a:ahLst/>
                <a:cxnLst>
                  <a:cxn ang="0">
                    <a:pos x="911" y="0"/>
                  </a:cxn>
                  <a:cxn ang="0">
                    <a:pos x="911" y="1"/>
                  </a:cxn>
                  <a:cxn ang="0">
                    <a:pos x="912" y="2"/>
                  </a:cxn>
                  <a:cxn ang="0">
                    <a:pos x="913" y="8"/>
                  </a:cxn>
                  <a:cxn ang="0">
                    <a:pos x="507" y="80"/>
                  </a:cxn>
                  <a:cxn ang="0">
                    <a:pos x="102" y="8"/>
                  </a:cxn>
                  <a:cxn ang="0">
                    <a:pos x="103" y="2"/>
                  </a:cxn>
                  <a:cxn ang="0">
                    <a:pos x="103" y="1"/>
                  </a:cxn>
                  <a:cxn ang="0">
                    <a:pos x="104" y="0"/>
                  </a:cxn>
                  <a:cxn ang="0">
                    <a:pos x="0" y="309"/>
                  </a:cxn>
                  <a:cxn ang="0">
                    <a:pos x="507" y="816"/>
                  </a:cxn>
                  <a:cxn ang="0">
                    <a:pos x="1015" y="309"/>
                  </a:cxn>
                  <a:cxn ang="0">
                    <a:pos x="911" y="0"/>
                  </a:cxn>
                </a:cxnLst>
                <a:rect l="0" t="0" r="r" b="b"/>
                <a:pathLst>
                  <a:path w="1015" h="816">
                    <a:moveTo>
                      <a:pt x="911" y="0"/>
                    </a:moveTo>
                    <a:cubicBezTo>
                      <a:pt x="911" y="1"/>
                      <a:pt x="911" y="1"/>
                      <a:pt x="911" y="1"/>
                    </a:cubicBezTo>
                    <a:cubicBezTo>
                      <a:pt x="912" y="2"/>
                      <a:pt x="912" y="2"/>
                      <a:pt x="912" y="2"/>
                    </a:cubicBezTo>
                    <a:cubicBezTo>
                      <a:pt x="912" y="4"/>
                      <a:pt x="913" y="6"/>
                      <a:pt x="913" y="8"/>
                    </a:cubicBezTo>
                    <a:cubicBezTo>
                      <a:pt x="913" y="47"/>
                      <a:pt x="731" y="80"/>
                      <a:pt x="507" y="80"/>
                    </a:cubicBezTo>
                    <a:cubicBezTo>
                      <a:pt x="283" y="80"/>
                      <a:pt x="102" y="47"/>
                      <a:pt x="102" y="8"/>
                    </a:cubicBezTo>
                    <a:cubicBezTo>
                      <a:pt x="102" y="6"/>
                      <a:pt x="102" y="4"/>
                      <a:pt x="103" y="2"/>
                    </a:cubicBezTo>
                    <a:cubicBezTo>
                      <a:pt x="103" y="2"/>
                      <a:pt x="103" y="2"/>
                      <a:pt x="103" y="1"/>
                    </a:cubicBezTo>
                    <a:cubicBezTo>
                      <a:pt x="104" y="1"/>
                      <a:pt x="104" y="1"/>
                      <a:pt x="104" y="0"/>
                    </a:cubicBezTo>
                    <a:cubicBezTo>
                      <a:pt x="39" y="86"/>
                      <a:pt x="0" y="193"/>
                      <a:pt x="0" y="309"/>
                    </a:cubicBezTo>
                    <a:cubicBezTo>
                      <a:pt x="0" y="589"/>
                      <a:pt x="227" y="816"/>
                      <a:pt x="507" y="816"/>
                    </a:cubicBezTo>
                    <a:cubicBezTo>
                      <a:pt x="788" y="816"/>
                      <a:pt x="1015" y="589"/>
                      <a:pt x="1015" y="309"/>
                    </a:cubicBezTo>
                    <a:cubicBezTo>
                      <a:pt x="1015" y="193"/>
                      <a:pt x="976" y="86"/>
                      <a:pt x="911" y="0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tx2"/>
                  </a:gs>
                  <a:gs pos="100000">
                    <a:srgbClr val="0070C0"/>
                  </a:gs>
                </a:gsLst>
                <a:lin ang="5400000" scaled="1"/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72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998627" y="4139384"/>
                <a:ext cx="1160462" cy="207963"/>
              </a:xfrm>
              <a:custGeom>
                <a:avLst/>
                <a:gdLst/>
                <a:ahLst/>
                <a:cxnLst>
                  <a:cxn ang="0">
                    <a:pos x="1" y="67"/>
                  </a:cxn>
                  <a:cxn ang="0">
                    <a:pos x="0" y="73"/>
                  </a:cxn>
                  <a:cxn ang="0">
                    <a:pos x="405" y="145"/>
                  </a:cxn>
                  <a:cxn ang="0">
                    <a:pos x="811" y="73"/>
                  </a:cxn>
                  <a:cxn ang="0">
                    <a:pos x="810" y="67"/>
                  </a:cxn>
                  <a:cxn ang="0">
                    <a:pos x="809" y="66"/>
                  </a:cxn>
                  <a:cxn ang="0">
                    <a:pos x="809" y="65"/>
                  </a:cxn>
                  <a:cxn ang="0">
                    <a:pos x="805" y="60"/>
                  </a:cxn>
                  <a:cxn ang="0">
                    <a:pos x="405" y="0"/>
                  </a:cxn>
                  <a:cxn ang="0">
                    <a:pos x="6" y="60"/>
                  </a:cxn>
                  <a:cxn ang="0">
                    <a:pos x="2" y="65"/>
                  </a:cxn>
                  <a:cxn ang="0">
                    <a:pos x="1" y="66"/>
                  </a:cxn>
                  <a:cxn ang="0">
                    <a:pos x="1" y="67"/>
                  </a:cxn>
                </a:cxnLst>
                <a:rect l="0" t="0" r="r" b="b"/>
                <a:pathLst>
                  <a:path w="811" h="145">
                    <a:moveTo>
                      <a:pt x="1" y="67"/>
                    </a:moveTo>
                    <a:cubicBezTo>
                      <a:pt x="0" y="69"/>
                      <a:pt x="0" y="71"/>
                      <a:pt x="0" y="73"/>
                    </a:cubicBezTo>
                    <a:cubicBezTo>
                      <a:pt x="0" y="112"/>
                      <a:pt x="181" y="145"/>
                      <a:pt x="405" y="145"/>
                    </a:cubicBezTo>
                    <a:cubicBezTo>
                      <a:pt x="629" y="145"/>
                      <a:pt x="811" y="112"/>
                      <a:pt x="811" y="73"/>
                    </a:cubicBezTo>
                    <a:cubicBezTo>
                      <a:pt x="811" y="71"/>
                      <a:pt x="810" y="69"/>
                      <a:pt x="810" y="67"/>
                    </a:cubicBezTo>
                    <a:cubicBezTo>
                      <a:pt x="810" y="67"/>
                      <a:pt x="810" y="67"/>
                      <a:pt x="809" y="66"/>
                    </a:cubicBezTo>
                    <a:cubicBezTo>
                      <a:pt x="809" y="66"/>
                      <a:pt x="809" y="66"/>
                      <a:pt x="809" y="65"/>
                    </a:cubicBezTo>
                    <a:cubicBezTo>
                      <a:pt x="807" y="63"/>
                      <a:pt x="806" y="62"/>
                      <a:pt x="805" y="60"/>
                    </a:cubicBezTo>
                    <a:cubicBezTo>
                      <a:pt x="771" y="26"/>
                      <a:pt x="605" y="0"/>
                      <a:pt x="405" y="0"/>
                    </a:cubicBezTo>
                    <a:cubicBezTo>
                      <a:pt x="206" y="0"/>
                      <a:pt x="40" y="26"/>
                      <a:pt x="6" y="60"/>
                    </a:cubicBezTo>
                    <a:cubicBezTo>
                      <a:pt x="5" y="62"/>
                      <a:pt x="3" y="64"/>
                      <a:pt x="2" y="65"/>
                    </a:cubicBezTo>
                    <a:cubicBezTo>
                      <a:pt x="2" y="66"/>
                      <a:pt x="2" y="66"/>
                      <a:pt x="1" y="66"/>
                    </a:cubicBezTo>
                    <a:cubicBezTo>
                      <a:pt x="1" y="67"/>
                      <a:pt x="1" y="67"/>
                      <a:pt x="1" y="6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tx2">
                      <a:lumMod val="75000"/>
                    </a:schemeClr>
                  </a:gs>
                  <a:gs pos="100000">
                    <a:srgbClr val="0070C0"/>
                  </a:gs>
                </a:gsLst>
                <a:lin ang="0" scaled="0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pic>
            <p:nvPicPr>
              <p:cNvPr id="73" name="_effect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gray">
              <a:xfrm>
                <a:off x="4138327" y="3954463"/>
                <a:ext cx="885825" cy="514350"/>
              </a:xfrm>
              <a:prstGeom prst="rect">
                <a:avLst/>
              </a:prstGeom>
              <a:noFill/>
            </p:spPr>
          </p:pic>
        </p:grpSp>
        <p:sp>
          <p:nvSpPr>
            <p:cNvPr id="74" name="Text Box 68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4386411" y="5611813"/>
              <a:ext cx="402353" cy="2631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177800" indent="-177800" algn="ctr" defTabSz="801688">
                <a:lnSpc>
                  <a:spcPct val="95000"/>
                </a:lnSpc>
                <a:spcBef>
                  <a:spcPct val="20000"/>
                </a:spcBef>
                <a:spcAft>
                  <a:spcPts val="800"/>
                </a:spcAft>
              </a:pPr>
              <a:r>
                <a:rPr lang="en-GB" b="1" noProof="1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80%</a:t>
              </a:r>
            </a:p>
          </p:txBody>
        </p:sp>
      </p:grpSp>
      <p:grpSp>
        <p:nvGrpSpPr>
          <p:cNvPr id="12" name="Gruppieren 11"/>
          <p:cNvGrpSpPr/>
          <p:nvPr/>
        </p:nvGrpSpPr>
        <p:grpSpPr>
          <a:xfrm>
            <a:off x="5610590" y="3937000"/>
            <a:ext cx="1452563" cy="1937962"/>
            <a:chOff x="5610590" y="3937000"/>
            <a:chExt cx="1452563" cy="1937962"/>
          </a:xfrm>
        </p:grpSpPr>
        <p:grpSp>
          <p:nvGrpSpPr>
            <p:cNvPr id="22" name="Gruppieren 21"/>
            <p:cNvGrpSpPr/>
            <p:nvPr/>
          </p:nvGrpSpPr>
          <p:grpSpPr>
            <a:xfrm>
              <a:off x="5610590" y="3937000"/>
              <a:ext cx="1452563" cy="1452563"/>
              <a:chOff x="5610590" y="3937000"/>
              <a:chExt cx="1452563" cy="1452563"/>
            </a:xfrm>
            <a:effectLst>
              <a:reflection blurRad="6350" stA="52000" endA="300" endPos="35000" dir="5400000" sy="-100000" algn="bl" rotWithShape="0"/>
            </a:effectLst>
          </p:grpSpPr>
          <p:sp>
            <p:nvSpPr>
              <p:cNvPr id="77" name="_color1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5610590" y="3937000"/>
                <a:ext cx="1452563" cy="1452563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chemeClr val="accent1">
                      <a:lumMod val="40000"/>
                      <a:lumOff val="60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</a:pPr>
                <a:endParaRPr lang="en-GB"/>
              </a:p>
            </p:txBody>
          </p:sp>
          <p:sp>
            <p:nvSpPr>
              <p:cNvPr id="78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5610590" y="4075113"/>
                <a:ext cx="1452563" cy="1314450"/>
              </a:xfrm>
              <a:custGeom>
                <a:avLst/>
                <a:gdLst/>
                <a:ahLst/>
                <a:cxnLst>
                  <a:cxn ang="0">
                    <a:pos x="807" y="1"/>
                  </a:cxn>
                  <a:cxn ang="0">
                    <a:pos x="810" y="5"/>
                  </a:cxn>
                  <a:cxn ang="0">
                    <a:pos x="810" y="5"/>
                  </a:cxn>
                  <a:cxn ang="0">
                    <a:pos x="811" y="9"/>
                  </a:cxn>
                  <a:cxn ang="0">
                    <a:pos x="507" y="57"/>
                  </a:cxn>
                  <a:cxn ang="0">
                    <a:pos x="203" y="9"/>
                  </a:cxn>
                  <a:cxn ang="0">
                    <a:pos x="204" y="5"/>
                  </a:cxn>
                  <a:cxn ang="0">
                    <a:pos x="205" y="5"/>
                  </a:cxn>
                  <a:cxn ang="0">
                    <a:pos x="208" y="0"/>
                  </a:cxn>
                  <a:cxn ang="0">
                    <a:pos x="0" y="411"/>
                  </a:cxn>
                  <a:cxn ang="0">
                    <a:pos x="507" y="918"/>
                  </a:cxn>
                  <a:cxn ang="0">
                    <a:pos x="1015" y="411"/>
                  </a:cxn>
                  <a:cxn ang="0">
                    <a:pos x="807" y="1"/>
                  </a:cxn>
                </a:cxnLst>
                <a:rect l="0" t="0" r="r" b="b"/>
                <a:pathLst>
                  <a:path w="1015" h="918">
                    <a:moveTo>
                      <a:pt x="807" y="1"/>
                    </a:moveTo>
                    <a:cubicBezTo>
                      <a:pt x="808" y="2"/>
                      <a:pt x="809" y="3"/>
                      <a:pt x="810" y="5"/>
                    </a:cubicBezTo>
                    <a:cubicBezTo>
                      <a:pt x="810" y="5"/>
                      <a:pt x="810" y="5"/>
                      <a:pt x="810" y="5"/>
                    </a:cubicBezTo>
                    <a:cubicBezTo>
                      <a:pt x="811" y="6"/>
                      <a:pt x="811" y="8"/>
                      <a:pt x="811" y="9"/>
                    </a:cubicBezTo>
                    <a:cubicBezTo>
                      <a:pt x="811" y="35"/>
                      <a:pt x="675" y="57"/>
                      <a:pt x="507" y="57"/>
                    </a:cubicBezTo>
                    <a:cubicBezTo>
                      <a:pt x="340" y="57"/>
                      <a:pt x="203" y="35"/>
                      <a:pt x="203" y="9"/>
                    </a:cubicBezTo>
                    <a:cubicBezTo>
                      <a:pt x="203" y="8"/>
                      <a:pt x="204" y="6"/>
                      <a:pt x="204" y="5"/>
                    </a:cubicBezTo>
                    <a:cubicBezTo>
                      <a:pt x="204" y="5"/>
                      <a:pt x="205" y="5"/>
                      <a:pt x="205" y="5"/>
                    </a:cubicBezTo>
                    <a:cubicBezTo>
                      <a:pt x="205" y="3"/>
                      <a:pt x="207" y="2"/>
                      <a:pt x="208" y="0"/>
                    </a:cubicBezTo>
                    <a:cubicBezTo>
                      <a:pt x="82" y="93"/>
                      <a:pt x="0" y="242"/>
                      <a:pt x="0" y="411"/>
                    </a:cubicBezTo>
                    <a:cubicBezTo>
                      <a:pt x="0" y="691"/>
                      <a:pt x="227" y="918"/>
                      <a:pt x="507" y="918"/>
                    </a:cubicBezTo>
                    <a:cubicBezTo>
                      <a:pt x="788" y="918"/>
                      <a:pt x="1015" y="691"/>
                      <a:pt x="1015" y="411"/>
                    </a:cubicBezTo>
                    <a:cubicBezTo>
                      <a:pt x="1015" y="242"/>
                      <a:pt x="933" y="93"/>
                      <a:pt x="807" y="1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tx2"/>
                  </a:gs>
                  <a:gs pos="100000">
                    <a:srgbClr val="0070C0"/>
                  </a:gs>
                </a:gsLst>
                <a:lin ang="5400000" scaled="1"/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80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5901103" y="4022725"/>
                <a:ext cx="869950" cy="136525"/>
              </a:xfrm>
              <a:custGeom>
                <a:avLst/>
                <a:gdLst/>
                <a:ahLst/>
                <a:cxnLst>
                  <a:cxn ang="0">
                    <a:pos x="2" y="44"/>
                  </a:cxn>
                  <a:cxn ang="0">
                    <a:pos x="1" y="44"/>
                  </a:cxn>
                  <a:cxn ang="0">
                    <a:pos x="0" y="48"/>
                  </a:cxn>
                  <a:cxn ang="0">
                    <a:pos x="304" y="96"/>
                  </a:cxn>
                  <a:cxn ang="0">
                    <a:pos x="608" y="48"/>
                  </a:cxn>
                  <a:cxn ang="0">
                    <a:pos x="607" y="44"/>
                  </a:cxn>
                  <a:cxn ang="0">
                    <a:pos x="607" y="44"/>
                  </a:cxn>
                  <a:cxn ang="0">
                    <a:pos x="604" y="40"/>
                  </a:cxn>
                  <a:cxn ang="0">
                    <a:pos x="598" y="36"/>
                  </a:cxn>
                  <a:cxn ang="0">
                    <a:pos x="304" y="0"/>
                  </a:cxn>
                  <a:cxn ang="0">
                    <a:pos x="10" y="36"/>
                  </a:cxn>
                  <a:cxn ang="0">
                    <a:pos x="5" y="39"/>
                  </a:cxn>
                  <a:cxn ang="0">
                    <a:pos x="2" y="44"/>
                  </a:cxn>
                </a:cxnLst>
                <a:rect l="0" t="0" r="r" b="b"/>
                <a:pathLst>
                  <a:path w="608" h="96">
                    <a:moveTo>
                      <a:pt x="2" y="44"/>
                    </a:moveTo>
                    <a:cubicBezTo>
                      <a:pt x="2" y="44"/>
                      <a:pt x="1" y="44"/>
                      <a:pt x="1" y="44"/>
                    </a:cubicBezTo>
                    <a:cubicBezTo>
                      <a:pt x="1" y="45"/>
                      <a:pt x="0" y="47"/>
                      <a:pt x="0" y="48"/>
                    </a:cubicBezTo>
                    <a:cubicBezTo>
                      <a:pt x="0" y="74"/>
                      <a:pt x="137" y="96"/>
                      <a:pt x="304" y="96"/>
                    </a:cubicBezTo>
                    <a:cubicBezTo>
                      <a:pt x="472" y="96"/>
                      <a:pt x="608" y="74"/>
                      <a:pt x="608" y="48"/>
                    </a:cubicBezTo>
                    <a:cubicBezTo>
                      <a:pt x="608" y="47"/>
                      <a:pt x="608" y="45"/>
                      <a:pt x="607" y="44"/>
                    </a:cubicBezTo>
                    <a:cubicBezTo>
                      <a:pt x="607" y="44"/>
                      <a:pt x="607" y="44"/>
                      <a:pt x="607" y="44"/>
                    </a:cubicBezTo>
                    <a:cubicBezTo>
                      <a:pt x="606" y="42"/>
                      <a:pt x="605" y="41"/>
                      <a:pt x="604" y="40"/>
                    </a:cubicBezTo>
                    <a:cubicBezTo>
                      <a:pt x="602" y="38"/>
                      <a:pt x="600" y="37"/>
                      <a:pt x="598" y="36"/>
                    </a:cubicBezTo>
                    <a:cubicBezTo>
                      <a:pt x="564" y="15"/>
                      <a:pt x="446" y="0"/>
                      <a:pt x="304" y="0"/>
                    </a:cubicBezTo>
                    <a:cubicBezTo>
                      <a:pt x="163" y="0"/>
                      <a:pt x="44" y="15"/>
                      <a:pt x="10" y="36"/>
                    </a:cubicBezTo>
                    <a:cubicBezTo>
                      <a:pt x="8" y="37"/>
                      <a:pt x="7" y="38"/>
                      <a:pt x="5" y="39"/>
                    </a:cubicBezTo>
                    <a:cubicBezTo>
                      <a:pt x="4" y="41"/>
                      <a:pt x="2" y="42"/>
                      <a:pt x="2" y="4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tx2">
                      <a:lumMod val="75000"/>
                    </a:schemeClr>
                  </a:gs>
                  <a:gs pos="100000">
                    <a:srgbClr val="0070C0"/>
                  </a:gs>
                </a:gsLst>
                <a:lin ang="0" scaled="0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pic>
            <p:nvPicPr>
              <p:cNvPr id="81" name="_effect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gray">
              <a:xfrm>
                <a:off x="5901103" y="3957638"/>
                <a:ext cx="885825" cy="514350"/>
              </a:xfrm>
              <a:prstGeom prst="rect">
                <a:avLst/>
              </a:prstGeom>
              <a:noFill/>
            </p:spPr>
          </p:pic>
        </p:grpSp>
        <p:sp>
          <p:nvSpPr>
            <p:cNvPr id="82" name="Text Box 69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6134899" y="5611813"/>
              <a:ext cx="402354" cy="2631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177800" indent="-177800" algn="ctr" defTabSz="801688">
                <a:lnSpc>
                  <a:spcPct val="95000"/>
                </a:lnSpc>
                <a:spcBef>
                  <a:spcPct val="20000"/>
                </a:spcBef>
                <a:spcAft>
                  <a:spcPts val="800"/>
                </a:spcAft>
              </a:pPr>
              <a:r>
                <a:rPr lang="en-GB" b="1" noProof="1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90%</a:t>
              </a:r>
            </a:p>
          </p:txBody>
        </p:sp>
      </p:grpSp>
      <p:grpSp>
        <p:nvGrpSpPr>
          <p:cNvPr id="13" name="Gruppieren 12"/>
          <p:cNvGrpSpPr/>
          <p:nvPr/>
        </p:nvGrpSpPr>
        <p:grpSpPr>
          <a:xfrm>
            <a:off x="7368604" y="3937000"/>
            <a:ext cx="1454150" cy="1937962"/>
            <a:chOff x="7368604" y="3937000"/>
            <a:chExt cx="1454150" cy="1937962"/>
          </a:xfrm>
        </p:grpSpPr>
        <p:grpSp>
          <p:nvGrpSpPr>
            <p:cNvPr id="26" name="Gruppieren 25"/>
            <p:cNvGrpSpPr/>
            <p:nvPr/>
          </p:nvGrpSpPr>
          <p:grpSpPr>
            <a:xfrm>
              <a:off x="7368604" y="3937000"/>
              <a:ext cx="1454150" cy="1452563"/>
              <a:chOff x="7368604" y="3937000"/>
              <a:chExt cx="1454150" cy="1452563"/>
            </a:xfrm>
            <a:effectLst>
              <a:reflection blurRad="6350" stA="52000" endA="300" endPos="35000" dir="5400000" sy="-100000" algn="bl" rotWithShape="0"/>
            </a:effectLst>
          </p:grpSpPr>
          <p:sp>
            <p:nvSpPr>
              <p:cNvPr id="90" name="_color1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7368604" y="3937000"/>
                <a:ext cx="1454150" cy="1452563"/>
              </a:xfrm>
              <a:prstGeom prst="ellipse">
                <a:avLst/>
              </a:prstGeom>
              <a:gradFill rotWithShape="1">
                <a:gsLst>
                  <a:gs pos="0">
                    <a:schemeClr val="tx2"/>
                  </a:gs>
                  <a:gs pos="100000">
                    <a:srgbClr val="0070C0"/>
                  </a:gs>
                </a:gsLst>
                <a:lin ang="5400000" scaled="1"/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pic>
            <p:nvPicPr>
              <p:cNvPr id="92" name="_effect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gray">
              <a:xfrm>
                <a:off x="7652766" y="3948494"/>
                <a:ext cx="885825" cy="514350"/>
              </a:xfrm>
              <a:prstGeom prst="rect">
                <a:avLst/>
              </a:prstGeom>
              <a:noFill/>
            </p:spPr>
          </p:pic>
        </p:grpSp>
        <p:sp>
          <p:nvSpPr>
            <p:cNvPr id="93" name="Text Box 70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7834404" y="5611813"/>
              <a:ext cx="519373" cy="2631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177800" indent="-177800" algn="ctr" defTabSz="801688">
                <a:lnSpc>
                  <a:spcPct val="95000"/>
                </a:lnSpc>
                <a:spcBef>
                  <a:spcPct val="20000"/>
                </a:spcBef>
                <a:spcAft>
                  <a:spcPts val="800"/>
                </a:spcAft>
              </a:pPr>
              <a:r>
                <a:rPr lang="en-GB" b="1" noProof="1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100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98154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3"/>
          <p:cNvGrpSpPr/>
          <p:nvPr/>
        </p:nvGrpSpPr>
        <p:grpSpPr>
          <a:xfrm>
            <a:off x="2173288" y="1916111"/>
            <a:ext cx="2183558" cy="3292671"/>
            <a:chOff x="2173288" y="1916111"/>
            <a:chExt cx="2183558" cy="3292671"/>
          </a:xfrm>
        </p:grpSpPr>
        <p:sp>
          <p:nvSpPr>
            <p:cNvPr id="54" name="Line 6"/>
            <p:cNvSpPr>
              <a:spLocks noChangeShapeType="1"/>
            </p:cNvSpPr>
            <p:nvPr/>
          </p:nvSpPr>
          <p:spPr bwMode="gray">
            <a:xfrm flipV="1">
              <a:off x="2190750" y="1916111"/>
              <a:ext cx="2166096" cy="1622426"/>
            </a:xfrm>
            <a:prstGeom prst="line">
              <a:avLst/>
            </a:prstGeom>
            <a:noFill/>
            <a:ln w="76200">
              <a:solidFill>
                <a:srgbClr val="EAEAEA"/>
              </a:solidFill>
              <a:round/>
              <a:headEnd/>
              <a:tailEnd type="triangl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55" name="Line 7"/>
            <p:cNvSpPr>
              <a:spLocks noChangeShapeType="1"/>
            </p:cNvSpPr>
            <p:nvPr/>
          </p:nvSpPr>
          <p:spPr bwMode="gray">
            <a:xfrm flipV="1">
              <a:off x="2173288" y="3013668"/>
              <a:ext cx="2183558" cy="520105"/>
            </a:xfrm>
            <a:prstGeom prst="line">
              <a:avLst/>
            </a:prstGeom>
            <a:noFill/>
            <a:ln w="76200">
              <a:solidFill>
                <a:srgbClr val="EAEAEA"/>
              </a:solidFill>
              <a:round/>
              <a:headEnd/>
              <a:tailEnd type="triangl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56" name="Line 8"/>
            <p:cNvSpPr>
              <a:spLocks noChangeShapeType="1"/>
            </p:cNvSpPr>
            <p:nvPr/>
          </p:nvSpPr>
          <p:spPr bwMode="gray">
            <a:xfrm>
              <a:off x="2173288" y="3522664"/>
              <a:ext cx="2106612" cy="588562"/>
            </a:xfrm>
            <a:prstGeom prst="line">
              <a:avLst/>
            </a:prstGeom>
            <a:noFill/>
            <a:ln w="76200">
              <a:solidFill>
                <a:srgbClr val="FFFFFF"/>
              </a:solidFill>
              <a:round/>
              <a:headEnd/>
              <a:tailEnd type="triangl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57" name="Line 9"/>
            <p:cNvSpPr>
              <a:spLocks noChangeShapeType="1"/>
            </p:cNvSpPr>
            <p:nvPr/>
          </p:nvSpPr>
          <p:spPr bwMode="gray">
            <a:xfrm>
              <a:off x="2190749" y="3543301"/>
              <a:ext cx="2166097" cy="1665481"/>
            </a:xfrm>
            <a:prstGeom prst="line">
              <a:avLst/>
            </a:prstGeom>
            <a:noFill/>
            <a:ln w="76200">
              <a:solidFill>
                <a:srgbClr val="EAEAEA"/>
              </a:solidFill>
              <a:round/>
              <a:headEnd/>
              <a:tailEnd type="triangl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de-DE"/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3D Spheres - Fill Level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Placeholder for your own sub headline</a:t>
            </a:r>
          </a:p>
        </p:txBody>
      </p:sp>
      <p:pic>
        <p:nvPicPr>
          <p:cNvPr id="41" name="_effect" descr="C:\Users\marc.h\Desktop\Schatten-TEST.png"/>
          <p:cNvPicPr>
            <a:picLocks noChangeAspect="1" noChangeArrowheads="1"/>
          </p:cNvPicPr>
          <p:nvPr/>
        </p:nvPicPr>
        <p:blipFill rotWithShape="1">
          <a:blip r:embed="rId3" cstate="print"/>
          <a:srcRect l="2852"/>
          <a:stretch/>
        </p:blipFill>
        <p:spPr bwMode="auto">
          <a:xfrm>
            <a:off x="0" y="5185229"/>
            <a:ext cx="3920349" cy="608184"/>
          </a:xfrm>
          <a:prstGeom prst="rect">
            <a:avLst/>
          </a:prstGeom>
          <a:noFill/>
        </p:spPr>
      </p:pic>
      <p:grpSp>
        <p:nvGrpSpPr>
          <p:cNvPr id="5" name="Gruppieren 4"/>
          <p:cNvGrpSpPr/>
          <p:nvPr/>
        </p:nvGrpSpPr>
        <p:grpSpPr>
          <a:xfrm>
            <a:off x="343693" y="2067326"/>
            <a:ext cx="3180056" cy="3222225"/>
            <a:chOff x="343693" y="2067326"/>
            <a:chExt cx="3180056" cy="3222225"/>
          </a:xfrm>
        </p:grpSpPr>
        <p:sp>
          <p:nvSpPr>
            <p:cNvPr id="43" name="Oval 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43693" y="2067326"/>
              <a:ext cx="3180056" cy="322222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90000" tIns="90000" rIns="72000" bIns="90000" anchor="ctr"/>
            <a:lstStyle/>
            <a:p>
              <a:endParaRPr lang="en-GB"/>
            </a:p>
          </p:txBody>
        </p:sp>
        <p:sp>
          <p:nvSpPr>
            <p:cNvPr id="46" name="Oval 23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10974" y="2371926"/>
              <a:ext cx="2624318" cy="2624319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AFAFAF"/>
                </a:gs>
              </a:gsLst>
              <a:path path="shape">
                <a:fillToRect l="50000" t="50000" r="50000" b="50000"/>
              </a:path>
            </a:gradFill>
            <a:ln w="12700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_color1" descr="© INSCALE GmbH, 26.05.2010&#10;http://www.presentationload.com/"/>
            <p:cNvSpPr>
              <a:spLocks/>
            </p:cNvSpPr>
            <p:nvPr/>
          </p:nvSpPr>
          <p:spPr bwMode="gray">
            <a:xfrm>
              <a:off x="610974" y="3682370"/>
              <a:ext cx="2624318" cy="1313875"/>
            </a:xfrm>
            <a:custGeom>
              <a:avLst/>
              <a:gdLst/>
              <a:ahLst/>
              <a:cxnLst>
                <a:cxn ang="0">
                  <a:pos x="1015" y="8"/>
                </a:cxn>
                <a:cxn ang="0">
                  <a:pos x="1014" y="10"/>
                </a:cxn>
                <a:cxn ang="0">
                  <a:pos x="508" y="113"/>
                </a:cxn>
                <a:cxn ang="0">
                  <a:pos x="2" y="10"/>
                </a:cxn>
                <a:cxn ang="0">
                  <a:pos x="1" y="8"/>
                </a:cxn>
                <a:cxn ang="0">
                  <a:pos x="0" y="0"/>
                </a:cxn>
                <a:cxn ang="0">
                  <a:pos x="508" y="508"/>
                </a:cxn>
                <a:cxn ang="0">
                  <a:pos x="1016" y="1"/>
                </a:cxn>
                <a:cxn ang="0">
                  <a:pos x="1015" y="8"/>
                </a:cxn>
              </a:cxnLst>
              <a:rect l="0" t="0" r="r" b="b"/>
              <a:pathLst>
                <a:path w="1016" h="508">
                  <a:moveTo>
                    <a:pt x="1015" y="8"/>
                  </a:moveTo>
                  <a:cubicBezTo>
                    <a:pt x="1014" y="9"/>
                    <a:pt x="1014" y="9"/>
                    <a:pt x="1014" y="10"/>
                  </a:cubicBezTo>
                  <a:cubicBezTo>
                    <a:pt x="992" y="68"/>
                    <a:pt x="774" y="113"/>
                    <a:pt x="508" y="113"/>
                  </a:cubicBezTo>
                  <a:cubicBezTo>
                    <a:pt x="242" y="113"/>
                    <a:pt x="24" y="68"/>
                    <a:pt x="2" y="10"/>
                  </a:cubicBezTo>
                  <a:cubicBezTo>
                    <a:pt x="2" y="9"/>
                    <a:pt x="2" y="9"/>
                    <a:pt x="1" y="8"/>
                  </a:cubicBezTo>
                  <a:cubicBezTo>
                    <a:pt x="1" y="6"/>
                    <a:pt x="0" y="3"/>
                    <a:pt x="0" y="0"/>
                  </a:cubicBezTo>
                  <a:cubicBezTo>
                    <a:pt x="0" y="281"/>
                    <a:pt x="228" y="508"/>
                    <a:pt x="508" y="508"/>
                  </a:cubicBezTo>
                  <a:cubicBezTo>
                    <a:pt x="788" y="508"/>
                    <a:pt x="1015" y="281"/>
                    <a:pt x="1016" y="1"/>
                  </a:cubicBezTo>
                  <a:cubicBezTo>
                    <a:pt x="1016" y="4"/>
                    <a:pt x="1015" y="6"/>
                    <a:pt x="1015" y="8"/>
                  </a:cubicBez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0070C0"/>
                </a:gs>
              </a:gsLst>
              <a:lin ang="5400000" scaled="1"/>
            </a:gradFill>
            <a:ln w="12700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pic>
          <p:nvPicPr>
            <p:cNvPr id="48" name="_effect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gray">
            <a:xfrm>
              <a:off x="1123831" y="2397655"/>
              <a:ext cx="1598604" cy="927945"/>
            </a:xfrm>
            <a:prstGeom prst="rect">
              <a:avLst/>
            </a:prstGeom>
            <a:noFill/>
          </p:spPr>
        </p:pic>
        <p:sp>
          <p:nvSpPr>
            <p:cNvPr id="49" name="_color1" descr="© INSCALE GmbH, 26.05.2010&#10;http://www.presentationload.com/"/>
            <p:cNvSpPr>
              <a:spLocks/>
            </p:cNvSpPr>
            <p:nvPr/>
          </p:nvSpPr>
          <p:spPr bwMode="gray">
            <a:xfrm>
              <a:off x="610974" y="3399356"/>
              <a:ext cx="2624318" cy="581467"/>
            </a:xfrm>
            <a:custGeom>
              <a:avLst/>
              <a:gdLst/>
              <a:ahLst/>
              <a:cxnLst>
                <a:cxn ang="0">
                  <a:pos x="2" y="122"/>
                </a:cxn>
                <a:cxn ang="0">
                  <a:pos x="508" y="225"/>
                </a:cxn>
                <a:cxn ang="0">
                  <a:pos x="1014" y="122"/>
                </a:cxn>
                <a:cxn ang="0">
                  <a:pos x="1015" y="120"/>
                </a:cxn>
                <a:cxn ang="0">
                  <a:pos x="1016" y="113"/>
                </a:cxn>
                <a:cxn ang="0">
                  <a:pos x="1016" y="112"/>
                </a:cxn>
                <a:cxn ang="0">
                  <a:pos x="1016" y="111"/>
                </a:cxn>
                <a:cxn ang="0">
                  <a:pos x="508" y="0"/>
                </a:cxn>
                <a:cxn ang="0">
                  <a:pos x="0" y="112"/>
                </a:cxn>
                <a:cxn ang="0">
                  <a:pos x="0" y="112"/>
                </a:cxn>
                <a:cxn ang="0">
                  <a:pos x="1" y="120"/>
                </a:cxn>
                <a:cxn ang="0">
                  <a:pos x="2" y="122"/>
                </a:cxn>
              </a:cxnLst>
              <a:rect l="0" t="0" r="r" b="b"/>
              <a:pathLst>
                <a:path w="1016" h="225">
                  <a:moveTo>
                    <a:pt x="2" y="122"/>
                  </a:moveTo>
                  <a:cubicBezTo>
                    <a:pt x="24" y="180"/>
                    <a:pt x="242" y="225"/>
                    <a:pt x="508" y="225"/>
                  </a:cubicBezTo>
                  <a:cubicBezTo>
                    <a:pt x="774" y="225"/>
                    <a:pt x="992" y="180"/>
                    <a:pt x="1014" y="122"/>
                  </a:cubicBezTo>
                  <a:cubicBezTo>
                    <a:pt x="1014" y="121"/>
                    <a:pt x="1014" y="121"/>
                    <a:pt x="1015" y="120"/>
                  </a:cubicBezTo>
                  <a:cubicBezTo>
                    <a:pt x="1015" y="118"/>
                    <a:pt x="1016" y="116"/>
                    <a:pt x="1016" y="113"/>
                  </a:cubicBezTo>
                  <a:cubicBezTo>
                    <a:pt x="1016" y="113"/>
                    <a:pt x="1016" y="113"/>
                    <a:pt x="1016" y="112"/>
                  </a:cubicBezTo>
                  <a:cubicBezTo>
                    <a:pt x="1016" y="112"/>
                    <a:pt x="1016" y="111"/>
                    <a:pt x="1016" y="111"/>
                  </a:cubicBezTo>
                  <a:cubicBezTo>
                    <a:pt x="1013" y="49"/>
                    <a:pt x="786" y="0"/>
                    <a:pt x="508" y="0"/>
                  </a:cubicBezTo>
                  <a:cubicBezTo>
                    <a:pt x="228" y="0"/>
                    <a:pt x="0" y="50"/>
                    <a:pt x="0" y="112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5"/>
                    <a:pt x="1" y="118"/>
                    <a:pt x="1" y="120"/>
                  </a:cubicBezTo>
                  <a:cubicBezTo>
                    <a:pt x="2" y="121"/>
                    <a:pt x="2" y="121"/>
                    <a:pt x="2" y="122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lumMod val="75000"/>
                  </a:schemeClr>
                </a:gs>
                <a:gs pos="100000">
                  <a:srgbClr val="0070C0"/>
                </a:gs>
              </a:gsLst>
              <a:lin ang="0" scaled="0"/>
              <a:tileRect/>
            </a:gradFill>
            <a:ln w="12700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Text Box 27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1668370" y="4210665"/>
              <a:ext cx="535404" cy="3508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GB" sz="2400" b="1" noProof="1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50%</a:t>
              </a:r>
            </a:p>
          </p:txBody>
        </p:sp>
        <p:sp>
          <p:nvSpPr>
            <p:cNvPr id="51" name="Text Box 28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1668370" y="2732127"/>
              <a:ext cx="535404" cy="3508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GB" sz="2400" b="1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50%</a:t>
              </a:r>
            </a:p>
          </p:txBody>
        </p:sp>
        <p:sp>
          <p:nvSpPr>
            <p:cNvPr id="45" name="AutoShape 10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89708" y="2152375"/>
              <a:ext cx="3059989" cy="3059990"/>
            </a:xfrm>
            <a:custGeom>
              <a:avLst/>
              <a:gdLst>
                <a:gd name="G0" fmla="+- 1608 0 0"/>
                <a:gd name="G1" fmla="+- 21600 0 1608"/>
                <a:gd name="G2" fmla="+- 21600 0 1608"/>
                <a:gd name="G3" fmla="*/ G0 2929 10000"/>
                <a:gd name="G4" fmla="+- 21600 0 G3"/>
                <a:gd name="G5" fmla="+- 21600 0 G3"/>
                <a:gd name="T0" fmla="*/ 10800 w 21600"/>
                <a:gd name="T1" fmla="*/ 0 h 21600"/>
                <a:gd name="T2" fmla="*/ 3163 w 21600"/>
                <a:gd name="T3" fmla="*/ 3163 h 21600"/>
                <a:gd name="T4" fmla="*/ 0 w 21600"/>
                <a:gd name="T5" fmla="*/ 10800 h 21600"/>
                <a:gd name="T6" fmla="*/ 3163 w 21600"/>
                <a:gd name="T7" fmla="*/ 18437 h 21600"/>
                <a:gd name="T8" fmla="*/ 10800 w 21600"/>
                <a:gd name="T9" fmla="*/ 21600 h 21600"/>
                <a:gd name="T10" fmla="*/ 18437 w 21600"/>
                <a:gd name="T11" fmla="*/ 18437 h 21600"/>
                <a:gd name="T12" fmla="*/ 21600 w 21600"/>
                <a:gd name="T13" fmla="*/ 10800 h 21600"/>
                <a:gd name="T14" fmla="*/ 18437 w 21600"/>
                <a:gd name="T15" fmla="*/ 3163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1608" y="10800"/>
                  </a:moveTo>
                  <a:cubicBezTo>
                    <a:pt x="1608" y="15877"/>
                    <a:pt x="5723" y="19992"/>
                    <a:pt x="10800" y="19992"/>
                  </a:cubicBezTo>
                  <a:cubicBezTo>
                    <a:pt x="15877" y="19992"/>
                    <a:pt x="19992" y="15877"/>
                    <a:pt x="19992" y="10800"/>
                  </a:cubicBezTo>
                  <a:cubicBezTo>
                    <a:pt x="19992" y="5723"/>
                    <a:pt x="15877" y="1608"/>
                    <a:pt x="10800" y="1608"/>
                  </a:cubicBezTo>
                  <a:cubicBezTo>
                    <a:pt x="5723" y="1608"/>
                    <a:pt x="1608" y="5723"/>
                    <a:pt x="1608" y="10800"/>
                  </a:cubicBezTo>
                  <a:close/>
                </a:path>
              </a:pathLst>
            </a:custGeom>
            <a:gradFill rotWithShape="1">
              <a:gsLst>
                <a:gs pos="0">
                  <a:srgbClr val="E6E6E6"/>
                </a:gs>
                <a:gs pos="100000">
                  <a:srgbClr val="7D7D7D"/>
                </a:gs>
              </a:gsLst>
              <a:lin ang="5400000" scaled="1"/>
            </a:gradFill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endParaRPr lang="en-GB"/>
            </a:p>
          </p:txBody>
        </p:sp>
      </p:grpSp>
      <p:sp>
        <p:nvSpPr>
          <p:cNvPr id="52" name="Text Box 15" descr="© INSCALE GmbH, 26.05.2010&#10;http://www.presentationload.com/"/>
          <p:cNvSpPr txBox="1">
            <a:spLocks noChangeArrowheads="1"/>
          </p:cNvSpPr>
          <p:nvPr/>
        </p:nvSpPr>
        <p:spPr bwMode="gray">
          <a:xfrm>
            <a:off x="1188540" y="5527280"/>
            <a:ext cx="1462324" cy="3508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algn="ctr" defTabSz="801688">
              <a:lnSpc>
                <a:spcPct val="95000"/>
              </a:lnSpc>
              <a:spcAft>
                <a:spcPts val="800"/>
              </a:spcAft>
            </a:pPr>
            <a:r>
              <a:rPr lang="en-US" sz="2400" noProof="1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cs typeface="Arial" charset="0"/>
              </a:rPr>
              <a:t>Description</a:t>
            </a:r>
          </a:p>
        </p:txBody>
      </p:sp>
      <p:grpSp>
        <p:nvGrpSpPr>
          <p:cNvPr id="6" name="Gruppieren 5"/>
          <p:cNvGrpSpPr/>
          <p:nvPr/>
        </p:nvGrpSpPr>
        <p:grpSpPr>
          <a:xfrm>
            <a:off x="4643438" y="1555748"/>
            <a:ext cx="4176712" cy="4248347"/>
            <a:chOff x="4643438" y="1555748"/>
            <a:chExt cx="4176712" cy="4248347"/>
          </a:xfrm>
        </p:grpSpPr>
        <p:grpSp>
          <p:nvGrpSpPr>
            <p:cNvPr id="94" name="Gruppieren 93"/>
            <p:cNvGrpSpPr/>
            <p:nvPr/>
          </p:nvGrpSpPr>
          <p:grpSpPr>
            <a:xfrm>
              <a:off x="4643438" y="1555748"/>
              <a:ext cx="4176712" cy="955677"/>
              <a:chOff x="4643438" y="1555748"/>
              <a:chExt cx="4176712" cy="955677"/>
            </a:xfrm>
          </p:grpSpPr>
          <p:sp>
            <p:nvSpPr>
              <p:cNvPr id="107" name="_color1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4643438" y="1555748"/>
                <a:ext cx="4175556" cy="360364"/>
              </a:xfrm>
              <a:prstGeom prst="rect">
                <a:avLst/>
              </a:prstGeom>
              <a:gradFill>
                <a:gsLst>
                  <a:gs pos="0">
                    <a:srgbClr val="0070C0"/>
                  </a:gs>
                  <a:gs pos="100000">
                    <a:schemeClr val="tx2">
                      <a:lumMod val="60000"/>
                      <a:lumOff val="40000"/>
                    </a:schemeClr>
                  </a:gs>
                </a:gsLst>
                <a:lin ang="16200000" scaled="1"/>
              </a:gradFill>
              <a:ln w="12700">
                <a:solidFill>
                  <a:srgbClr val="DDDDDD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288000" tIns="0" rIns="0" bIns="0" anchor="ctr"/>
              <a:lstStyle/>
              <a:p>
                <a:pPr defTabSz="801688" eaLnBrk="0" hangingPunct="0"/>
                <a:r>
                  <a:rPr lang="en-GB" sz="1600" b="1" noProof="1">
                    <a:solidFill>
                      <a:srgbClr val="FFFFFF"/>
                    </a:solidFill>
                  </a:rPr>
                  <a:t>Text for step 1</a:t>
                </a:r>
              </a:p>
            </p:txBody>
          </p:sp>
          <p:sp>
            <p:nvSpPr>
              <p:cNvPr id="108" name="Rectangle 8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4643440" y="1916113"/>
                <a:ext cx="4176710" cy="59531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/>
              <a:lstStyle/>
              <a:p>
                <a:pPr marL="180000" indent="-1800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This is a placeholder text.</a:t>
                </a:r>
              </a:p>
            </p:txBody>
          </p:sp>
        </p:grpSp>
        <p:grpSp>
          <p:nvGrpSpPr>
            <p:cNvPr id="95" name="Gruppieren 94"/>
            <p:cNvGrpSpPr/>
            <p:nvPr/>
          </p:nvGrpSpPr>
          <p:grpSpPr>
            <a:xfrm>
              <a:off x="4643438" y="2653305"/>
              <a:ext cx="4176712" cy="955677"/>
              <a:chOff x="4643438" y="2653305"/>
              <a:chExt cx="4176712" cy="955677"/>
            </a:xfrm>
          </p:grpSpPr>
          <p:sp>
            <p:nvSpPr>
              <p:cNvPr id="105" name="Rectangle 80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4643438" y="2653305"/>
                <a:ext cx="4175556" cy="360364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DDDDDD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288000" tIns="0" rIns="0" bIns="0" anchor="ctr"/>
              <a:lstStyle/>
              <a:p>
                <a:pPr defTabSz="801688" eaLnBrk="0" hangingPunct="0"/>
                <a:r>
                  <a:rPr lang="en-GB" sz="1600" b="1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Text for step 2</a:t>
                </a:r>
              </a:p>
            </p:txBody>
          </p:sp>
          <p:sp>
            <p:nvSpPr>
              <p:cNvPr id="106" name="Rectangle 8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4643440" y="3013670"/>
                <a:ext cx="4176710" cy="59531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/>
              <a:lstStyle/>
              <a:p>
                <a:pPr marL="180000" indent="-1800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The text demonstrates how your own text will look when you replace the placeholder text.</a:t>
                </a:r>
              </a:p>
            </p:txBody>
          </p:sp>
        </p:grpSp>
        <p:grpSp>
          <p:nvGrpSpPr>
            <p:cNvPr id="96" name="Gruppieren 95"/>
            <p:cNvGrpSpPr/>
            <p:nvPr/>
          </p:nvGrpSpPr>
          <p:grpSpPr>
            <a:xfrm>
              <a:off x="4643438" y="3750862"/>
              <a:ext cx="4176712" cy="955677"/>
              <a:chOff x="4643438" y="3750862"/>
              <a:chExt cx="4176712" cy="955677"/>
            </a:xfrm>
          </p:grpSpPr>
          <p:sp>
            <p:nvSpPr>
              <p:cNvPr id="103" name="Rectangle 80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4643438" y="3750862"/>
                <a:ext cx="4175556" cy="360364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DDDDDD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288000" tIns="0" rIns="0" bIns="0" anchor="ctr"/>
              <a:lstStyle/>
              <a:p>
                <a:pPr defTabSz="801688" eaLnBrk="0" hangingPunct="0"/>
                <a:r>
                  <a:rPr lang="en-GB" sz="1600" b="1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Text for step 3</a:t>
                </a:r>
              </a:p>
            </p:txBody>
          </p:sp>
          <p:sp>
            <p:nvSpPr>
              <p:cNvPr id="104" name="Rectangle 8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4643440" y="4111227"/>
                <a:ext cx="4176710" cy="59531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/>
              <a:lstStyle/>
              <a:p>
                <a:pPr marL="180000" indent="-1800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This is a placeholder text.</a:t>
                </a:r>
              </a:p>
            </p:txBody>
          </p:sp>
        </p:grpSp>
        <p:grpSp>
          <p:nvGrpSpPr>
            <p:cNvPr id="97" name="Gruppieren 96"/>
            <p:cNvGrpSpPr/>
            <p:nvPr/>
          </p:nvGrpSpPr>
          <p:grpSpPr>
            <a:xfrm>
              <a:off x="4643438" y="4848418"/>
              <a:ext cx="4176712" cy="955677"/>
              <a:chOff x="4643438" y="4848418"/>
              <a:chExt cx="4176712" cy="955677"/>
            </a:xfrm>
          </p:grpSpPr>
          <p:sp>
            <p:nvSpPr>
              <p:cNvPr id="101" name="Rectangle 80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4643438" y="4848418"/>
                <a:ext cx="4175556" cy="360364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DDDDDD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288000" tIns="0" rIns="0" bIns="0" anchor="ctr"/>
              <a:lstStyle/>
              <a:p>
                <a:pPr defTabSz="801688" eaLnBrk="0" hangingPunct="0"/>
                <a:r>
                  <a:rPr lang="en-GB" sz="1600" b="1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Text for step 4</a:t>
                </a:r>
              </a:p>
            </p:txBody>
          </p:sp>
          <p:sp>
            <p:nvSpPr>
              <p:cNvPr id="102" name="Rectangle 8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4643440" y="5208783"/>
                <a:ext cx="4176710" cy="59531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/>
              <a:lstStyle/>
              <a:p>
                <a:pPr marL="180000" indent="-18000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The text demonstrates how your own text will look when you replace the placeholder text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98154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3D Spheres - </a:t>
            </a:r>
            <a:r>
              <a:rPr lang="de-DE" noProof="1" smtClean="0"/>
              <a:t>Fill Levels</a:t>
            </a:r>
            <a:endParaRPr lang="de-DE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Placeholder for your own sub headline</a:t>
            </a:r>
          </a:p>
        </p:txBody>
      </p:sp>
      <p:grpSp>
        <p:nvGrpSpPr>
          <p:cNvPr id="32" name="Gruppieren 31"/>
          <p:cNvGrpSpPr/>
          <p:nvPr/>
        </p:nvGrpSpPr>
        <p:grpSpPr>
          <a:xfrm>
            <a:off x="307821" y="1873250"/>
            <a:ext cx="8477250" cy="3996770"/>
            <a:chOff x="307821" y="1873250"/>
            <a:chExt cx="8477250" cy="3996770"/>
          </a:xfrm>
        </p:grpSpPr>
        <p:sp>
          <p:nvSpPr>
            <p:cNvPr id="18" name="Freeform 6"/>
            <p:cNvSpPr>
              <a:spLocks noEditPoints="1"/>
            </p:cNvSpPr>
            <p:nvPr/>
          </p:nvSpPr>
          <p:spPr bwMode="gray">
            <a:xfrm>
              <a:off x="984096" y="3043238"/>
              <a:ext cx="7218363" cy="1938337"/>
            </a:xfrm>
            <a:custGeom>
              <a:avLst/>
              <a:gdLst/>
              <a:ahLst/>
              <a:cxnLst>
                <a:cxn ang="0">
                  <a:pos x="682" y="0"/>
                </a:cxn>
                <a:cxn ang="0">
                  <a:pos x="0" y="183"/>
                </a:cxn>
                <a:cxn ang="0">
                  <a:pos x="682" y="366"/>
                </a:cxn>
                <a:cxn ang="0">
                  <a:pos x="1364" y="183"/>
                </a:cxn>
                <a:cxn ang="0">
                  <a:pos x="682" y="0"/>
                </a:cxn>
                <a:cxn ang="0">
                  <a:pos x="682" y="310"/>
                </a:cxn>
                <a:cxn ang="0">
                  <a:pos x="50" y="173"/>
                </a:cxn>
                <a:cxn ang="0">
                  <a:pos x="682" y="20"/>
                </a:cxn>
                <a:cxn ang="0">
                  <a:pos x="1313" y="173"/>
                </a:cxn>
                <a:cxn ang="0">
                  <a:pos x="682" y="310"/>
                </a:cxn>
              </a:cxnLst>
              <a:rect l="0" t="0" r="r" b="b"/>
              <a:pathLst>
                <a:path w="1364" h="366">
                  <a:moveTo>
                    <a:pt x="682" y="0"/>
                  </a:moveTo>
                  <a:cubicBezTo>
                    <a:pt x="305" y="0"/>
                    <a:pt x="0" y="82"/>
                    <a:pt x="0" y="183"/>
                  </a:cubicBezTo>
                  <a:cubicBezTo>
                    <a:pt x="0" y="284"/>
                    <a:pt x="305" y="366"/>
                    <a:pt x="682" y="366"/>
                  </a:cubicBezTo>
                  <a:cubicBezTo>
                    <a:pt x="1058" y="366"/>
                    <a:pt x="1364" y="284"/>
                    <a:pt x="1364" y="183"/>
                  </a:cubicBezTo>
                  <a:cubicBezTo>
                    <a:pt x="1364" y="82"/>
                    <a:pt x="1058" y="0"/>
                    <a:pt x="682" y="0"/>
                  </a:cubicBezTo>
                  <a:close/>
                  <a:moveTo>
                    <a:pt x="682" y="310"/>
                  </a:moveTo>
                  <a:cubicBezTo>
                    <a:pt x="333" y="310"/>
                    <a:pt x="50" y="249"/>
                    <a:pt x="50" y="173"/>
                  </a:cubicBezTo>
                  <a:cubicBezTo>
                    <a:pt x="50" y="97"/>
                    <a:pt x="333" y="20"/>
                    <a:pt x="682" y="20"/>
                  </a:cubicBezTo>
                  <a:cubicBezTo>
                    <a:pt x="1031" y="20"/>
                    <a:pt x="1313" y="97"/>
                    <a:pt x="1313" y="173"/>
                  </a:cubicBezTo>
                  <a:cubicBezTo>
                    <a:pt x="1313" y="249"/>
                    <a:pt x="1031" y="310"/>
                    <a:pt x="682" y="310"/>
                  </a:cubicBezTo>
                  <a:close/>
                </a:path>
              </a:pathLst>
            </a:custGeom>
            <a:gradFill rotWithShape="1">
              <a:gsLst>
                <a:gs pos="0">
                  <a:srgbClr val="B2B2B2">
                    <a:gamma/>
                    <a:tint val="22353"/>
                    <a:invGamma/>
                  </a:srgbClr>
                </a:gs>
                <a:gs pos="100000">
                  <a:srgbClr val="B2B2B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19" name="Freeform 7"/>
            <p:cNvSpPr>
              <a:spLocks noEditPoints="1"/>
            </p:cNvSpPr>
            <p:nvPr/>
          </p:nvSpPr>
          <p:spPr bwMode="gray">
            <a:xfrm>
              <a:off x="1582584" y="3222625"/>
              <a:ext cx="6021387" cy="1335088"/>
            </a:xfrm>
            <a:custGeom>
              <a:avLst/>
              <a:gdLst/>
              <a:ahLst/>
              <a:cxnLst>
                <a:cxn ang="0">
                  <a:pos x="569" y="0"/>
                </a:cxn>
                <a:cxn ang="0">
                  <a:pos x="0" y="133"/>
                </a:cxn>
                <a:cxn ang="0">
                  <a:pos x="569" y="252"/>
                </a:cxn>
                <a:cxn ang="0">
                  <a:pos x="1138" y="133"/>
                </a:cxn>
                <a:cxn ang="0">
                  <a:pos x="569" y="0"/>
                </a:cxn>
                <a:cxn ang="0">
                  <a:pos x="569" y="231"/>
                </a:cxn>
                <a:cxn ang="0">
                  <a:pos x="28" y="127"/>
                </a:cxn>
                <a:cxn ang="0">
                  <a:pos x="569" y="11"/>
                </a:cxn>
                <a:cxn ang="0">
                  <a:pos x="1110" y="127"/>
                </a:cxn>
                <a:cxn ang="0">
                  <a:pos x="569" y="231"/>
                </a:cxn>
              </a:cxnLst>
              <a:rect l="0" t="0" r="r" b="b"/>
              <a:pathLst>
                <a:path w="1138" h="252">
                  <a:moveTo>
                    <a:pt x="569" y="0"/>
                  </a:moveTo>
                  <a:cubicBezTo>
                    <a:pt x="254" y="0"/>
                    <a:pt x="0" y="67"/>
                    <a:pt x="0" y="133"/>
                  </a:cubicBezTo>
                  <a:cubicBezTo>
                    <a:pt x="0" y="199"/>
                    <a:pt x="254" y="252"/>
                    <a:pt x="569" y="252"/>
                  </a:cubicBezTo>
                  <a:cubicBezTo>
                    <a:pt x="883" y="252"/>
                    <a:pt x="1138" y="199"/>
                    <a:pt x="1138" y="133"/>
                  </a:cubicBezTo>
                  <a:cubicBezTo>
                    <a:pt x="1138" y="67"/>
                    <a:pt x="883" y="0"/>
                    <a:pt x="569" y="0"/>
                  </a:cubicBezTo>
                  <a:close/>
                  <a:moveTo>
                    <a:pt x="569" y="231"/>
                  </a:moveTo>
                  <a:cubicBezTo>
                    <a:pt x="270" y="231"/>
                    <a:pt x="28" y="184"/>
                    <a:pt x="28" y="127"/>
                  </a:cubicBezTo>
                  <a:cubicBezTo>
                    <a:pt x="28" y="69"/>
                    <a:pt x="270" y="11"/>
                    <a:pt x="569" y="11"/>
                  </a:cubicBezTo>
                  <a:cubicBezTo>
                    <a:pt x="868" y="11"/>
                    <a:pt x="1110" y="69"/>
                    <a:pt x="1110" y="127"/>
                  </a:cubicBezTo>
                  <a:cubicBezTo>
                    <a:pt x="1110" y="184"/>
                    <a:pt x="868" y="231"/>
                    <a:pt x="569" y="231"/>
                  </a:cubicBezTo>
                  <a:close/>
                </a:path>
              </a:pathLst>
            </a:custGeom>
            <a:gradFill rotWithShape="1">
              <a:gsLst>
                <a:gs pos="0">
                  <a:srgbClr val="B2B2B2">
                    <a:gamma/>
                    <a:tint val="50588"/>
                    <a:invGamma/>
                  </a:srgbClr>
                </a:gs>
                <a:gs pos="100000">
                  <a:srgbClr val="B2B2B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20" name="Text Box 8"/>
            <p:cNvSpPr txBox="1">
              <a:spLocks noChangeArrowheads="1"/>
            </p:cNvSpPr>
            <p:nvPr/>
          </p:nvSpPr>
          <p:spPr bwMode="gray">
            <a:xfrm>
              <a:off x="6822062" y="4972050"/>
              <a:ext cx="1598744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216000" tIns="0" rIns="0" bIns="0">
              <a:spAutoFit/>
            </a:bodyPr>
            <a:lstStyle/>
            <a:p>
              <a:pPr marL="177800" indent="-177800" algn="ctr" defTabSz="801688">
                <a:spcBef>
                  <a:spcPct val="20000"/>
                </a:spcBef>
                <a:defRPr/>
              </a:pPr>
              <a:r>
                <a:rPr lang="de-DE" sz="2000" noProof="1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Description 3</a:t>
              </a:r>
            </a:p>
          </p:txBody>
        </p:sp>
        <p:sp>
          <p:nvSpPr>
            <p:cNvPr id="21" name="Text Box 9"/>
            <p:cNvSpPr txBox="1">
              <a:spLocks noChangeArrowheads="1"/>
            </p:cNvSpPr>
            <p:nvPr/>
          </p:nvSpPr>
          <p:spPr bwMode="gray">
            <a:xfrm>
              <a:off x="700662" y="4972050"/>
              <a:ext cx="1598744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216000" tIns="0" rIns="0" bIns="0">
              <a:spAutoFit/>
            </a:bodyPr>
            <a:lstStyle/>
            <a:p>
              <a:pPr marL="177800" indent="-177800" algn="ctr" defTabSz="801688">
                <a:spcBef>
                  <a:spcPct val="20000"/>
                </a:spcBef>
                <a:defRPr/>
              </a:pPr>
              <a:r>
                <a:rPr lang="de-DE" sz="2000" noProof="1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Description 5</a:t>
              </a:r>
            </a:p>
          </p:txBody>
        </p:sp>
        <p:pic>
          <p:nvPicPr>
            <p:cNvPr id="23" name="Picture 11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146271" y="5128149"/>
              <a:ext cx="2805113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7" name="Gruppieren 16"/>
            <p:cNvGrpSpPr/>
            <p:nvPr/>
          </p:nvGrpSpPr>
          <p:grpSpPr>
            <a:xfrm>
              <a:off x="3473296" y="3252788"/>
              <a:ext cx="2159000" cy="2157412"/>
              <a:chOff x="3473296" y="3252788"/>
              <a:chExt cx="2159000" cy="2157412"/>
            </a:xfrm>
          </p:grpSpPr>
          <p:pic>
            <p:nvPicPr>
              <p:cNvPr id="24" name="Picture 12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3878109" y="3275013"/>
                <a:ext cx="1362075" cy="7905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" name="Oval 13"/>
              <p:cNvSpPr>
                <a:spLocks noChangeArrowheads="1"/>
              </p:cNvSpPr>
              <p:nvPr/>
            </p:nvSpPr>
            <p:spPr bwMode="gray">
              <a:xfrm>
                <a:off x="3473296" y="3252788"/>
                <a:ext cx="2159000" cy="2157412"/>
              </a:xfrm>
              <a:prstGeom prst="ellipse">
                <a:avLst/>
              </a:prstGeom>
              <a:gradFill rotWithShape="1">
                <a:gsLst>
                  <a:gs pos="0">
                    <a:srgbClr val="F1F1F1"/>
                  </a:gs>
                  <a:gs pos="100000">
                    <a:srgbClr val="B2B2B2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6" name="Freeform 14"/>
              <p:cNvSpPr>
                <a:spLocks/>
              </p:cNvSpPr>
              <p:nvPr/>
            </p:nvSpPr>
            <p:spPr bwMode="gray">
              <a:xfrm>
                <a:off x="3473296" y="3902075"/>
                <a:ext cx="2159000" cy="1508125"/>
              </a:xfrm>
              <a:custGeom>
                <a:avLst/>
                <a:gdLst/>
                <a:ahLst/>
                <a:cxnLst>
                  <a:cxn ang="0">
                    <a:pos x="975" y="1"/>
                  </a:cxn>
                  <a:cxn ang="0">
                    <a:pos x="975" y="5"/>
                  </a:cxn>
                  <a:cxn ang="0">
                    <a:pos x="508" y="88"/>
                  </a:cxn>
                  <a:cxn ang="0">
                    <a:pos x="41" y="5"/>
                  </a:cxn>
                  <a:cxn ang="0">
                    <a:pos x="42" y="0"/>
                  </a:cxn>
                  <a:cxn ang="0">
                    <a:pos x="0" y="202"/>
                  </a:cxn>
                  <a:cxn ang="0">
                    <a:pos x="508" y="709"/>
                  </a:cxn>
                  <a:cxn ang="0">
                    <a:pos x="1016" y="202"/>
                  </a:cxn>
                  <a:cxn ang="0">
                    <a:pos x="975" y="1"/>
                  </a:cxn>
                </a:cxnLst>
                <a:rect l="0" t="0" r="r" b="b"/>
                <a:pathLst>
                  <a:path w="1016" h="709">
                    <a:moveTo>
                      <a:pt x="975" y="1"/>
                    </a:moveTo>
                    <a:cubicBezTo>
                      <a:pt x="975" y="2"/>
                      <a:pt x="975" y="4"/>
                      <a:pt x="975" y="5"/>
                    </a:cubicBezTo>
                    <a:cubicBezTo>
                      <a:pt x="975" y="51"/>
                      <a:pt x="766" y="88"/>
                      <a:pt x="508" y="88"/>
                    </a:cubicBezTo>
                    <a:cubicBezTo>
                      <a:pt x="250" y="88"/>
                      <a:pt x="41" y="51"/>
                      <a:pt x="41" y="5"/>
                    </a:cubicBezTo>
                    <a:cubicBezTo>
                      <a:pt x="41" y="4"/>
                      <a:pt x="41" y="2"/>
                      <a:pt x="42" y="0"/>
                    </a:cubicBezTo>
                    <a:cubicBezTo>
                      <a:pt x="15" y="62"/>
                      <a:pt x="0" y="130"/>
                      <a:pt x="0" y="202"/>
                    </a:cubicBezTo>
                    <a:cubicBezTo>
                      <a:pt x="0" y="482"/>
                      <a:pt x="228" y="709"/>
                      <a:pt x="508" y="709"/>
                    </a:cubicBezTo>
                    <a:cubicBezTo>
                      <a:pt x="789" y="709"/>
                      <a:pt x="1016" y="482"/>
                      <a:pt x="1016" y="202"/>
                    </a:cubicBezTo>
                    <a:cubicBezTo>
                      <a:pt x="1016" y="130"/>
                      <a:pt x="1001" y="62"/>
                      <a:pt x="975" y="1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tx2"/>
                  </a:gs>
                  <a:gs pos="100000">
                    <a:srgbClr val="0070C0"/>
                  </a:gs>
                </a:gsLst>
                <a:lin ang="5400000" scaled="1"/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7" name="Freeform 15"/>
              <p:cNvSpPr>
                <a:spLocks/>
              </p:cNvSpPr>
              <p:nvPr/>
            </p:nvSpPr>
            <p:spPr bwMode="gray">
              <a:xfrm>
                <a:off x="3560609" y="3743325"/>
                <a:ext cx="1984375" cy="350837"/>
              </a:xfrm>
              <a:custGeom>
                <a:avLst/>
                <a:gdLst/>
                <a:ahLst/>
                <a:cxnLst>
                  <a:cxn ang="0">
                    <a:pos x="467" y="165"/>
                  </a:cxn>
                  <a:cxn ang="0">
                    <a:pos x="934" y="82"/>
                  </a:cxn>
                  <a:cxn ang="0">
                    <a:pos x="934" y="78"/>
                  </a:cxn>
                  <a:cxn ang="0">
                    <a:pos x="932" y="74"/>
                  </a:cxn>
                  <a:cxn ang="0">
                    <a:pos x="467" y="0"/>
                  </a:cxn>
                  <a:cxn ang="0">
                    <a:pos x="2" y="75"/>
                  </a:cxn>
                  <a:cxn ang="0">
                    <a:pos x="1" y="77"/>
                  </a:cxn>
                  <a:cxn ang="0">
                    <a:pos x="0" y="82"/>
                  </a:cxn>
                  <a:cxn ang="0">
                    <a:pos x="467" y="165"/>
                  </a:cxn>
                </a:cxnLst>
                <a:rect l="0" t="0" r="r" b="b"/>
                <a:pathLst>
                  <a:path w="934" h="165">
                    <a:moveTo>
                      <a:pt x="467" y="165"/>
                    </a:moveTo>
                    <a:cubicBezTo>
                      <a:pt x="725" y="165"/>
                      <a:pt x="934" y="128"/>
                      <a:pt x="934" y="82"/>
                    </a:cubicBezTo>
                    <a:cubicBezTo>
                      <a:pt x="934" y="81"/>
                      <a:pt x="934" y="79"/>
                      <a:pt x="934" y="78"/>
                    </a:cubicBezTo>
                    <a:cubicBezTo>
                      <a:pt x="933" y="77"/>
                      <a:pt x="933" y="75"/>
                      <a:pt x="932" y="74"/>
                    </a:cubicBezTo>
                    <a:cubicBezTo>
                      <a:pt x="908" y="32"/>
                      <a:pt x="709" y="0"/>
                      <a:pt x="467" y="0"/>
                    </a:cubicBezTo>
                    <a:cubicBezTo>
                      <a:pt x="224" y="0"/>
                      <a:pt x="25" y="33"/>
                      <a:pt x="2" y="75"/>
                    </a:cubicBezTo>
                    <a:cubicBezTo>
                      <a:pt x="2" y="76"/>
                      <a:pt x="1" y="76"/>
                      <a:pt x="1" y="77"/>
                    </a:cubicBezTo>
                    <a:cubicBezTo>
                      <a:pt x="0" y="79"/>
                      <a:pt x="0" y="81"/>
                      <a:pt x="0" y="82"/>
                    </a:cubicBezTo>
                    <a:cubicBezTo>
                      <a:pt x="0" y="128"/>
                      <a:pt x="209" y="165"/>
                      <a:pt x="467" y="16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tx2">
                      <a:lumMod val="75000"/>
                    </a:schemeClr>
                  </a:gs>
                  <a:gs pos="100000">
                    <a:srgbClr val="0070C0"/>
                  </a:gs>
                </a:gsLst>
                <a:lin ang="0" scaled="0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pic>
            <p:nvPicPr>
              <p:cNvPr id="28" name="Picture 16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3895571" y="3278188"/>
                <a:ext cx="1314450" cy="7651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Text Box 17"/>
              <p:cNvSpPr txBox="1">
                <a:spLocks noChangeArrowheads="1"/>
              </p:cNvSpPr>
              <p:nvPr/>
            </p:nvSpPr>
            <p:spPr bwMode="gray">
              <a:xfrm>
                <a:off x="4254536" y="4438650"/>
                <a:ext cx="617156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marL="177800" indent="-1778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algn="ctr" eaLnBrk="1" hangingPunct="1">
                  <a:spcBef>
                    <a:spcPct val="20000"/>
                  </a:spcBef>
                </a:pPr>
                <a:r>
                  <a:rPr lang="de-DE" sz="2400" b="1" noProof="1">
                    <a:solidFill>
                      <a:schemeClr val="bg1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a:rPr>
                  <a:t>73%</a:t>
                </a:r>
              </a:p>
            </p:txBody>
          </p:sp>
          <p:sp>
            <p:nvSpPr>
              <p:cNvPr id="30" name="Text Box 18"/>
              <p:cNvSpPr txBox="1">
                <a:spLocks noChangeArrowheads="1"/>
              </p:cNvSpPr>
              <p:nvPr/>
            </p:nvSpPr>
            <p:spPr bwMode="gray">
              <a:xfrm>
                <a:off x="4252948" y="3375025"/>
                <a:ext cx="617156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marL="177800" indent="-1778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algn="ctr" eaLnBrk="1" hangingPunct="1">
                  <a:spcBef>
                    <a:spcPct val="20000"/>
                  </a:spcBef>
                </a:pPr>
                <a:r>
                  <a:rPr lang="de-DE" sz="2400" b="1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27%</a:t>
                </a:r>
              </a:p>
            </p:txBody>
          </p:sp>
        </p:grpSp>
        <p:sp>
          <p:nvSpPr>
            <p:cNvPr id="31" name="Text Box 19"/>
            <p:cNvSpPr txBox="1">
              <a:spLocks noChangeArrowheads="1"/>
            </p:cNvSpPr>
            <p:nvPr/>
          </p:nvSpPr>
          <p:spPr bwMode="gray">
            <a:xfrm>
              <a:off x="3599010" y="5500688"/>
              <a:ext cx="1871061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216000" tIns="0" rIns="0" bIns="0">
              <a:spAutoFit/>
            </a:bodyPr>
            <a:lstStyle/>
            <a:p>
              <a:pPr marL="177800" indent="-177800" algn="ctr" defTabSz="801688">
                <a:spcBef>
                  <a:spcPct val="20000"/>
                </a:spcBef>
                <a:defRPr/>
              </a:pPr>
              <a:r>
                <a:rPr lang="de-DE" sz="2400" noProof="1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Description 4</a:t>
              </a:r>
            </a:p>
          </p:txBody>
        </p:sp>
        <p:pic>
          <p:nvPicPr>
            <p:cNvPr id="33" name="Picture 21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07821" y="4619625"/>
              <a:ext cx="2362200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2" name="Gruppieren 21"/>
            <p:cNvGrpSpPr/>
            <p:nvPr/>
          </p:nvGrpSpPr>
          <p:grpSpPr>
            <a:xfrm>
              <a:off x="604684" y="3041650"/>
              <a:ext cx="1827213" cy="1825626"/>
              <a:chOff x="604684" y="3041650"/>
              <a:chExt cx="1827213" cy="1825626"/>
            </a:xfrm>
          </p:grpSpPr>
          <p:pic>
            <p:nvPicPr>
              <p:cNvPr id="34" name="Picture 22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934884" y="3070225"/>
                <a:ext cx="1162050" cy="6746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5" name="Oval 23"/>
              <p:cNvSpPr>
                <a:spLocks noChangeArrowheads="1"/>
              </p:cNvSpPr>
              <p:nvPr/>
            </p:nvSpPr>
            <p:spPr bwMode="gray">
              <a:xfrm>
                <a:off x="604684" y="3041650"/>
                <a:ext cx="1827213" cy="1825625"/>
              </a:xfrm>
              <a:prstGeom prst="ellipse">
                <a:avLst/>
              </a:prstGeom>
              <a:gradFill rotWithShape="1">
                <a:gsLst>
                  <a:gs pos="0">
                    <a:srgbClr val="F1F1F1"/>
                  </a:gs>
                  <a:gs pos="100000">
                    <a:srgbClr val="B2B2B2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6" name="Freeform 24"/>
              <p:cNvSpPr>
                <a:spLocks/>
              </p:cNvSpPr>
              <p:nvPr/>
            </p:nvSpPr>
            <p:spPr bwMode="gray">
              <a:xfrm>
                <a:off x="680884" y="4322763"/>
                <a:ext cx="1673225" cy="544513"/>
              </a:xfrm>
              <a:custGeom>
                <a:avLst/>
                <a:gdLst/>
                <a:ahLst/>
                <a:cxnLst>
                  <a:cxn ang="0">
                    <a:pos x="465" y="74"/>
                  </a:cxn>
                  <a:cxn ang="0">
                    <a:pos x="0" y="0"/>
                  </a:cxn>
                  <a:cxn ang="0">
                    <a:pos x="465" y="303"/>
                  </a:cxn>
                  <a:cxn ang="0">
                    <a:pos x="930" y="0"/>
                  </a:cxn>
                  <a:cxn ang="0">
                    <a:pos x="465" y="74"/>
                  </a:cxn>
                </a:cxnLst>
                <a:rect l="0" t="0" r="r" b="b"/>
                <a:pathLst>
                  <a:path w="930" h="303">
                    <a:moveTo>
                      <a:pt x="465" y="74"/>
                    </a:moveTo>
                    <a:cubicBezTo>
                      <a:pt x="224" y="74"/>
                      <a:pt x="25" y="41"/>
                      <a:pt x="0" y="0"/>
                    </a:cubicBezTo>
                    <a:cubicBezTo>
                      <a:pt x="79" y="178"/>
                      <a:pt x="258" y="303"/>
                      <a:pt x="465" y="303"/>
                    </a:cubicBezTo>
                    <a:cubicBezTo>
                      <a:pt x="673" y="303"/>
                      <a:pt x="851" y="179"/>
                      <a:pt x="930" y="0"/>
                    </a:cubicBezTo>
                    <a:cubicBezTo>
                      <a:pt x="904" y="42"/>
                      <a:pt x="706" y="74"/>
                      <a:pt x="465" y="74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tx2"/>
                  </a:gs>
                  <a:gs pos="100000">
                    <a:srgbClr val="0070C0"/>
                  </a:gs>
                </a:gsLst>
                <a:lin ang="5400000" scaled="1"/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pic>
            <p:nvPicPr>
              <p:cNvPr id="37" name="Picture 25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963459" y="3071813"/>
                <a:ext cx="1114425" cy="646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8" name="Freeform 26"/>
              <p:cNvSpPr>
                <a:spLocks/>
              </p:cNvSpPr>
              <p:nvPr/>
            </p:nvSpPr>
            <p:spPr bwMode="gray">
              <a:xfrm>
                <a:off x="676121" y="4164013"/>
                <a:ext cx="1684338" cy="295275"/>
              </a:xfrm>
              <a:custGeom>
                <a:avLst/>
                <a:gdLst/>
                <a:ahLst/>
                <a:cxnLst>
                  <a:cxn ang="0">
                    <a:pos x="935" y="82"/>
                  </a:cxn>
                  <a:cxn ang="0">
                    <a:pos x="467" y="0"/>
                  </a:cxn>
                  <a:cxn ang="0">
                    <a:pos x="0" y="82"/>
                  </a:cxn>
                  <a:cxn ang="0">
                    <a:pos x="1" y="87"/>
                  </a:cxn>
                  <a:cxn ang="0">
                    <a:pos x="2" y="91"/>
                  </a:cxn>
                  <a:cxn ang="0">
                    <a:pos x="467" y="165"/>
                  </a:cxn>
                  <a:cxn ang="0">
                    <a:pos x="932" y="91"/>
                  </a:cxn>
                  <a:cxn ang="0">
                    <a:pos x="934" y="86"/>
                  </a:cxn>
                  <a:cxn ang="0">
                    <a:pos x="935" y="82"/>
                  </a:cxn>
                </a:cxnLst>
                <a:rect l="0" t="0" r="r" b="b"/>
                <a:pathLst>
                  <a:path w="935" h="165">
                    <a:moveTo>
                      <a:pt x="935" y="82"/>
                    </a:moveTo>
                    <a:cubicBezTo>
                      <a:pt x="935" y="37"/>
                      <a:pt x="726" y="0"/>
                      <a:pt x="467" y="0"/>
                    </a:cubicBezTo>
                    <a:cubicBezTo>
                      <a:pt x="209" y="0"/>
                      <a:pt x="0" y="37"/>
                      <a:pt x="0" y="82"/>
                    </a:cubicBezTo>
                    <a:cubicBezTo>
                      <a:pt x="0" y="84"/>
                      <a:pt x="0" y="85"/>
                      <a:pt x="1" y="87"/>
                    </a:cubicBezTo>
                    <a:cubicBezTo>
                      <a:pt x="1" y="88"/>
                      <a:pt x="2" y="89"/>
                      <a:pt x="2" y="91"/>
                    </a:cubicBezTo>
                    <a:cubicBezTo>
                      <a:pt x="27" y="132"/>
                      <a:pt x="226" y="165"/>
                      <a:pt x="467" y="165"/>
                    </a:cubicBezTo>
                    <a:cubicBezTo>
                      <a:pt x="708" y="165"/>
                      <a:pt x="906" y="133"/>
                      <a:pt x="932" y="91"/>
                    </a:cubicBezTo>
                    <a:cubicBezTo>
                      <a:pt x="933" y="90"/>
                      <a:pt x="934" y="88"/>
                      <a:pt x="934" y="86"/>
                    </a:cubicBezTo>
                    <a:cubicBezTo>
                      <a:pt x="935" y="85"/>
                      <a:pt x="935" y="84"/>
                      <a:pt x="935" y="8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tx2">
                      <a:lumMod val="75000"/>
                    </a:schemeClr>
                  </a:gs>
                  <a:gs pos="100000">
                    <a:srgbClr val="0070C0"/>
                  </a:gs>
                </a:gsLst>
                <a:lin ang="0" scaled="0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9" name="Text Box 27"/>
              <p:cNvSpPr txBox="1">
                <a:spLocks noChangeArrowheads="1"/>
              </p:cNvSpPr>
              <p:nvPr/>
            </p:nvSpPr>
            <p:spPr bwMode="gray">
              <a:xfrm>
                <a:off x="1244098" y="4279900"/>
                <a:ext cx="564257" cy="3385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marL="177800" indent="-1778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algn="ctr" eaLnBrk="1" hangingPunct="1">
                  <a:spcBef>
                    <a:spcPct val="20000"/>
                  </a:spcBef>
                </a:pPr>
                <a:r>
                  <a:rPr lang="de-DE" sz="2200" b="1" noProof="1">
                    <a:solidFill>
                      <a:schemeClr val="bg1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a:rPr>
                  <a:t>31%</a:t>
                </a:r>
              </a:p>
            </p:txBody>
          </p:sp>
          <p:sp>
            <p:nvSpPr>
              <p:cNvPr id="40" name="Text Box 28"/>
              <p:cNvSpPr txBox="1">
                <a:spLocks noChangeArrowheads="1"/>
              </p:cNvSpPr>
              <p:nvPr/>
            </p:nvSpPr>
            <p:spPr bwMode="gray">
              <a:xfrm>
                <a:off x="1268953" y="3540125"/>
                <a:ext cx="512961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marL="177800" indent="-1778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algn="ctr" eaLnBrk="1" hangingPunct="1">
                  <a:spcBef>
                    <a:spcPct val="20000"/>
                  </a:spcBef>
                </a:pPr>
                <a:r>
                  <a:rPr lang="de-DE" sz="2000" b="1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69%</a:t>
                </a:r>
              </a:p>
            </p:txBody>
          </p:sp>
        </p:grpSp>
        <p:pic>
          <p:nvPicPr>
            <p:cNvPr id="42" name="Picture 30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422871" y="4619625"/>
              <a:ext cx="2362200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6" name="Gruppieren 15"/>
            <p:cNvGrpSpPr/>
            <p:nvPr/>
          </p:nvGrpSpPr>
          <p:grpSpPr>
            <a:xfrm>
              <a:off x="6686396" y="3032125"/>
              <a:ext cx="1835150" cy="1833563"/>
              <a:chOff x="6686396" y="3032125"/>
              <a:chExt cx="1835150" cy="1833563"/>
            </a:xfrm>
          </p:grpSpPr>
          <p:sp>
            <p:nvSpPr>
              <p:cNvPr id="43" name="Oval 31"/>
              <p:cNvSpPr>
                <a:spLocks noChangeArrowheads="1"/>
              </p:cNvSpPr>
              <p:nvPr/>
            </p:nvSpPr>
            <p:spPr bwMode="gray">
              <a:xfrm>
                <a:off x="6686396" y="3032125"/>
                <a:ext cx="1835150" cy="1833563"/>
              </a:xfrm>
              <a:prstGeom prst="ellipse">
                <a:avLst/>
              </a:prstGeom>
              <a:gradFill rotWithShape="1">
                <a:gsLst>
                  <a:gs pos="0">
                    <a:srgbClr val="F1F1F1"/>
                  </a:gs>
                  <a:gs pos="100000">
                    <a:srgbClr val="B2B2B2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4" name="Freeform 32"/>
              <p:cNvSpPr>
                <a:spLocks/>
              </p:cNvSpPr>
              <p:nvPr/>
            </p:nvSpPr>
            <p:spPr bwMode="gray">
              <a:xfrm>
                <a:off x="6686396" y="3948113"/>
                <a:ext cx="1835150" cy="917575"/>
              </a:xfrm>
              <a:custGeom>
                <a:avLst/>
                <a:gdLst/>
                <a:ahLst/>
                <a:cxnLst>
                  <a:cxn ang="0">
                    <a:pos x="1015" y="8"/>
                  </a:cxn>
                  <a:cxn ang="0">
                    <a:pos x="1014" y="10"/>
                  </a:cxn>
                  <a:cxn ang="0">
                    <a:pos x="508" y="113"/>
                  </a:cxn>
                  <a:cxn ang="0">
                    <a:pos x="2" y="10"/>
                  </a:cxn>
                  <a:cxn ang="0">
                    <a:pos x="1" y="8"/>
                  </a:cxn>
                  <a:cxn ang="0">
                    <a:pos x="0" y="0"/>
                  </a:cxn>
                  <a:cxn ang="0">
                    <a:pos x="508" y="508"/>
                  </a:cxn>
                  <a:cxn ang="0">
                    <a:pos x="1016" y="1"/>
                  </a:cxn>
                  <a:cxn ang="0">
                    <a:pos x="1015" y="8"/>
                  </a:cxn>
                </a:cxnLst>
                <a:rect l="0" t="0" r="r" b="b"/>
                <a:pathLst>
                  <a:path w="1016" h="508">
                    <a:moveTo>
                      <a:pt x="1015" y="8"/>
                    </a:moveTo>
                    <a:cubicBezTo>
                      <a:pt x="1014" y="9"/>
                      <a:pt x="1014" y="9"/>
                      <a:pt x="1014" y="10"/>
                    </a:cubicBezTo>
                    <a:cubicBezTo>
                      <a:pt x="992" y="68"/>
                      <a:pt x="774" y="113"/>
                      <a:pt x="508" y="113"/>
                    </a:cubicBezTo>
                    <a:cubicBezTo>
                      <a:pt x="242" y="113"/>
                      <a:pt x="24" y="68"/>
                      <a:pt x="2" y="10"/>
                    </a:cubicBezTo>
                    <a:cubicBezTo>
                      <a:pt x="2" y="9"/>
                      <a:pt x="2" y="9"/>
                      <a:pt x="1" y="8"/>
                    </a:cubicBezTo>
                    <a:cubicBezTo>
                      <a:pt x="1" y="6"/>
                      <a:pt x="0" y="3"/>
                      <a:pt x="0" y="0"/>
                    </a:cubicBezTo>
                    <a:cubicBezTo>
                      <a:pt x="0" y="281"/>
                      <a:pt x="228" y="508"/>
                      <a:pt x="508" y="508"/>
                    </a:cubicBezTo>
                    <a:cubicBezTo>
                      <a:pt x="788" y="508"/>
                      <a:pt x="1015" y="281"/>
                      <a:pt x="1016" y="1"/>
                    </a:cubicBezTo>
                    <a:cubicBezTo>
                      <a:pt x="1016" y="4"/>
                      <a:pt x="1015" y="6"/>
                      <a:pt x="1015" y="8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tx2"/>
                  </a:gs>
                  <a:gs pos="100000">
                    <a:srgbClr val="0070C0"/>
                  </a:gs>
                </a:gsLst>
                <a:lin ang="5400000" scaled="1"/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pic>
            <p:nvPicPr>
              <p:cNvPr id="45" name="Picture 33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7045171" y="3062288"/>
                <a:ext cx="1117600" cy="6492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6" name="Freeform 34"/>
              <p:cNvSpPr>
                <a:spLocks/>
              </p:cNvSpPr>
              <p:nvPr/>
            </p:nvSpPr>
            <p:spPr bwMode="gray">
              <a:xfrm>
                <a:off x="6686396" y="3749675"/>
                <a:ext cx="1835150" cy="406400"/>
              </a:xfrm>
              <a:custGeom>
                <a:avLst/>
                <a:gdLst/>
                <a:ahLst/>
                <a:cxnLst>
                  <a:cxn ang="0">
                    <a:pos x="2" y="122"/>
                  </a:cxn>
                  <a:cxn ang="0">
                    <a:pos x="508" y="225"/>
                  </a:cxn>
                  <a:cxn ang="0">
                    <a:pos x="1014" y="122"/>
                  </a:cxn>
                  <a:cxn ang="0">
                    <a:pos x="1015" y="120"/>
                  </a:cxn>
                  <a:cxn ang="0">
                    <a:pos x="1016" y="113"/>
                  </a:cxn>
                  <a:cxn ang="0">
                    <a:pos x="1016" y="112"/>
                  </a:cxn>
                  <a:cxn ang="0">
                    <a:pos x="1016" y="111"/>
                  </a:cxn>
                  <a:cxn ang="0">
                    <a:pos x="508" y="0"/>
                  </a:cxn>
                  <a:cxn ang="0">
                    <a:pos x="0" y="112"/>
                  </a:cxn>
                  <a:cxn ang="0">
                    <a:pos x="0" y="112"/>
                  </a:cxn>
                  <a:cxn ang="0">
                    <a:pos x="1" y="120"/>
                  </a:cxn>
                  <a:cxn ang="0">
                    <a:pos x="2" y="122"/>
                  </a:cxn>
                </a:cxnLst>
                <a:rect l="0" t="0" r="r" b="b"/>
                <a:pathLst>
                  <a:path w="1016" h="225">
                    <a:moveTo>
                      <a:pt x="2" y="122"/>
                    </a:moveTo>
                    <a:cubicBezTo>
                      <a:pt x="24" y="180"/>
                      <a:pt x="242" y="225"/>
                      <a:pt x="508" y="225"/>
                    </a:cubicBezTo>
                    <a:cubicBezTo>
                      <a:pt x="774" y="225"/>
                      <a:pt x="992" y="180"/>
                      <a:pt x="1014" y="122"/>
                    </a:cubicBezTo>
                    <a:cubicBezTo>
                      <a:pt x="1014" y="121"/>
                      <a:pt x="1014" y="121"/>
                      <a:pt x="1015" y="120"/>
                    </a:cubicBezTo>
                    <a:cubicBezTo>
                      <a:pt x="1015" y="118"/>
                      <a:pt x="1016" y="116"/>
                      <a:pt x="1016" y="113"/>
                    </a:cubicBezTo>
                    <a:cubicBezTo>
                      <a:pt x="1016" y="113"/>
                      <a:pt x="1016" y="113"/>
                      <a:pt x="1016" y="112"/>
                    </a:cubicBezTo>
                    <a:cubicBezTo>
                      <a:pt x="1016" y="112"/>
                      <a:pt x="1016" y="111"/>
                      <a:pt x="1016" y="111"/>
                    </a:cubicBezTo>
                    <a:cubicBezTo>
                      <a:pt x="1013" y="49"/>
                      <a:pt x="786" y="0"/>
                      <a:pt x="508" y="0"/>
                    </a:cubicBezTo>
                    <a:cubicBezTo>
                      <a:pt x="228" y="0"/>
                      <a:pt x="0" y="50"/>
                      <a:pt x="0" y="112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0" y="115"/>
                      <a:pt x="1" y="118"/>
                      <a:pt x="1" y="120"/>
                    </a:cubicBezTo>
                    <a:cubicBezTo>
                      <a:pt x="2" y="121"/>
                      <a:pt x="2" y="121"/>
                      <a:pt x="2" y="12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tx2">
                      <a:lumMod val="75000"/>
                    </a:schemeClr>
                  </a:gs>
                  <a:gs pos="100000">
                    <a:srgbClr val="0070C0"/>
                  </a:gs>
                </a:gsLst>
                <a:lin ang="0" scaled="0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7" name="Text Box 35"/>
              <p:cNvSpPr txBox="1">
                <a:spLocks noChangeArrowheads="1"/>
              </p:cNvSpPr>
              <p:nvPr/>
            </p:nvSpPr>
            <p:spPr bwMode="gray">
              <a:xfrm>
                <a:off x="7340098" y="3978275"/>
                <a:ext cx="564257" cy="3385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marL="177800" indent="-1778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algn="ctr" eaLnBrk="1" hangingPunct="1">
                  <a:spcBef>
                    <a:spcPct val="20000"/>
                  </a:spcBef>
                </a:pPr>
                <a:r>
                  <a:rPr lang="de-DE" sz="2200" b="1" noProof="1">
                    <a:solidFill>
                      <a:schemeClr val="bg1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a:rPr>
                  <a:t>52%</a:t>
                </a:r>
              </a:p>
            </p:txBody>
          </p:sp>
          <p:sp>
            <p:nvSpPr>
              <p:cNvPr id="48" name="Text Box 36"/>
              <p:cNvSpPr txBox="1">
                <a:spLocks noChangeArrowheads="1"/>
              </p:cNvSpPr>
              <p:nvPr/>
            </p:nvSpPr>
            <p:spPr bwMode="gray">
              <a:xfrm>
                <a:off x="7364953" y="3279775"/>
                <a:ext cx="512961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marL="177800" indent="-1778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algn="ctr" eaLnBrk="1" hangingPunct="1">
                  <a:spcBef>
                    <a:spcPct val="20000"/>
                  </a:spcBef>
                </a:pPr>
                <a:r>
                  <a:rPr lang="de-DE" sz="2000" b="1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48%</a:t>
                </a:r>
              </a:p>
            </p:txBody>
          </p:sp>
        </p:grpSp>
        <p:pic>
          <p:nvPicPr>
            <p:cNvPr id="49" name="Picture 37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660496" y="3198813"/>
              <a:ext cx="1476375" cy="285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4" name="Gruppieren 13"/>
            <p:cNvGrpSpPr/>
            <p:nvPr/>
          </p:nvGrpSpPr>
          <p:grpSpPr>
            <a:xfrm>
              <a:off x="2870046" y="2297113"/>
              <a:ext cx="1035050" cy="1033463"/>
              <a:chOff x="2870046" y="2297113"/>
              <a:chExt cx="1035050" cy="1033463"/>
            </a:xfrm>
          </p:grpSpPr>
          <p:sp>
            <p:nvSpPr>
              <p:cNvPr id="51" name="Oval 39"/>
              <p:cNvSpPr>
                <a:spLocks noChangeArrowheads="1"/>
              </p:cNvSpPr>
              <p:nvPr/>
            </p:nvSpPr>
            <p:spPr bwMode="gray">
              <a:xfrm>
                <a:off x="2870046" y="2297113"/>
                <a:ext cx="1035050" cy="1033463"/>
              </a:xfrm>
              <a:prstGeom prst="ellipse">
                <a:avLst/>
              </a:prstGeom>
              <a:gradFill rotWithShape="1">
                <a:gsLst>
                  <a:gs pos="0">
                    <a:srgbClr val="F1F1F1"/>
                  </a:gs>
                  <a:gs pos="100000">
                    <a:srgbClr val="B2B2B2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2" name="Freeform 40"/>
              <p:cNvSpPr>
                <a:spLocks/>
              </p:cNvSpPr>
              <p:nvPr/>
            </p:nvSpPr>
            <p:spPr bwMode="gray">
              <a:xfrm>
                <a:off x="2977996" y="3128963"/>
                <a:ext cx="819150" cy="201613"/>
              </a:xfrm>
              <a:custGeom>
                <a:avLst/>
                <a:gdLst/>
                <a:ahLst/>
                <a:cxnLst>
                  <a:cxn ang="0">
                    <a:pos x="401" y="62"/>
                  </a:cxn>
                  <a:cxn ang="0">
                    <a:pos x="0" y="0"/>
                  </a:cxn>
                  <a:cxn ang="0">
                    <a:pos x="401" y="197"/>
                  </a:cxn>
                  <a:cxn ang="0">
                    <a:pos x="803" y="0"/>
                  </a:cxn>
                  <a:cxn ang="0">
                    <a:pos x="401" y="62"/>
                  </a:cxn>
                </a:cxnLst>
                <a:rect l="0" t="0" r="r" b="b"/>
                <a:pathLst>
                  <a:path w="803" h="197">
                    <a:moveTo>
                      <a:pt x="401" y="62"/>
                    </a:moveTo>
                    <a:cubicBezTo>
                      <a:pt x="197" y="62"/>
                      <a:pt x="28" y="35"/>
                      <a:pt x="0" y="0"/>
                    </a:cubicBezTo>
                    <a:cubicBezTo>
                      <a:pt x="93" y="120"/>
                      <a:pt x="238" y="197"/>
                      <a:pt x="401" y="197"/>
                    </a:cubicBezTo>
                    <a:cubicBezTo>
                      <a:pt x="565" y="197"/>
                      <a:pt x="710" y="120"/>
                      <a:pt x="803" y="0"/>
                    </a:cubicBezTo>
                    <a:cubicBezTo>
                      <a:pt x="776" y="35"/>
                      <a:pt x="607" y="62"/>
                      <a:pt x="401" y="62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tx2"/>
                  </a:gs>
                  <a:gs pos="100000">
                    <a:srgbClr val="0070C0"/>
                  </a:gs>
                </a:gsLst>
                <a:lin ang="5400000" scaled="1"/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pic>
            <p:nvPicPr>
              <p:cNvPr id="53" name="Picture 41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3071659" y="2314576"/>
                <a:ext cx="631825" cy="3651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54" name="Freeform 42"/>
              <p:cNvSpPr>
                <a:spLocks/>
              </p:cNvSpPr>
              <p:nvPr/>
            </p:nvSpPr>
            <p:spPr bwMode="gray">
              <a:xfrm>
                <a:off x="2974821" y="3048001"/>
                <a:ext cx="827088" cy="147638"/>
              </a:xfrm>
              <a:custGeom>
                <a:avLst/>
                <a:gdLst/>
                <a:ahLst/>
                <a:cxnLst>
                  <a:cxn ang="0">
                    <a:pos x="405" y="144"/>
                  </a:cxn>
                  <a:cxn ang="0">
                    <a:pos x="807" y="82"/>
                  </a:cxn>
                  <a:cxn ang="0">
                    <a:pos x="807" y="82"/>
                  </a:cxn>
                  <a:cxn ang="0">
                    <a:pos x="809" y="78"/>
                  </a:cxn>
                  <a:cxn ang="0">
                    <a:pos x="810" y="77"/>
                  </a:cxn>
                  <a:cxn ang="0">
                    <a:pos x="811" y="72"/>
                  </a:cxn>
                  <a:cxn ang="0">
                    <a:pos x="405" y="0"/>
                  </a:cxn>
                  <a:cxn ang="0">
                    <a:pos x="0" y="72"/>
                  </a:cxn>
                  <a:cxn ang="0">
                    <a:pos x="1" y="77"/>
                  </a:cxn>
                  <a:cxn ang="0">
                    <a:pos x="1" y="78"/>
                  </a:cxn>
                  <a:cxn ang="0">
                    <a:pos x="3" y="81"/>
                  </a:cxn>
                  <a:cxn ang="0">
                    <a:pos x="4" y="82"/>
                  </a:cxn>
                  <a:cxn ang="0">
                    <a:pos x="405" y="144"/>
                  </a:cxn>
                </a:cxnLst>
                <a:rect l="0" t="0" r="r" b="b"/>
                <a:pathLst>
                  <a:path w="811" h="144">
                    <a:moveTo>
                      <a:pt x="405" y="144"/>
                    </a:moveTo>
                    <a:cubicBezTo>
                      <a:pt x="611" y="144"/>
                      <a:pt x="780" y="117"/>
                      <a:pt x="807" y="82"/>
                    </a:cubicBezTo>
                    <a:cubicBezTo>
                      <a:pt x="807" y="82"/>
                      <a:pt x="807" y="82"/>
                      <a:pt x="807" y="82"/>
                    </a:cubicBezTo>
                    <a:cubicBezTo>
                      <a:pt x="808" y="81"/>
                      <a:pt x="809" y="79"/>
                      <a:pt x="809" y="78"/>
                    </a:cubicBezTo>
                    <a:cubicBezTo>
                      <a:pt x="809" y="78"/>
                      <a:pt x="809" y="78"/>
                      <a:pt x="810" y="77"/>
                    </a:cubicBezTo>
                    <a:cubicBezTo>
                      <a:pt x="810" y="76"/>
                      <a:pt x="811" y="74"/>
                      <a:pt x="811" y="72"/>
                    </a:cubicBezTo>
                    <a:cubicBezTo>
                      <a:pt x="811" y="32"/>
                      <a:pt x="629" y="0"/>
                      <a:pt x="405" y="0"/>
                    </a:cubicBezTo>
                    <a:cubicBezTo>
                      <a:pt x="181" y="0"/>
                      <a:pt x="0" y="32"/>
                      <a:pt x="0" y="72"/>
                    </a:cubicBezTo>
                    <a:cubicBezTo>
                      <a:pt x="0" y="74"/>
                      <a:pt x="0" y="75"/>
                      <a:pt x="1" y="77"/>
                    </a:cubicBezTo>
                    <a:cubicBezTo>
                      <a:pt x="1" y="78"/>
                      <a:pt x="1" y="78"/>
                      <a:pt x="1" y="78"/>
                    </a:cubicBezTo>
                    <a:cubicBezTo>
                      <a:pt x="2" y="79"/>
                      <a:pt x="2" y="80"/>
                      <a:pt x="3" y="81"/>
                    </a:cubicBezTo>
                    <a:cubicBezTo>
                      <a:pt x="3" y="82"/>
                      <a:pt x="4" y="82"/>
                      <a:pt x="4" y="82"/>
                    </a:cubicBezTo>
                    <a:cubicBezTo>
                      <a:pt x="32" y="117"/>
                      <a:pt x="201" y="144"/>
                      <a:pt x="405" y="14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tx2">
                      <a:lumMod val="75000"/>
                    </a:schemeClr>
                  </a:gs>
                  <a:gs pos="100000">
                    <a:srgbClr val="0070C0"/>
                  </a:gs>
                </a:gsLst>
                <a:lin ang="0" scaled="0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5" name="Text Box 43"/>
              <p:cNvSpPr txBox="1">
                <a:spLocks noChangeArrowheads="1"/>
              </p:cNvSpPr>
              <p:nvPr/>
            </p:nvSpPr>
            <p:spPr bwMode="gray">
              <a:xfrm>
                <a:off x="3187148" y="2598738"/>
                <a:ext cx="410369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marL="177800" indent="-1778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algn="ctr" eaLnBrk="1" hangingPunct="1">
                  <a:spcBef>
                    <a:spcPct val="20000"/>
                  </a:spcBef>
                </a:pPr>
                <a:r>
                  <a:rPr lang="de-DE" sz="1600" b="1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78%</a:t>
                </a:r>
              </a:p>
            </p:txBody>
          </p:sp>
          <p:sp>
            <p:nvSpPr>
              <p:cNvPr id="56" name="Text Box 44"/>
              <p:cNvSpPr txBox="1">
                <a:spLocks noChangeArrowheads="1"/>
              </p:cNvSpPr>
              <p:nvPr/>
            </p:nvSpPr>
            <p:spPr bwMode="gray">
              <a:xfrm>
                <a:off x="3187148" y="3046413"/>
                <a:ext cx="410369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marL="177800" indent="-1778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algn="ctr" eaLnBrk="1" hangingPunct="1">
                  <a:spcBef>
                    <a:spcPct val="20000"/>
                  </a:spcBef>
                </a:pPr>
                <a:r>
                  <a:rPr lang="de-DE" sz="1600" b="1" noProof="1">
                    <a:solidFill>
                      <a:schemeClr val="bg1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a:rPr>
                  <a:t>22%</a:t>
                </a:r>
              </a:p>
            </p:txBody>
          </p:sp>
        </p:grpSp>
        <p:pic>
          <p:nvPicPr>
            <p:cNvPr id="58" name="Picture 4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5003646" y="3198813"/>
              <a:ext cx="1476375" cy="285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5" name="Gruppieren 14"/>
            <p:cNvGrpSpPr/>
            <p:nvPr/>
          </p:nvGrpSpPr>
          <p:grpSpPr>
            <a:xfrm>
              <a:off x="5254471" y="2287588"/>
              <a:ext cx="1028700" cy="1028700"/>
              <a:chOff x="5254471" y="2287588"/>
              <a:chExt cx="1028700" cy="1028700"/>
            </a:xfrm>
          </p:grpSpPr>
          <p:sp>
            <p:nvSpPr>
              <p:cNvPr id="60" name="Oval 47"/>
              <p:cNvSpPr>
                <a:spLocks noChangeArrowheads="1"/>
              </p:cNvSpPr>
              <p:nvPr/>
            </p:nvSpPr>
            <p:spPr bwMode="gray">
              <a:xfrm>
                <a:off x="5254471" y="2287588"/>
                <a:ext cx="1028700" cy="1028700"/>
              </a:xfrm>
              <a:prstGeom prst="ellipse">
                <a:avLst/>
              </a:prstGeom>
              <a:gradFill rotWithShape="1">
                <a:gsLst>
                  <a:gs pos="0">
                    <a:srgbClr val="F1F1F1"/>
                  </a:gs>
                  <a:gs pos="100000">
                    <a:srgbClr val="B2B2B2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1" name="Freeform 48"/>
              <p:cNvSpPr>
                <a:spLocks/>
              </p:cNvSpPr>
              <p:nvPr/>
            </p:nvSpPr>
            <p:spPr bwMode="gray">
              <a:xfrm>
                <a:off x="5265584" y="2909888"/>
                <a:ext cx="1006475" cy="406400"/>
              </a:xfrm>
              <a:custGeom>
                <a:avLst/>
                <a:gdLst/>
                <a:ahLst/>
                <a:cxnLst>
                  <a:cxn ang="0">
                    <a:pos x="496" y="9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496" y="402"/>
                  </a:cxn>
                  <a:cxn ang="0">
                    <a:pos x="993" y="1"/>
                  </a:cxn>
                  <a:cxn ang="0">
                    <a:pos x="992" y="2"/>
                  </a:cxn>
                  <a:cxn ang="0">
                    <a:pos x="496" y="94"/>
                  </a:cxn>
                </a:cxnLst>
                <a:rect l="0" t="0" r="r" b="b"/>
                <a:pathLst>
                  <a:path w="993" h="402">
                    <a:moveTo>
                      <a:pt x="496" y="94"/>
                    </a:moveTo>
                    <a:cubicBezTo>
                      <a:pt x="236" y="94"/>
                      <a:pt x="22" y="54"/>
                      <a:pt x="0" y="2"/>
                    </a:cubicBezTo>
                    <a:cubicBezTo>
                      <a:pt x="0" y="2"/>
                      <a:pt x="0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8" y="230"/>
                      <a:pt x="252" y="402"/>
                      <a:pt x="496" y="402"/>
                    </a:cubicBezTo>
                    <a:cubicBezTo>
                      <a:pt x="740" y="402"/>
                      <a:pt x="944" y="230"/>
                      <a:pt x="993" y="1"/>
                    </a:cubicBezTo>
                    <a:cubicBezTo>
                      <a:pt x="993" y="1"/>
                      <a:pt x="993" y="2"/>
                      <a:pt x="992" y="2"/>
                    </a:cubicBezTo>
                    <a:cubicBezTo>
                      <a:pt x="971" y="54"/>
                      <a:pt x="757" y="94"/>
                      <a:pt x="496" y="94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tx2"/>
                  </a:gs>
                  <a:gs pos="100000">
                    <a:srgbClr val="0070C0"/>
                  </a:gs>
                </a:gsLst>
                <a:lin ang="5400000" scaled="1"/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pic>
            <p:nvPicPr>
              <p:cNvPr id="62" name="Picture 49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5456084" y="2305051"/>
                <a:ext cx="627063" cy="3635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64" name="Freeform 50"/>
              <p:cNvSpPr>
                <a:spLocks/>
              </p:cNvSpPr>
              <p:nvPr/>
            </p:nvSpPr>
            <p:spPr bwMode="gray">
              <a:xfrm>
                <a:off x="5263996" y="2801938"/>
                <a:ext cx="1009650" cy="203200"/>
              </a:xfrm>
              <a:custGeom>
                <a:avLst/>
                <a:gdLst/>
                <a:ahLst/>
                <a:cxnLst>
                  <a:cxn ang="0">
                    <a:pos x="995" y="100"/>
                  </a:cxn>
                  <a:cxn ang="0">
                    <a:pos x="497" y="0"/>
                  </a:cxn>
                  <a:cxn ang="0">
                    <a:pos x="0" y="100"/>
                  </a:cxn>
                  <a:cxn ang="0">
                    <a:pos x="0" y="103"/>
                  </a:cxn>
                  <a:cxn ang="0">
                    <a:pos x="1" y="107"/>
                  </a:cxn>
                  <a:cxn ang="0">
                    <a:pos x="1" y="107"/>
                  </a:cxn>
                  <a:cxn ang="0">
                    <a:pos x="1" y="109"/>
                  </a:cxn>
                  <a:cxn ang="0">
                    <a:pos x="497" y="201"/>
                  </a:cxn>
                  <a:cxn ang="0">
                    <a:pos x="993" y="109"/>
                  </a:cxn>
                  <a:cxn ang="0">
                    <a:pos x="994" y="108"/>
                  </a:cxn>
                  <a:cxn ang="0">
                    <a:pos x="995" y="102"/>
                  </a:cxn>
                  <a:cxn ang="0">
                    <a:pos x="995" y="100"/>
                  </a:cxn>
                </a:cxnLst>
                <a:rect l="0" t="0" r="r" b="b"/>
                <a:pathLst>
                  <a:path w="995" h="201">
                    <a:moveTo>
                      <a:pt x="995" y="100"/>
                    </a:moveTo>
                    <a:cubicBezTo>
                      <a:pt x="995" y="45"/>
                      <a:pt x="772" y="0"/>
                      <a:pt x="497" y="0"/>
                    </a:cubicBezTo>
                    <a:cubicBezTo>
                      <a:pt x="222" y="0"/>
                      <a:pt x="0" y="45"/>
                      <a:pt x="0" y="100"/>
                    </a:cubicBezTo>
                    <a:cubicBezTo>
                      <a:pt x="0" y="101"/>
                      <a:pt x="0" y="102"/>
                      <a:pt x="0" y="103"/>
                    </a:cubicBezTo>
                    <a:cubicBezTo>
                      <a:pt x="0" y="104"/>
                      <a:pt x="0" y="105"/>
                      <a:pt x="1" y="107"/>
                    </a:cubicBezTo>
                    <a:cubicBezTo>
                      <a:pt x="1" y="107"/>
                      <a:pt x="1" y="107"/>
                      <a:pt x="1" y="107"/>
                    </a:cubicBezTo>
                    <a:cubicBezTo>
                      <a:pt x="1" y="108"/>
                      <a:pt x="1" y="109"/>
                      <a:pt x="1" y="109"/>
                    </a:cubicBezTo>
                    <a:cubicBezTo>
                      <a:pt x="23" y="161"/>
                      <a:pt x="237" y="201"/>
                      <a:pt x="497" y="201"/>
                    </a:cubicBezTo>
                    <a:cubicBezTo>
                      <a:pt x="758" y="201"/>
                      <a:pt x="972" y="161"/>
                      <a:pt x="993" y="109"/>
                    </a:cubicBezTo>
                    <a:cubicBezTo>
                      <a:pt x="994" y="109"/>
                      <a:pt x="994" y="108"/>
                      <a:pt x="994" y="108"/>
                    </a:cubicBezTo>
                    <a:cubicBezTo>
                      <a:pt x="994" y="106"/>
                      <a:pt x="995" y="104"/>
                      <a:pt x="995" y="102"/>
                    </a:cubicBezTo>
                    <a:cubicBezTo>
                      <a:pt x="995" y="102"/>
                      <a:pt x="995" y="101"/>
                      <a:pt x="995" y="10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tx2">
                      <a:lumMod val="75000"/>
                    </a:schemeClr>
                  </a:gs>
                  <a:gs pos="100000">
                    <a:srgbClr val="0070C0"/>
                  </a:gs>
                </a:gsLst>
                <a:lin ang="0" scaled="0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5" name="Text Box 51"/>
              <p:cNvSpPr txBox="1">
                <a:spLocks noChangeArrowheads="1"/>
              </p:cNvSpPr>
              <p:nvPr/>
            </p:nvSpPr>
            <p:spPr bwMode="gray">
              <a:xfrm>
                <a:off x="5568398" y="2436813"/>
                <a:ext cx="410369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marL="177800" indent="-1778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algn="ctr" eaLnBrk="1" hangingPunct="1">
                  <a:spcBef>
                    <a:spcPct val="20000"/>
                  </a:spcBef>
                </a:pPr>
                <a:r>
                  <a:rPr lang="de-DE" sz="1600" b="1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60%</a:t>
                </a:r>
              </a:p>
            </p:txBody>
          </p:sp>
          <p:sp>
            <p:nvSpPr>
              <p:cNvPr id="66" name="Text Box 52"/>
              <p:cNvSpPr txBox="1">
                <a:spLocks noChangeArrowheads="1"/>
              </p:cNvSpPr>
              <p:nvPr/>
            </p:nvSpPr>
            <p:spPr bwMode="gray">
              <a:xfrm>
                <a:off x="5568398" y="2884488"/>
                <a:ext cx="410369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marL="177800" indent="-1778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801688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801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algn="ctr" eaLnBrk="1" hangingPunct="1">
                  <a:spcBef>
                    <a:spcPct val="20000"/>
                  </a:spcBef>
                </a:pPr>
                <a:r>
                  <a:rPr lang="de-DE" sz="1600" b="1" noProof="1">
                    <a:solidFill>
                      <a:schemeClr val="bg1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a:rPr>
                  <a:t>40%</a:t>
                </a:r>
              </a:p>
            </p:txBody>
          </p:sp>
        </p:grpSp>
        <p:sp>
          <p:nvSpPr>
            <p:cNvPr id="68" name="Text Box 53"/>
            <p:cNvSpPr txBox="1">
              <a:spLocks noChangeArrowheads="1"/>
            </p:cNvSpPr>
            <p:nvPr/>
          </p:nvSpPr>
          <p:spPr bwMode="gray">
            <a:xfrm>
              <a:off x="2828802" y="1873250"/>
              <a:ext cx="1204854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28398" dir="1593903" algn="ctr" rotWithShape="0">
                <a:srgbClr val="FFFFFF"/>
              </a:outerShdw>
            </a:effectLst>
          </p:spPr>
          <p:txBody>
            <a:bodyPr wrap="none" lIns="216000" tIns="0" rIns="0" bIns="0">
              <a:spAutoFit/>
            </a:bodyPr>
            <a:lstStyle/>
            <a:p>
              <a:pPr marL="177800" indent="-177800" algn="ctr" defTabSz="801688">
                <a:spcBef>
                  <a:spcPct val="20000"/>
                </a:spcBef>
                <a:defRPr/>
              </a:pPr>
              <a:r>
                <a:rPr lang="de-DE" sz="1400" b="1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escription 1</a:t>
              </a:r>
            </a:p>
          </p:txBody>
        </p:sp>
        <p:sp>
          <p:nvSpPr>
            <p:cNvPr id="69" name="Text Box 54"/>
            <p:cNvSpPr txBox="1">
              <a:spLocks noChangeArrowheads="1"/>
            </p:cNvSpPr>
            <p:nvPr/>
          </p:nvSpPr>
          <p:spPr bwMode="gray">
            <a:xfrm>
              <a:off x="5191002" y="1873250"/>
              <a:ext cx="1204854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28398" dir="1593903" algn="ctr" rotWithShape="0">
                <a:srgbClr val="FFFFFF"/>
              </a:outerShdw>
            </a:effectLst>
          </p:spPr>
          <p:txBody>
            <a:bodyPr wrap="none" lIns="216000" tIns="0" rIns="0" bIns="0">
              <a:spAutoFit/>
            </a:bodyPr>
            <a:lstStyle/>
            <a:p>
              <a:pPr marL="177800" indent="-177800" algn="ctr" defTabSz="801688">
                <a:spcBef>
                  <a:spcPct val="20000"/>
                </a:spcBef>
                <a:defRPr/>
              </a:pPr>
              <a:r>
                <a:rPr lang="de-DE" sz="1400" b="1" noProof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escription 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98154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/>
        </p:nvGrpSpPr>
        <p:grpSpPr>
          <a:xfrm>
            <a:off x="323895" y="1556864"/>
            <a:ext cx="4086540" cy="504000"/>
            <a:chOff x="323895" y="1556864"/>
            <a:chExt cx="4086540" cy="504000"/>
          </a:xfrm>
        </p:grpSpPr>
        <p:sp>
          <p:nvSpPr>
            <p:cNvPr id="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5" y="1556864"/>
              <a:ext cx="3683360" cy="503911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Agenda Slides</a:t>
              </a:r>
            </a:p>
          </p:txBody>
        </p:sp>
        <p:sp>
          <p:nvSpPr>
            <p:cNvPr id="3" name="Rechteck 2"/>
            <p:cNvSpPr/>
            <p:nvPr/>
          </p:nvSpPr>
          <p:spPr>
            <a:xfrm>
              <a:off x="323895" y="1556953"/>
              <a:ext cx="324000" cy="503911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323895" y="2180757"/>
            <a:ext cx="4086181" cy="504000"/>
            <a:chOff x="323895" y="2180757"/>
            <a:chExt cx="4086181" cy="504000"/>
          </a:xfrm>
        </p:grpSpPr>
        <p:sp>
          <p:nvSpPr>
            <p:cNvPr id="5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2180757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Gantt Charts</a:t>
              </a:r>
            </a:p>
          </p:txBody>
        </p:sp>
        <p:sp>
          <p:nvSpPr>
            <p:cNvPr id="92" name="Rechteck 91"/>
            <p:cNvSpPr/>
            <p:nvPr/>
          </p:nvSpPr>
          <p:spPr>
            <a:xfrm>
              <a:off x="323895" y="2180758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2</a:t>
              </a:r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323895" y="2804650"/>
            <a:ext cx="4086181" cy="504000"/>
            <a:chOff x="323895" y="2804650"/>
            <a:chExt cx="4086181" cy="504000"/>
          </a:xfrm>
        </p:grpSpPr>
        <p:sp>
          <p:nvSpPr>
            <p:cNvPr id="93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2804650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Funnels 3D</a:t>
              </a:r>
            </a:p>
          </p:txBody>
        </p:sp>
        <p:sp>
          <p:nvSpPr>
            <p:cNvPr id="94" name="Rechteck 93"/>
            <p:cNvSpPr/>
            <p:nvPr/>
          </p:nvSpPr>
          <p:spPr>
            <a:xfrm>
              <a:off x="323895" y="2804651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3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323895" y="3428543"/>
            <a:ext cx="4086181" cy="504000"/>
            <a:chOff x="323895" y="3428543"/>
            <a:chExt cx="4086181" cy="504000"/>
          </a:xfrm>
        </p:grpSpPr>
        <p:sp>
          <p:nvSpPr>
            <p:cNvPr id="9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3428543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Pie / Donut Charts</a:t>
              </a:r>
            </a:p>
          </p:txBody>
        </p:sp>
        <p:sp>
          <p:nvSpPr>
            <p:cNvPr id="96" name="Rechteck 95"/>
            <p:cNvSpPr/>
            <p:nvPr/>
          </p:nvSpPr>
          <p:spPr>
            <a:xfrm>
              <a:off x="323895" y="3428544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4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" name="Gruppieren 11"/>
          <p:cNvGrpSpPr/>
          <p:nvPr/>
        </p:nvGrpSpPr>
        <p:grpSpPr>
          <a:xfrm>
            <a:off x="323895" y="4052436"/>
            <a:ext cx="4086181" cy="504000"/>
            <a:chOff x="323895" y="4052436"/>
            <a:chExt cx="4086181" cy="504000"/>
          </a:xfrm>
        </p:grpSpPr>
        <p:sp>
          <p:nvSpPr>
            <p:cNvPr id="9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4052436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Overlapping Text Boxes</a:t>
              </a:r>
            </a:p>
          </p:txBody>
        </p:sp>
        <p:sp>
          <p:nvSpPr>
            <p:cNvPr id="98" name="Rechteck 97"/>
            <p:cNvSpPr/>
            <p:nvPr/>
          </p:nvSpPr>
          <p:spPr>
            <a:xfrm>
              <a:off x="323895" y="4052437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5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323895" y="4676329"/>
            <a:ext cx="4086181" cy="504000"/>
            <a:chOff x="323895" y="4676329"/>
            <a:chExt cx="4086181" cy="504000"/>
          </a:xfrm>
        </p:grpSpPr>
        <p:sp>
          <p:nvSpPr>
            <p:cNvPr id="9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4676329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Timelines Arrows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323895" y="4676330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6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9" name="Gruppieren 8"/>
          <p:cNvGrpSpPr/>
          <p:nvPr/>
        </p:nvGrpSpPr>
        <p:grpSpPr>
          <a:xfrm>
            <a:off x="323895" y="5300224"/>
            <a:ext cx="4086181" cy="504000"/>
            <a:chOff x="323895" y="5300224"/>
            <a:chExt cx="4086181" cy="504000"/>
          </a:xfrm>
        </p:grpSpPr>
        <p:sp>
          <p:nvSpPr>
            <p:cNvPr id="101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5300224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Sphere with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Core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102" name="Rechteck 101"/>
            <p:cNvSpPr/>
            <p:nvPr/>
          </p:nvSpPr>
          <p:spPr>
            <a:xfrm>
              <a:off x="323895" y="5300225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7</a:t>
              </a:r>
            </a:p>
          </p:txBody>
        </p:sp>
      </p:grpSp>
      <p:grpSp>
        <p:nvGrpSpPr>
          <p:cNvPr id="15" name="Gruppieren 14"/>
          <p:cNvGrpSpPr/>
          <p:nvPr/>
        </p:nvGrpSpPr>
        <p:grpSpPr>
          <a:xfrm>
            <a:off x="4733970" y="1556862"/>
            <a:ext cx="4086181" cy="504000"/>
            <a:chOff x="4733970" y="1556862"/>
            <a:chExt cx="4086181" cy="504000"/>
          </a:xfrm>
        </p:grpSpPr>
        <p:sp>
          <p:nvSpPr>
            <p:cNvPr id="5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1556862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Step Process Chart</a:t>
              </a:r>
            </a:p>
          </p:txBody>
        </p:sp>
        <p:sp>
          <p:nvSpPr>
            <p:cNvPr id="58" name="Rechteck 57"/>
            <p:cNvSpPr/>
            <p:nvPr/>
          </p:nvSpPr>
          <p:spPr>
            <a:xfrm>
              <a:off x="4733970" y="1556863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8</a:t>
              </a:r>
            </a:p>
          </p:txBody>
        </p:sp>
      </p:grpSp>
      <p:grpSp>
        <p:nvGrpSpPr>
          <p:cNvPr id="16" name="Gruppieren 15"/>
          <p:cNvGrpSpPr/>
          <p:nvPr/>
        </p:nvGrpSpPr>
        <p:grpSpPr>
          <a:xfrm>
            <a:off x="4733970" y="2180756"/>
            <a:ext cx="4086181" cy="504000"/>
            <a:chOff x="4733970" y="2180756"/>
            <a:chExt cx="4086181" cy="504000"/>
          </a:xfrm>
        </p:grpSpPr>
        <p:sp>
          <p:nvSpPr>
            <p:cNvPr id="5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2180756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Curves and Trend Charts</a:t>
              </a:r>
            </a:p>
          </p:txBody>
        </p:sp>
        <p:sp>
          <p:nvSpPr>
            <p:cNvPr id="60" name="Rechteck 59"/>
            <p:cNvSpPr/>
            <p:nvPr/>
          </p:nvSpPr>
          <p:spPr>
            <a:xfrm>
              <a:off x="4733970" y="2180757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9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4733970" y="2804650"/>
            <a:ext cx="4086181" cy="504000"/>
            <a:chOff x="4733970" y="2804650"/>
            <a:chExt cx="4086181" cy="504000"/>
          </a:xfrm>
        </p:grpSpPr>
        <p:sp>
          <p:nvSpPr>
            <p:cNvPr id="61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2804650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3D Spheres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Fill </a:t>
              </a:r>
              <a:r>
                <a:rPr lang="en-US" sz="1600" b="1" noProof="1">
                  <a:solidFill>
                    <a:srgbClr val="5F5F5F"/>
                  </a:solidFill>
                </a:rPr>
                <a:t>L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evels</a:t>
              </a:r>
              <a:r>
                <a:rPr lang="en-US" sz="1600" b="1" noProof="1">
                  <a:solidFill>
                    <a:srgbClr val="5F5F5F"/>
                  </a:solidFill>
                </a:rPr>
                <a:t>	</a:t>
              </a:r>
            </a:p>
          </p:txBody>
        </p:sp>
        <p:sp>
          <p:nvSpPr>
            <p:cNvPr id="62" name="Rechteck 61"/>
            <p:cNvSpPr/>
            <p:nvPr/>
          </p:nvSpPr>
          <p:spPr>
            <a:xfrm>
              <a:off x="4733970" y="2804651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0</a:t>
              </a: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4733970" y="3428544"/>
            <a:ext cx="4086181" cy="504000"/>
            <a:chOff x="4733970" y="3428544"/>
            <a:chExt cx="4086181" cy="504000"/>
          </a:xfrm>
        </p:grpSpPr>
        <p:sp>
          <p:nvSpPr>
            <p:cNvPr id="63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3428544"/>
              <a:ext cx="3670300" cy="503999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16200000" scaled="0"/>
              <a:tileRect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 smtClean="0">
                  <a:solidFill>
                    <a:schemeClr val="bg1"/>
                  </a:solidFill>
                </a:rPr>
                <a:t>Data-driven </a:t>
              </a:r>
              <a:r>
                <a:rPr lang="en-US" sz="1600" b="1" noProof="1">
                  <a:solidFill>
                    <a:schemeClr val="bg1"/>
                  </a:solidFill>
                </a:rPr>
                <a:t>Diagrams	</a:t>
              </a:r>
            </a:p>
          </p:txBody>
        </p:sp>
        <p:sp>
          <p:nvSpPr>
            <p:cNvPr id="64" name="Rechteck 63"/>
            <p:cNvSpPr/>
            <p:nvPr/>
          </p:nvSpPr>
          <p:spPr>
            <a:xfrm>
              <a:off x="4733970" y="3428545"/>
              <a:ext cx="324000" cy="503999"/>
            </a:xfrm>
            <a:prstGeom prst="rect">
              <a:avLst/>
            </a:pr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rgbClr val="0070C0"/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1</a:t>
              </a:r>
            </a:p>
          </p:txBody>
        </p:sp>
      </p:grpSp>
      <p:grpSp>
        <p:nvGrpSpPr>
          <p:cNvPr id="13" name="Gruppieren 12"/>
          <p:cNvGrpSpPr/>
          <p:nvPr/>
        </p:nvGrpSpPr>
        <p:grpSpPr>
          <a:xfrm>
            <a:off x="4733970" y="4052438"/>
            <a:ext cx="4086181" cy="504000"/>
            <a:chOff x="4733970" y="4052438"/>
            <a:chExt cx="4086181" cy="504000"/>
          </a:xfrm>
        </p:grpSpPr>
        <p:sp>
          <p:nvSpPr>
            <p:cNvPr id="6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4052438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Arrow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Process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66" name="Rechteck 65"/>
            <p:cNvSpPr/>
            <p:nvPr/>
          </p:nvSpPr>
          <p:spPr>
            <a:xfrm>
              <a:off x="4733970" y="4052439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2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9" name="Gruppieren 128"/>
          <p:cNvGrpSpPr/>
          <p:nvPr/>
        </p:nvGrpSpPr>
        <p:grpSpPr>
          <a:xfrm>
            <a:off x="4733970" y="4676332"/>
            <a:ext cx="4086181" cy="504000"/>
            <a:chOff x="4733970" y="4676332"/>
            <a:chExt cx="4086181" cy="504000"/>
          </a:xfrm>
        </p:grpSpPr>
        <p:sp>
          <p:nvSpPr>
            <p:cNvPr id="6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4676332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Circle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Diagram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68" name="Rechteck 67"/>
            <p:cNvSpPr/>
            <p:nvPr/>
          </p:nvSpPr>
          <p:spPr>
            <a:xfrm>
              <a:off x="4733970" y="4676333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3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30" name="Gruppieren 129"/>
          <p:cNvGrpSpPr/>
          <p:nvPr/>
        </p:nvGrpSpPr>
        <p:grpSpPr>
          <a:xfrm>
            <a:off x="4733970" y="5300225"/>
            <a:ext cx="4086181" cy="504000"/>
            <a:chOff x="4733970" y="5300225"/>
            <a:chExt cx="4086181" cy="504000"/>
          </a:xfrm>
        </p:grpSpPr>
        <p:sp>
          <p:nvSpPr>
            <p:cNvPr id="6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5300225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3D Arrows</a:t>
              </a:r>
            </a:p>
          </p:txBody>
        </p:sp>
        <p:sp>
          <p:nvSpPr>
            <p:cNvPr id="70" name="Rechteck 69"/>
            <p:cNvSpPr/>
            <p:nvPr/>
          </p:nvSpPr>
          <p:spPr>
            <a:xfrm>
              <a:off x="4733970" y="5300226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4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siness Starter Package</a:t>
            </a:r>
            <a:endParaRPr lang="en-US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laceholder for your own sub headline</a:t>
            </a:r>
          </a:p>
        </p:txBody>
      </p:sp>
    </p:spTree>
    <p:extLst>
      <p:ext uri="{BB962C8B-B14F-4D97-AF65-F5344CB8AC3E}">
        <p14:creationId xmlns:p14="http://schemas.microsoft.com/office/powerpoint/2010/main" val="4031417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/>
        </p:nvSpPr>
        <p:spPr bwMode="auto">
          <a:xfrm flipV="1">
            <a:off x="323849" y="4260543"/>
            <a:ext cx="8496301" cy="1200838"/>
          </a:xfrm>
          <a:prstGeom prst="rect">
            <a:avLst/>
          </a:prstGeom>
          <a:gradFill>
            <a:gsLst>
              <a:gs pos="0">
                <a:srgbClr val="000000">
                  <a:alpha val="15000"/>
                </a:srgbClr>
              </a:gs>
              <a:gs pos="100000">
                <a:srgbClr val="FFFFFF">
                  <a:alpha val="0"/>
                </a:srgbClr>
              </a:gs>
            </a:gsLst>
            <a:lin ang="5400000" scaled="0"/>
          </a:gra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 dirty="0"/>
          </a:p>
        </p:txBody>
      </p:sp>
      <p:graphicFrame>
        <p:nvGraphicFramePr>
          <p:cNvPr id="16" name="Diagramm 15"/>
          <p:cNvGraphicFramePr/>
          <p:nvPr>
            <p:extLst>
              <p:ext uri="{D42A27DB-BD31-4B8C-83A1-F6EECF244321}">
                <p14:modId xmlns:p14="http://schemas.microsoft.com/office/powerpoint/2010/main" val="2909103815"/>
              </p:ext>
            </p:extLst>
          </p:nvPr>
        </p:nvGraphicFramePr>
        <p:xfrm>
          <a:off x="323060" y="1522433"/>
          <a:ext cx="8497090" cy="4583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 smtClean="0"/>
              <a:t>Data-driven </a:t>
            </a:r>
            <a:r>
              <a:rPr lang="de-DE" noProof="1"/>
              <a:t>Diagram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Placeholder for your own sub headline</a:t>
            </a:r>
          </a:p>
        </p:txBody>
      </p:sp>
      <p:grpSp>
        <p:nvGrpSpPr>
          <p:cNvPr id="4" name="Gruppieren 3"/>
          <p:cNvGrpSpPr/>
          <p:nvPr/>
        </p:nvGrpSpPr>
        <p:grpSpPr>
          <a:xfrm>
            <a:off x="742952" y="2601914"/>
            <a:ext cx="3382601" cy="1619250"/>
            <a:chOff x="742952" y="2601914"/>
            <a:chExt cx="3382601" cy="1619250"/>
          </a:xfrm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" name="Line 5"/>
            <p:cNvSpPr>
              <a:spLocks noChangeShapeType="1"/>
            </p:cNvSpPr>
            <p:nvPr/>
          </p:nvSpPr>
          <p:spPr bwMode="gray">
            <a:xfrm flipV="1">
              <a:off x="752476" y="2784476"/>
              <a:ext cx="0" cy="1436688"/>
            </a:xfrm>
            <a:prstGeom prst="line">
              <a:avLst/>
            </a:prstGeom>
            <a:noFill/>
            <a:ln w="28575">
              <a:solidFill>
                <a:srgbClr val="FF99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8" name="Line 6"/>
            <p:cNvSpPr>
              <a:spLocks noChangeShapeType="1"/>
            </p:cNvSpPr>
            <p:nvPr/>
          </p:nvSpPr>
          <p:spPr bwMode="gray">
            <a:xfrm rot="5400000" flipV="1">
              <a:off x="2434253" y="1101113"/>
              <a:ext cx="0" cy="3382601"/>
            </a:xfrm>
            <a:prstGeom prst="line">
              <a:avLst/>
            </a:prstGeom>
            <a:noFill/>
            <a:ln w="28575">
              <a:solidFill>
                <a:srgbClr val="FF99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9" name="AutoShape 7"/>
            <p:cNvSpPr>
              <a:spLocks noChangeArrowheads="1"/>
            </p:cNvSpPr>
            <p:nvPr/>
          </p:nvSpPr>
          <p:spPr bwMode="gray">
            <a:xfrm>
              <a:off x="1957389" y="2601914"/>
              <a:ext cx="800100" cy="361950"/>
            </a:xfrm>
            <a:prstGeom prst="roundRect">
              <a:avLst>
                <a:gd name="adj" fmla="val 16667"/>
              </a:avLst>
            </a:prstGeom>
            <a:solidFill>
              <a:srgbClr val="FF9900"/>
            </a:solidFill>
            <a:ln w="12700">
              <a:solidFill>
                <a:srgbClr val="FFC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r>
                <a:rPr lang="de-DE" b="1" noProof="1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+</a:t>
              </a:r>
              <a:r>
                <a:rPr lang="de-DE" b="1" noProof="1" smtClea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24</a:t>
              </a:r>
              <a:endParaRPr lang="de-DE" b="1" noProof="1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20" name="Line 12"/>
            <p:cNvSpPr>
              <a:spLocks noChangeShapeType="1"/>
            </p:cNvSpPr>
            <p:nvPr/>
          </p:nvSpPr>
          <p:spPr bwMode="gray">
            <a:xfrm>
              <a:off x="4125551" y="2784476"/>
              <a:ext cx="0" cy="623888"/>
            </a:xfrm>
            <a:prstGeom prst="line">
              <a:avLst/>
            </a:prstGeom>
            <a:noFill/>
            <a:ln w="28575">
              <a:solidFill>
                <a:srgbClr val="FF9900"/>
              </a:solidFill>
              <a:round/>
              <a:headEnd/>
              <a:tailEnd type="triangl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7175501" y="3774676"/>
            <a:ext cx="1295400" cy="1295400"/>
            <a:chOff x="7175501" y="3774676"/>
            <a:chExt cx="1295400" cy="1295400"/>
          </a:xfrm>
        </p:grpSpPr>
        <p:sp>
          <p:nvSpPr>
            <p:cNvPr id="22" name="Oval 9"/>
            <p:cNvSpPr>
              <a:spLocks noChangeArrowheads="1"/>
            </p:cNvSpPr>
            <p:nvPr/>
          </p:nvSpPr>
          <p:spPr bwMode="gray">
            <a:xfrm rot="20700000">
              <a:off x="7175501" y="3774676"/>
              <a:ext cx="1295400" cy="1295400"/>
            </a:xfrm>
            <a:prstGeom prst="ellipse">
              <a:avLst/>
            </a:prstGeom>
            <a:solidFill>
              <a:srgbClr val="FF9900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tIns="118800" anchor="ctr"/>
            <a:lstStyle/>
            <a:p>
              <a:pPr algn="ctr" eaLnBrk="0" hangingPunct="0">
                <a:lnSpc>
                  <a:spcPct val="90000"/>
                </a:lnSpc>
                <a:defRPr/>
              </a:pPr>
              <a:r>
                <a:rPr lang="de-DE" sz="1600" b="1" noProof="1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Enter your </a:t>
              </a:r>
              <a:br>
                <a:rPr lang="de-DE" sz="1600" b="1" noProof="1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</a:br>
              <a:r>
                <a:rPr lang="de-DE" sz="1600" b="1" noProof="1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own text</a:t>
              </a:r>
              <a:br>
                <a:rPr lang="de-DE" sz="1600" b="1" noProof="1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</a:br>
              <a:r>
                <a:rPr lang="de-DE" sz="1600" b="1" noProof="1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here</a:t>
              </a:r>
            </a:p>
          </p:txBody>
        </p:sp>
        <p:pic>
          <p:nvPicPr>
            <p:cNvPr id="23" name="Picture 10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 rot="20700000">
              <a:off x="7320204" y="3791822"/>
              <a:ext cx="854328" cy="649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1" name="DataDriven_Label"/>
          <p:cNvGrpSpPr/>
          <p:nvPr/>
        </p:nvGrpSpPr>
        <p:grpSpPr>
          <a:xfrm>
            <a:off x="9161418" y="534489"/>
            <a:ext cx="323850" cy="1018902"/>
            <a:chOff x="9144000" y="543198"/>
            <a:chExt cx="323850" cy="101890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2" name="Rechteck 31"/>
            <p:cNvSpPr/>
            <p:nvPr/>
          </p:nvSpPr>
          <p:spPr bwMode="auto">
            <a:xfrm>
              <a:off x="9144000" y="543198"/>
              <a:ext cx="323850" cy="1018902"/>
            </a:xfrm>
            <a:prstGeom prst="rect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vert="vert270" rtlCol="0" anchor="ctr"/>
            <a:lstStyle/>
            <a:p>
              <a:pPr algn="ctr"/>
              <a:r>
                <a:rPr lang="de-DE" sz="1200" dirty="0" smtClean="0">
                  <a:solidFill>
                    <a:srgbClr val="FFFFFF"/>
                  </a:solidFill>
                </a:rPr>
                <a:t>DATADRIVEN</a:t>
              </a:r>
              <a:endParaRPr lang="de-DE" sz="1200" dirty="0">
                <a:solidFill>
                  <a:srgbClr val="FFFFFF"/>
                </a:solidFill>
              </a:endParaRPr>
            </a:p>
          </p:txBody>
        </p:sp>
        <p:grpSp>
          <p:nvGrpSpPr>
            <p:cNvPr id="33" name="Gruppieren 36"/>
            <p:cNvGrpSpPr/>
            <p:nvPr/>
          </p:nvGrpSpPr>
          <p:grpSpPr>
            <a:xfrm>
              <a:off x="9144000" y="569121"/>
              <a:ext cx="297657" cy="962022"/>
              <a:chOff x="9144000" y="569121"/>
              <a:chExt cx="297657" cy="962022"/>
            </a:xfrm>
          </p:grpSpPr>
          <p:cxnSp>
            <p:nvCxnSpPr>
              <p:cNvPr id="34" name="Gerade Verbindung 33"/>
              <p:cNvCxnSpPr/>
              <p:nvPr/>
            </p:nvCxnSpPr>
            <p:spPr>
              <a:xfrm>
                <a:off x="9144000" y="569121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34"/>
              <p:cNvCxnSpPr/>
              <p:nvPr/>
            </p:nvCxnSpPr>
            <p:spPr>
              <a:xfrm rot="5400000" flipH="1" flipV="1">
                <a:off x="8960646" y="1050133"/>
                <a:ext cx="962021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 Verbindung 35"/>
              <p:cNvCxnSpPr/>
              <p:nvPr/>
            </p:nvCxnSpPr>
            <p:spPr>
              <a:xfrm>
                <a:off x="9144000" y="1531143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991774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auto">
          <a:xfrm flipV="1">
            <a:off x="771525" y="3898593"/>
            <a:ext cx="7915275" cy="1200838"/>
          </a:xfrm>
          <a:prstGeom prst="rect">
            <a:avLst/>
          </a:prstGeom>
          <a:gradFill>
            <a:gsLst>
              <a:gs pos="0">
                <a:srgbClr val="000000">
                  <a:alpha val="15000"/>
                </a:srgbClr>
              </a:gs>
              <a:gs pos="100000">
                <a:srgbClr val="FFFFFF">
                  <a:alpha val="0"/>
                </a:srgbClr>
              </a:gs>
            </a:gsLst>
            <a:lin ang="5400000" scaled="0"/>
          </a:gra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 smtClean="0"/>
              <a:t>Data-driven </a:t>
            </a:r>
            <a:r>
              <a:rPr lang="de-DE" noProof="1"/>
              <a:t>Diagram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Column </a:t>
            </a:r>
            <a:r>
              <a:rPr lang="en-US" dirty="0" smtClean="0"/>
              <a:t>Diagram</a:t>
            </a:r>
            <a:endParaRPr lang="en-US" dirty="0"/>
          </a:p>
        </p:txBody>
      </p:sp>
      <p:graphicFrame>
        <p:nvGraphicFramePr>
          <p:cNvPr id="26" name="Diagramm 25"/>
          <p:cNvGraphicFramePr/>
          <p:nvPr>
            <p:extLst>
              <p:ext uri="{D42A27DB-BD31-4B8C-83A1-F6EECF244321}">
                <p14:modId xmlns:p14="http://schemas.microsoft.com/office/powerpoint/2010/main" val="1053989375"/>
              </p:ext>
            </p:extLst>
          </p:nvPr>
        </p:nvGraphicFramePr>
        <p:xfrm>
          <a:off x="323850" y="1555751"/>
          <a:ext cx="8496300" cy="4246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33" name="DataDriven_Label"/>
          <p:cNvGrpSpPr/>
          <p:nvPr/>
        </p:nvGrpSpPr>
        <p:grpSpPr>
          <a:xfrm>
            <a:off x="9161418" y="534489"/>
            <a:ext cx="323850" cy="1018902"/>
            <a:chOff x="9144000" y="543198"/>
            <a:chExt cx="323850" cy="101890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4" name="Rechteck 33"/>
            <p:cNvSpPr/>
            <p:nvPr/>
          </p:nvSpPr>
          <p:spPr bwMode="auto">
            <a:xfrm>
              <a:off x="9144000" y="543198"/>
              <a:ext cx="323850" cy="1018902"/>
            </a:xfrm>
            <a:prstGeom prst="rect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vert="vert270" rtlCol="0" anchor="ctr"/>
            <a:lstStyle/>
            <a:p>
              <a:pPr algn="ctr"/>
              <a:r>
                <a:rPr lang="de-DE" sz="1200" dirty="0" smtClean="0">
                  <a:solidFill>
                    <a:srgbClr val="FFFFFF"/>
                  </a:solidFill>
                </a:rPr>
                <a:t>DATADRIVEN</a:t>
              </a:r>
              <a:endParaRPr lang="de-DE" sz="1200" dirty="0">
                <a:solidFill>
                  <a:srgbClr val="FFFFFF"/>
                </a:solidFill>
              </a:endParaRPr>
            </a:p>
          </p:txBody>
        </p:sp>
        <p:grpSp>
          <p:nvGrpSpPr>
            <p:cNvPr id="35" name="Gruppieren 36"/>
            <p:cNvGrpSpPr/>
            <p:nvPr/>
          </p:nvGrpSpPr>
          <p:grpSpPr>
            <a:xfrm>
              <a:off x="9144000" y="569121"/>
              <a:ext cx="297657" cy="962022"/>
              <a:chOff x="9144000" y="569121"/>
              <a:chExt cx="297657" cy="962022"/>
            </a:xfrm>
          </p:grpSpPr>
          <p:cxnSp>
            <p:nvCxnSpPr>
              <p:cNvPr id="36" name="Gerade Verbindung 35"/>
              <p:cNvCxnSpPr/>
              <p:nvPr/>
            </p:nvCxnSpPr>
            <p:spPr>
              <a:xfrm>
                <a:off x="9144000" y="569121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/>
            </p:nvCxnSpPr>
            <p:spPr>
              <a:xfrm rot="5400000" flipH="1" flipV="1">
                <a:off x="8960646" y="1050133"/>
                <a:ext cx="962021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/>
            </p:nvCxnSpPr>
            <p:spPr>
              <a:xfrm>
                <a:off x="9144000" y="1531143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550349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 - </a:t>
            </a:r>
            <a:r>
              <a:rPr lang="de-DE" dirty="0" smtClean="0"/>
              <a:t>5 </a:t>
            </a:r>
            <a:r>
              <a:rPr lang="de-DE" dirty="0"/>
              <a:t>Item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laceholder for your own sub </a:t>
            </a:r>
            <a:r>
              <a:rPr lang="en-US" dirty="0" smtClean="0"/>
              <a:t>headline</a:t>
            </a:r>
            <a:endParaRPr lang="en-US" dirty="0"/>
          </a:p>
        </p:txBody>
      </p:sp>
      <p:grpSp>
        <p:nvGrpSpPr>
          <p:cNvPr id="9" name="Gruppieren 8"/>
          <p:cNvGrpSpPr/>
          <p:nvPr/>
        </p:nvGrpSpPr>
        <p:grpSpPr>
          <a:xfrm>
            <a:off x="324643" y="1561308"/>
            <a:ext cx="8496299" cy="805375"/>
            <a:chOff x="324643" y="1561308"/>
            <a:chExt cx="8496299" cy="805375"/>
          </a:xfrm>
        </p:grpSpPr>
        <p:sp>
          <p:nvSpPr>
            <p:cNvPr id="17" name="Rectangle 5"/>
            <p:cNvSpPr>
              <a:spLocks noChangeArrowheads="1"/>
            </p:cNvSpPr>
            <p:nvPr/>
          </p:nvSpPr>
          <p:spPr bwMode="gray">
            <a:xfrm>
              <a:off x="1001485" y="1561308"/>
              <a:ext cx="7819457" cy="805375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2400" noProof="1">
                  <a:solidFill>
                    <a:srgbClr val="5F5F5F"/>
                  </a:solidFill>
                </a:rPr>
                <a:t>This is a placeholder text </a:t>
              </a:r>
            </a:p>
          </p:txBody>
        </p:sp>
        <p:sp>
          <p:nvSpPr>
            <p:cNvPr id="18" name="Rechteck 17"/>
            <p:cNvSpPr/>
            <p:nvPr/>
          </p:nvSpPr>
          <p:spPr>
            <a:xfrm>
              <a:off x="324643" y="1561308"/>
              <a:ext cx="555671" cy="805375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4400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</a:t>
              </a:r>
              <a:endParaRPr lang="en-US" sz="4400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324643" y="2513165"/>
            <a:ext cx="8496299" cy="805375"/>
            <a:chOff x="324643" y="2513165"/>
            <a:chExt cx="8496299" cy="805375"/>
          </a:xfrm>
        </p:grpSpPr>
        <p:sp>
          <p:nvSpPr>
            <p:cNvPr id="36" name="Rectangle 5"/>
            <p:cNvSpPr>
              <a:spLocks noChangeArrowheads="1"/>
            </p:cNvSpPr>
            <p:nvPr/>
          </p:nvSpPr>
          <p:spPr bwMode="gray">
            <a:xfrm>
              <a:off x="1001485" y="2513165"/>
              <a:ext cx="7819457" cy="805375"/>
            </a:xfrm>
            <a:prstGeom prst="rect">
              <a:avLst/>
            </a:pr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rgbClr val="0070C0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0" rIns="0" bIns="0" anchor="ctr"/>
            <a:lstStyle/>
            <a:p>
              <a:pPr defTabSz="801688" eaLnBrk="0" hangingPunct="0"/>
              <a:r>
                <a:rPr lang="en-US" sz="2400" b="1" noProof="1">
                  <a:solidFill>
                    <a:srgbClr val="F8F8F8"/>
                  </a:solidFill>
                  <a:cs typeface="Arial" charset="0"/>
                </a:rPr>
                <a:t>This text can be replaced with your own text</a:t>
              </a:r>
            </a:p>
          </p:txBody>
        </p:sp>
        <p:sp>
          <p:nvSpPr>
            <p:cNvPr id="37" name="Rechteck 36"/>
            <p:cNvSpPr/>
            <p:nvPr/>
          </p:nvSpPr>
          <p:spPr>
            <a:xfrm>
              <a:off x="324643" y="2513165"/>
              <a:ext cx="555671" cy="805375"/>
            </a:xfrm>
            <a:prstGeom prst="rect">
              <a:avLst/>
            </a:pr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rgbClr val="0070C0"/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4400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2</a:t>
              </a:r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324643" y="3465022"/>
            <a:ext cx="8496299" cy="805375"/>
            <a:chOff x="324643" y="3465022"/>
            <a:chExt cx="8496299" cy="805375"/>
          </a:xfrm>
        </p:grpSpPr>
        <p:sp>
          <p:nvSpPr>
            <p:cNvPr id="39" name="Rectangle 5"/>
            <p:cNvSpPr>
              <a:spLocks noChangeArrowheads="1"/>
            </p:cNvSpPr>
            <p:nvPr/>
          </p:nvSpPr>
          <p:spPr bwMode="gray">
            <a:xfrm>
              <a:off x="1001485" y="3465022"/>
              <a:ext cx="7819457" cy="805375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2400" noProof="1">
                  <a:solidFill>
                    <a:srgbClr val="5F5F5F"/>
                  </a:solidFill>
                </a:rPr>
                <a:t>The text demonstrates how your own text will look </a:t>
              </a:r>
              <a:br>
                <a:rPr lang="en-US" sz="2400" noProof="1">
                  <a:solidFill>
                    <a:srgbClr val="5F5F5F"/>
                  </a:solidFill>
                </a:rPr>
              </a:br>
              <a:r>
                <a:rPr lang="en-US" sz="2400" noProof="1">
                  <a:solidFill>
                    <a:srgbClr val="5F5F5F"/>
                  </a:solidFill>
                </a:rPr>
                <a:t>when you replace the placeholder text.</a:t>
              </a:r>
            </a:p>
          </p:txBody>
        </p:sp>
        <p:sp>
          <p:nvSpPr>
            <p:cNvPr id="40" name="Rechteck 39"/>
            <p:cNvSpPr/>
            <p:nvPr/>
          </p:nvSpPr>
          <p:spPr>
            <a:xfrm>
              <a:off x="324643" y="3465022"/>
              <a:ext cx="555671" cy="805375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4400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3</a:t>
              </a:r>
              <a:endParaRPr lang="en-US" sz="4400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324643" y="4416879"/>
            <a:ext cx="8496299" cy="805375"/>
            <a:chOff x="324643" y="4416879"/>
            <a:chExt cx="8496299" cy="805375"/>
          </a:xfrm>
        </p:grpSpPr>
        <p:sp>
          <p:nvSpPr>
            <p:cNvPr id="42" name="Rectangle 5"/>
            <p:cNvSpPr>
              <a:spLocks noChangeArrowheads="1"/>
            </p:cNvSpPr>
            <p:nvPr/>
          </p:nvSpPr>
          <p:spPr bwMode="gray">
            <a:xfrm>
              <a:off x="1001485" y="4416879"/>
              <a:ext cx="7819457" cy="805375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2400" noProof="1">
                  <a:solidFill>
                    <a:srgbClr val="5F5F5F"/>
                  </a:solidFill>
                </a:rPr>
                <a:t>This is a placeholder text. </a:t>
              </a:r>
            </a:p>
          </p:txBody>
        </p:sp>
        <p:sp>
          <p:nvSpPr>
            <p:cNvPr id="43" name="Rechteck 42"/>
            <p:cNvSpPr/>
            <p:nvPr/>
          </p:nvSpPr>
          <p:spPr>
            <a:xfrm>
              <a:off x="324643" y="4416879"/>
              <a:ext cx="555671" cy="805375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4400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4</a:t>
              </a:r>
              <a:endParaRPr lang="en-US" sz="4400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7" name="Gruppieren 6"/>
          <p:cNvGrpSpPr/>
          <p:nvPr/>
        </p:nvGrpSpPr>
        <p:grpSpPr>
          <a:xfrm>
            <a:off x="324643" y="5368736"/>
            <a:ext cx="8496299" cy="805375"/>
            <a:chOff x="324643" y="5368736"/>
            <a:chExt cx="8496299" cy="805375"/>
          </a:xfrm>
        </p:grpSpPr>
        <p:sp>
          <p:nvSpPr>
            <p:cNvPr id="45" name="Rectangle 5"/>
            <p:cNvSpPr>
              <a:spLocks noChangeArrowheads="1"/>
            </p:cNvSpPr>
            <p:nvPr/>
          </p:nvSpPr>
          <p:spPr bwMode="gray">
            <a:xfrm>
              <a:off x="1001485" y="5368736"/>
              <a:ext cx="7819457" cy="805375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2400" noProof="1">
                  <a:solidFill>
                    <a:srgbClr val="5F5F5F"/>
                  </a:solidFill>
                </a:rPr>
                <a:t>The text that you insert will retain the same style </a:t>
              </a:r>
              <a:br>
                <a:rPr lang="en-US" sz="2400" noProof="1">
                  <a:solidFill>
                    <a:srgbClr val="5F5F5F"/>
                  </a:solidFill>
                </a:rPr>
              </a:br>
              <a:r>
                <a:rPr lang="en-US" sz="2400" noProof="1">
                  <a:solidFill>
                    <a:srgbClr val="5F5F5F"/>
                  </a:solidFill>
                </a:rPr>
                <a:t>and format as the placeholder text.</a:t>
              </a:r>
            </a:p>
          </p:txBody>
        </p:sp>
        <p:sp>
          <p:nvSpPr>
            <p:cNvPr id="46" name="Rechteck 45"/>
            <p:cNvSpPr/>
            <p:nvPr/>
          </p:nvSpPr>
          <p:spPr>
            <a:xfrm>
              <a:off x="324643" y="5368736"/>
              <a:ext cx="555671" cy="805375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4400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5</a:t>
              </a:r>
              <a:endParaRPr lang="en-US" sz="4400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59165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/>
          <p:cNvSpPr/>
          <p:nvPr/>
        </p:nvSpPr>
        <p:spPr bwMode="auto">
          <a:xfrm flipV="1">
            <a:off x="890588" y="3898593"/>
            <a:ext cx="7796212" cy="1200838"/>
          </a:xfrm>
          <a:prstGeom prst="rect">
            <a:avLst/>
          </a:prstGeom>
          <a:gradFill>
            <a:gsLst>
              <a:gs pos="0">
                <a:srgbClr val="000000">
                  <a:alpha val="15000"/>
                </a:srgbClr>
              </a:gs>
              <a:gs pos="100000">
                <a:srgbClr val="FFFFFF">
                  <a:alpha val="0"/>
                </a:srgbClr>
              </a:gs>
            </a:gsLst>
            <a:lin ang="5400000" scaled="0"/>
          </a:gra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 smtClean="0"/>
              <a:t>Data-driven </a:t>
            </a:r>
            <a:r>
              <a:rPr lang="de-DE" noProof="1"/>
              <a:t>Diagram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Stacked </a:t>
            </a:r>
            <a:r>
              <a:rPr lang="en-US" dirty="0" smtClean="0"/>
              <a:t>Column </a:t>
            </a:r>
            <a:r>
              <a:rPr lang="en-US" dirty="0"/>
              <a:t>D</a:t>
            </a:r>
            <a:r>
              <a:rPr lang="en-US" dirty="0" smtClean="0"/>
              <a:t>iagram</a:t>
            </a:r>
            <a:endParaRPr lang="en-US" dirty="0"/>
          </a:p>
        </p:txBody>
      </p:sp>
      <p:graphicFrame>
        <p:nvGraphicFramePr>
          <p:cNvPr id="15" name="Diagramm 14"/>
          <p:cNvGraphicFramePr/>
          <p:nvPr>
            <p:extLst>
              <p:ext uri="{D42A27DB-BD31-4B8C-83A1-F6EECF244321}">
                <p14:modId xmlns:p14="http://schemas.microsoft.com/office/powerpoint/2010/main" val="137929640"/>
              </p:ext>
            </p:extLst>
          </p:nvPr>
        </p:nvGraphicFramePr>
        <p:xfrm>
          <a:off x="323850" y="1555752"/>
          <a:ext cx="8496300" cy="4246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3" name="DataDriven_Label"/>
          <p:cNvGrpSpPr/>
          <p:nvPr/>
        </p:nvGrpSpPr>
        <p:grpSpPr>
          <a:xfrm>
            <a:off x="9161418" y="534489"/>
            <a:ext cx="323850" cy="1018902"/>
            <a:chOff x="9144000" y="543198"/>
            <a:chExt cx="323850" cy="101890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4" name="Rechteck 23"/>
            <p:cNvSpPr/>
            <p:nvPr/>
          </p:nvSpPr>
          <p:spPr bwMode="auto">
            <a:xfrm>
              <a:off x="9144000" y="543198"/>
              <a:ext cx="323850" cy="1018902"/>
            </a:xfrm>
            <a:prstGeom prst="rect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vert="vert270" rtlCol="0" anchor="ctr"/>
            <a:lstStyle/>
            <a:p>
              <a:pPr algn="ctr"/>
              <a:r>
                <a:rPr lang="de-DE" sz="1200" dirty="0" smtClean="0">
                  <a:solidFill>
                    <a:srgbClr val="FFFFFF"/>
                  </a:solidFill>
                </a:rPr>
                <a:t>DATADRIVEN</a:t>
              </a:r>
              <a:endParaRPr lang="de-DE" sz="1200" dirty="0">
                <a:solidFill>
                  <a:srgbClr val="FFFFFF"/>
                </a:solidFill>
              </a:endParaRPr>
            </a:p>
          </p:txBody>
        </p:sp>
        <p:grpSp>
          <p:nvGrpSpPr>
            <p:cNvPr id="25" name="Gruppieren 36"/>
            <p:cNvGrpSpPr/>
            <p:nvPr/>
          </p:nvGrpSpPr>
          <p:grpSpPr>
            <a:xfrm>
              <a:off x="9144000" y="569121"/>
              <a:ext cx="297657" cy="962022"/>
              <a:chOff x="9144000" y="569121"/>
              <a:chExt cx="297657" cy="962022"/>
            </a:xfrm>
          </p:grpSpPr>
          <p:cxnSp>
            <p:nvCxnSpPr>
              <p:cNvPr id="26" name="Gerade Verbindung 25"/>
              <p:cNvCxnSpPr/>
              <p:nvPr/>
            </p:nvCxnSpPr>
            <p:spPr>
              <a:xfrm>
                <a:off x="9144000" y="569121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/>
            </p:nvCxnSpPr>
            <p:spPr>
              <a:xfrm rot="5400000" flipH="1" flipV="1">
                <a:off x="8960646" y="1050133"/>
                <a:ext cx="962021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/>
            </p:nvCxnSpPr>
            <p:spPr>
              <a:xfrm>
                <a:off x="9144000" y="1531143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550349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_color1"/>
          <p:cNvGraphicFramePr/>
          <p:nvPr>
            <p:extLst>
              <p:ext uri="{D42A27DB-BD31-4B8C-83A1-F6EECF244321}">
                <p14:modId xmlns:p14="http://schemas.microsoft.com/office/powerpoint/2010/main" val="3811042315"/>
              </p:ext>
            </p:extLst>
          </p:nvPr>
        </p:nvGraphicFramePr>
        <p:xfrm>
          <a:off x="323849" y="1555749"/>
          <a:ext cx="8497097" cy="42469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 smtClean="0"/>
              <a:t>Data-driven </a:t>
            </a:r>
            <a:r>
              <a:rPr lang="de-DE" noProof="1"/>
              <a:t>Diagram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Stacked </a:t>
            </a:r>
            <a:r>
              <a:rPr lang="en-US" dirty="0" smtClean="0"/>
              <a:t>Bar </a:t>
            </a:r>
            <a:r>
              <a:rPr lang="en-US" dirty="0"/>
              <a:t>D</a:t>
            </a:r>
            <a:r>
              <a:rPr lang="en-US" dirty="0" smtClean="0"/>
              <a:t>iagram</a:t>
            </a:r>
            <a:endParaRPr lang="en-US" dirty="0"/>
          </a:p>
        </p:txBody>
      </p:sp>
      <p:grpSp>
        <p:nvGrpSpPr>
          <p:cNvPr id="21" name="DataDriven_Label"/>
          <p:cNvGrpSpPr/>
          <p:nvPr/>
        </p:nvGrpSpPr>
        <p:grpSpPr>
          <a:xfrm>
            <a:off x="9161418" y="534489"/>
            <a:ext cx="323850" cy="1018902"/>
            <a:chOff x="9144000" y="543198"/>
            <a:chExt cx="323850" cy="101890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2" name="Rechteck 21"/>
            <p:cNvSpPr/>
            <p:nvPr/>
          </p:nvSpPr>
          <p:spPr bwMode="auto">
            <a:xfrm>
              <a:off x="9144000" y="543198"/>
              <a:ext cx="323850" cy="1018902"/>
            </a:xfrm>
            <a:prstGeom prst="rect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vert="vert270" rtlCol="0" anchor="ctr"/>
            <a:lstStyle/>
            <a:p>
              <a:pPr algn="ctr"/>
              <a:r>
                <a:rPr lang="de-DE" sz="1200" dirty="0" smtClean="0">
                  <a:solidFill>
                    <a:srgbClr val="FFFFFF"/>
                  </a:solidFill>
                </a:rPr>
                <a:t>DATADRIVEN</a:t>
              </a:r>
              <a:endParaRPr lang="de-DE" sz="1200" dirty="0">
                <a:solidFill>
                  <a:srgbClr val="FFFFFF"/>
                </a:solidFill>
              </a:endParaRPr>
            </a:p>
          </p:txBody>
        </p:sp>
        <p:grpSp>
          <p:nvGrpSpPr>
            <p:cNvPr id="23" name="Gruppieren 36"/>
            <p:cNvGrpSpPr/>
            <p:nvPr/>
          </p:nvGrpSpPr>
          <p:grpSpPr>
            <a:xfrm>
              <a:off x="9144000" y="569121"/>
              <a:ext cx="297657" cy="962022"/>
              <a:chOff x="9144000" y="569121"/>
              <a:chExt cx="297657" cy="962022"/>
            </a:xfrm>
          </p:grpSpPr>
          <p:cxnSp>
            <p:nvCxnSpPr>
              <p:cNvPr id="24" name="Gerade Verbindung 23"/>
              <p:cNvCxnSpPr/>
              <p:nvPr/>
            </p:nvCxnSpPr>
            <p:spPr>
              <a:xfrm>
                <a:off x="9144000" y="569121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/>
            </p:nvCxnSpPr>
            <p:spPr>
              <a:xfrm rot="5400000" flipH="1" flipV="1">
                <a:off x="8960646" y="1050133"/>
                <a:ext cx="962021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25"/>
              <p:cNvCxnSpPr/>
              <p:nvPr/>
            </p:nvCxnSpPr>
            <p:spPr>
              <a:xfrm>
                <a:off x="9144000" y="1531143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2" name="_color1"/>
          <p:cNvSpPr>
            <a:spLocks noChangeArrowheads="1"/>
          </p:cNvSpPr>
          <p:nvPr/>
        </p:nvSpPr>
        <p:spPr bwMode="gray">
          <a:xfrm rot="-5400000">
            <a:off x="4227732" y="-924188"/>
            <a:ext cx="706753" cy="8497095"/>
          </a:xfrm>
          <a:prstGeom prst="rect">
            <a:avLst/>
          </a:prstGeom>
          <a:noFill/>
          <a:ln w="28575">
            <a:solidFill>
              <a:srgbClr val="007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vert="eaVert" wrap="none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0349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 smtClean="0"/>
              <a:t>Data-driven </a:t>
            </a:r>
            <a:r>
              <a:rPr lang="de-DE" noProof="1"/>
              <a:t>Diagram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 smtClean="0"/>
              <a:t>Bar Chart 3D</a:t>
            </a:r>
            <a:endParaRPr lang="en-US" dirty="0"/>
          </a:p>
        </p:txBody>
      </p:sp>
      <p:grpSp>
        <p:nvGrpSpPr>
          <p:cNvPr id="15" name="DataDriven_Label"/>
          <p:cNvGrpSpPr/>
          <p:nvPr/>
        </p:nvGrpSpPr>
        <p:grpSpPr>
          <a:xfrm>
            <a:off x="9161418" y="534489"/>
            <a:ext cx="323850" cy="1018902"/>
            <a:chOff x="9144000" y="543198"/>
            <a:chExt cx="323850" cy="101890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" name="Rechteck 15"/>
            <p:cNvSpPr/>
            <p:nvPr/>
          </p:nvSpPr>
          <p:spPr bwMode="auto">
            <a:xfrm>
              <a:off x="9144000" y="543198"/>
              <a:ext cx="323850" cy="1018902"/>
            </a:xfrm>
            <a:prstGeom prst="rect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vert="vert270" rtlCol="0" anchor="ctr"/>
            <a:lstStyle/>
            <a:p>
              <a:pPr algn="ctr"/>
              <a:r>
                <a:rPr lang="de-DE" sz="1200" dirty="0" smtClean="0">
                  <a:solidFill>
                    <a:srgbClr val="FFFFFF"/>
                  </a:solidFill>
                </a:rPr>
                <a:t>DATADRIVEN</a:t>
              </a:r>
              <a:endParaRPr lang="de-DE" sz="1200" dirty="0">
                <a:solidFill>
                  <a:srgbClr val="FFFFFF"/>
                </a:solidFill>
              </a:endParaRPr>
            </a:p>
          </p:txBody>
        </p:sp>
        <p:grpSp>
          <p:nvGrpSpPr>
            <p:cNvPr id="17" name="Gruppieren 36"/>
            <p:cNvGrpSpPr/>
            <p:nvPr/>
          </p:nvGrpSpPr>
          <p:grpSpPr>
            <a:xfrm>
              <a:off x="9144000" y="569121"/>
              <a:ext cx="297657" cy="962022"/>
              <a:chOff x="9144000" y="569121"/>
              <a:chExt cx="297657" cy="962022"/>
            </a:xfrm>
          </p:grpSpPr>
          <p:cxnSp>
            <p:nvCxnSpPr>
              <p:cNvPr id="18" name="Gerade Verbindung 17"/>
              <p:cNvCxnSpPr/>
              <p:nvPr/>
            </p:nvCxnSpPr>
            <p:spPr>
              <a:xfrm>
                <a:off x="9144000" y="569121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 Verbindung 18"/>
              <p:cNvCxnSpPr/>
              <p:nvPr/>
            </p:nvCxnSpPr>
            <p:spPr>
              <a:xfrm rot="5400000" flipH="1" flipV="1">
                <a:off x="8960646" y="1050133"/>
                <a:ext cx="962021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19"/>
              <p:cNvCxnSpPr/>
              <p:nvPr/>
            </p:nvCxnSpPr>
            <p:spPr>
              <a:xfrm>
                <a:off x="9144000" y="1531143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" name="Trapezoid 21"/>
          <p:cNvSpPr/>
          <p:nvPr/>
        </p:nvSpPr>
        <p:spPr bwMode="auto">
          <a:xfrm>
            <a:off x="1209124" y="5909735"/>
            <a:ext cx="6834209" cy="190998"/>
          </a:xfrm>
          <a:prstGeom prst="trapezoid">
            <a:avLst>
              <a:gd name="adj" fmla="val 130095"/>
            </a:avLst>
          </a:prstGeom>
          <a:solidFill>
            <a:schemeClr val="tx1">
              <a:alpha val="19000"/>
            </a:schemeClr>
          </a:solidFill>
          <a:ln w="12700">
            <a:noFill/>
            <a:round/>
            <a:headEnd/>
            <a:tailEnd/>
          </a:ln>
          <a:effectLst>
            <a:softEdge rad="63500"/>
          </a:effectLst>
        </p:spPr>
        <p:txBody>
          <a:bodyPr rtlCol="0" anchor="ctr"/>
          <a:lstStyle/>
          <a:p>
            <a:pPr algn="ctr"/>
            <a:endParaRPr lang="de-DE" dirty="0"/>
          </a:p>
        </p:txBody>
      </p:sp>
      <p:graphicFrame>
        <p:nvGraphicFramePr>
          <p:cNvPr id="23" name="Diagramm 22"/>
          <p:cNvGraphicFramePr/>
          <p:nvPr>
            <p:extLst>
              <p:ext uri="{D42A27DB-BD31-4B8C-83A1-F6EECF244321}">
                <p14:modId xmlns:p14="http://schemas.microsoft.com/office/powerpoint/2010/main" val="174153271"/>
              </p:ext>
            </p:extLst>
          </p:nvPr>
        </p:nvGraphicFramePr>
        <p:xfrm>
          <a:off x="1115616" y="1202266"/>
          <a:ext cx="7761683" cy="48260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Textfeld 23"/>
          <p:cNvSpPr txBox="1"/>
          <p:nvPr/>
        </p:nvSpPr>
        <p:spPr>
          <a:xfrm>
            <a:off x="276617" y="1569798"/>
            <a:ext cx="11009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endParaRPr lang="de-DE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276617" y="1872160"/>
            <a:ext cx="11009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endParaRPr lang="de-DE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276617" y="2492663"/>
            <a:ext cx="11009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endParaRPr lang="de-DE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276617" y="2778091"/>
            <a:ext cx="11009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endParaRPr lang="de-DE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8" name="Textfeld 27"/>
          <p:cNvSpPr txBox="1"/>
          <p:nvPr/>
        </p:nvSpPr>
        <p:spPr>
          <a:xfrm>
            <a:off x="276617" y="3390127"/>
            <a:ext cx="11009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endParaRPr lang="de-DE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Textfeld 28"/>
          <p:cNvSpPr txBox="1"/>
          <p:nvPr/>
        </p:nvSpPr>
        <p:spPr>
          <a:xfrm>
            <a:off x="276617" y="3692489"/>
            <a:ext cx="11009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endParaRPr lang="de-DE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276617" y="4296058"/>
            <a:ext cx="11009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endParaRPr lang="de-DE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276617" y="4606887"/>
            <a:ext cx="11009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endParaRPr lang="de-DE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Textfeld 31"/>
          <p:cNvSpPr txBox="1"/>
          <p:nvPr/>
        </p:nvSpPr>
        <p:spPr>
          <a:xfrm>
            <a:off x="276617" y="5210457"/>
            <a:ext cx="11009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endParaRPr lang="de-DE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3" name="Textfeld 32"/>
          <p:cNvSpPr txBox="1"/>
          <p:nvPr/>
        </p:nvSpPr>
        <p:spPr>
          <a:xfrm>
            <a:off x="276617" y="5512819"/>
            <a:ext cx="11009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endParaRPr lang="de-DE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878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 smtClean="0"/>
              <a:t>Data-driven </a:t>
            </a:r>
            <a:r>
              <a:rPr lang="de-DE" noProof="1"/>
              <a:t>Diagram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Line </a:t>
            </a:r>
            <a:r>
              <a:rPr lang="en-US" dirty="0" smtClean="0"/>
              <a:t>Diagram</a:t>
            </a:r>
            <a:endParaRPr lang="en-US" dirty="0"/>
          </a:p>
        </p:txBody>
      </p:sp>
      <p:grpSp>
        <p:nvGrpSpPr>
          <p:cNvPr id="15" name="DataDriven_Label"/>
          <p:cNvGrpSpPr/>
          <p:nvPr/>
        </p:nvGrpSpPr>
        <p:grpSpPr>
          <a:xfrm>
            <a:off x="9161418" y="534489"/>
            <a:ext cx="323850" cy="1018902"/>
            <a:chOff x="9144000" y="543198"/>
            <a:chExt cx="323850" cy="101890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" name="Rechteck 15"/>
            <p:cNvSpPr/>
            <p:nvPr/>
          </p:nvSpPr>
          <p:spPr bwMode="auto">
            <a:xfrm>
              <a:off x="9144000" y="543198"/>
              <a:ext cx="323850" cy="1018902"/>
            </a:xfrm>
            <a:prstGeom prst="rect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vert="vert270" rtlCol="0" anchor="ctr"/>
            <a:lstStyle/>
            <a:p>
              <a:pPr algn="ctr"/>
              <a:r>
                <a:rPr lang="de-DE" sz="1200" dirty="0" smtClean="0">
                  <a:solidFill>
                    <a:srgbClr val="FFFFFF"/>
                  </a:solidFill>
                </a:rPr>
                <a:t>DATADRIVEN</a:t>
              </a:r>
              <a:endParaRPr lang="de-DE" sz="1200" dirty="0">
                <a:solidFill>
                  <a:srgbClr val="FFFFFF"/>
                </a:solidFill>
              </a:endParaRPr>
            </a:p>
          </p:txBody>
        </p:sp>
        <p:grpSp>
          <p:nvGrpSpPr>
            <p:cNvPr id="17" name="Gruppieren 36"/>
            <p:cNvGrpSpPr/>
            <p:nvPr/>
          </p:nvGrpSpPr>
          <p:grpSpPr>
            <a:xfrm>
              <a:off x="9144000" y="569121"/>
              <a:ext cx="297657" cy="962022"/>
              <a:chOff x="9144000" y="569121"/>
              <a:chExt cx="297657" cy="962022"/>
            </a:xfrm>
          </p:grpSpPr>
          <p:cxnSp>
            <p:nvCxnSpPr>
              <p:cNvPr id="18" name="Gerade Verbindung 17"/>
              <p:cNvCxnSpPr/>
              <p:nvPr/>
            </p:nvCxnSpPr>
            <p:spPr>
              <a:xfrm>
                <a:off x="9144000" y="569121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 Verbindung 18"/>
              <p:cNvCxnSpPr/>
              <p:nvPr/>
            </p:nvCxnSpPr>
            <p:spPr>
              <a:xfrm rot="5400000" flipH="1" flipV="1">
                <a:off x="8960646" y="1050133"/>
                <a:ext cx="962021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19"/>
              <p:cNvCxnSpPr/>
              <p:nvPr/>
            </p:nvCxnSpPr>
            <p:spPr>
              <a:xfrm>
                <a:off x="9144000" y="1531143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aphicFrame>
        <p:nvGraphicFramePr>
          <p:cNvPr id="21" name="_color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7680030"/>
              </p:ext>
            </p:extLst>
          </p:nvPr>
        </p:nvGraphicFramePr>
        <p:xfrm>
          <a:off x="282342" y="1522434"/>
          <a:ext cx="8640996" cy="4470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22" name="Group 5"/>
          <p:cNvGrpSpPr>
            <a:grpSpLocks/>
          </p:cNvGrpSpPr>
          <p:nvPr/>
        </p:nvGrpSpPr>
        <p:grpSpPr bwMode="auto">
          <a:xfrm rot="-900000">
            <a:off x="6037263" y="4135438"/>
            <a:ext cx="1295400" cy="1295400"/>
            <a:chOff x="4623" y="2524"/>
            <a:chExt cx="978" cy="978"/>
          </a:xfrm>
        </p:grpSpPr>
        <p:sp>
          <p:nvSpPr>
            <p:cNvPr id="23" name="Oval 6"/>
            <p:cNvSpPr>
              <a:spLocks noChangeArrowheads="1"/>
            </p:cNvSpPr>
            <p:nvPr/>
          </p:nvSpPr>
          <p:spPr bwMode="gray">
            <a:xfrm>
              <a:off x="4623" y="2524"/>
              <a:ext cx="978" cy="978"/>
            </a:xfrm>
            <a:prstGeom prst="ellipse">
              <a:avLst/>
            </a:prstGeom>
            <a:solidFill>
              <a:srgbClr val="FF9900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eaLnBrk="0" hangingPunct="0">
                <a:lnSpc>
                  <a:spcPct val="90000"/>
                </a:lnSpc>
                <a:defRPr/>
              </a:pPr>
              <a:r>
                <a:rPr lang="de-DE" sz="1600" b="1" noProof="1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Forecast</a:t>
              </a:r>
            </a:p>
            <a:p>
              <a:pPr algn="ctr" eaLnBrk="0" hangingPunct="0">
                <a:lnSpc>
                  <a:spcPct val="90000"/>
                </a:lnSpc>
                <a:defRPr/>
              </a:pPr>
              <a:r>
                <a:rPr lang="de-DE" sz="1600" b="1" noProof="1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20</a:t>
              </a:r>
              <a:r>
                <a:rPr lang="de-DE" sz="1600" b="1" dirty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18</a:t>
              </a:r>
              <a:r>
                <a:rPr lang="de-DE" sz="1600" b="1" noProof="1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 - 20</a:t>
              </a:r>
              <a:r>
                <a:rPr lang="de-DE" sz="1600" b="1" dirty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20</a:t>
              </a:r>
              <a:endParaRPr lang="de-DE" sz="1600" b="1" noProof="1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24" name="Picture 7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794" y="2530"/>
              <a:ext cx="645" cy="4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5" name="Line 8"/>
          <p:cNvSpPr>
            <a:spLocks noChangeShapeType="1"/>
          </p:cNvSpPr>
          <p:nvPr/>
        </p:nvSpPr>
        <p:spPr bwMode="gray">
          <a:xfrm flipV="1">
            <a:off x="5359400" y="2082800"/>
            <a:ext cx="0" cy="3479800"/>
          </a:xfrm>
          <a:prstGeom prst="line">
            <a:avLst/>
          </a:prstGeom>
          <a:noFill/>
          <a:ln w="28575">
            <a:solidFill>
              <a:schemeClr val="tx1">
                <a:lumMod val="65000"/>
                <a:lumOff val="35000"/>
              </a:schemeClr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26" name="AutoShape 9"/>
          <p:cNvSpPr>
            <a:spLocks noChangeArrowheads="1"/>
          </p:cNvSpPr>
          <p:nvPr/>
        </p:nvSpPr>
        <p:spPr bwMode="gray">
          <a:xfrm flipV="1">
            <a:off x="5380038" y="4478338"/>
            <a:ext cx="544512" cy="698500"/>
          </a:xfrm>
          <a:prstGeom prst="rightArrow">
            <a:avLst>
              <a:gd name="adj1" fmla="val 55000"/>
              <a:gd name="adj2" fmla="val 63606"/>
            </a:avLst>
          </a:prstGeom>
          <a:solidFill>
            <a:srgbClr val="0070C0"/>
          </a:solidFill>
          <a:ln w="28575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rot="10800000" lIns="324000" tIns="0" rIns="0" bIns="0" anchor="ctr"/>
          <a:lstStyle/>
          <a:p>
            <a:pPr algn="ctr" eaLnBrk="0" hangingPunct="0">
              <a:defRPr/>
            </a:pPr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878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 smtClean="0"/>
              <a:t>Data-driven </a:t>
            </a:r>
            <a:r>
              <a:rPr lang="de-DE" noProof="1"/>
              <a:t>Diagram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de-DE" noProof="1"/>
              <a:t>Area diagram</a:t>
            </a:r>
            <a:endParaRPr lang="en-US" dirty="0"/>
          </a:p>
        </p:txBody>
      </p:sp>
      <p:grpSp>
        <p:nvGrpSpPr>
          <p:cNvPr id="15" name="DataDriven_Label"/>
          <p:cNvGrpSpPr/>
          <p:nvPr/>
        </p:nvGrpSpPr>
        <p:grpSpPr>
          <a:xfrm>
            <a:off x="9161418" y="534489"/>
            <a:ext cx="323850" cy="1018902"/>
            <a:chOff x="9144000" y="543198"/>
            <a:chExt cx="323850" cy="101890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" name="Rechteck 15"/>
            <p:cNvSpPr/>
            <p:nvPr/>
          </p:nvSpPr>
          <p:spPr bwMode="auto">
            <a:xfrm>
              <a:off x="9144000" y="543198"/>
              <a:ext cx="323850" cy="1018902"/>
            </a:xfrm>
            <a:prstGeom prst="rect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vert="vert270" rtlCol="0" anchor="ctr"/>
            <a:lstStyle/>
            <a:p>
              <a:pPr algn="ctr"/>
              <a:r>
                <a:rPr lang="de-DE" sz="1200" dirty="0" smtClean="0">
                  <a:solidFill>
                    <a:srgbClr val="FFFFFF"/>
                  </a:solidFill>
                </a:rPr>
                <a:t>DATADRIVEN</a:t>
              </a:r>
              <a:endParaRPr lang="de-DE" sz="1200" dirty="0">
                <a:solidFill>
                  <a:srgbClr val="FFFFFF"/>
                </a:solidFill>
              </a:endParaRPr>
            </a:p>
          </p:txBody>
        </p:sp>
        <p:grpSp>
          <p:nvGrpSpPr>
            <p:cNvPr id="17" name="Gruppieren 36"/>
            <p:cNvGrpSpPr/>
            <p:nvPr/>
          </p:nvGrpSpPr>
          <p:grpSpPr>
            <a:xfrm>
              <a:off x="9144000" y="569121"/>
              <a:ext cx="297657" cy="962022"/>
              <a:chOff x="9144000" y="569121"/>
              <a:chExt cx="297657" cy="962022"/>
            </a:xfrm>
          </p:grpSpPr>
          <p:cxnSp>
            <p:nvCxnSpPr>
              <p:cNvPr id="18" name="Gerade Verbindung 17"/>
              <p:cNvCxnSpPr/>
              <p:nvPr/>
            </p:nvCxnSpPr>
            <p:spPr>
              <a:xfrm>
                <a:off x="9144000" y="569121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 Verbindung 18"/>
              <p:cNvCxnSpPr/>
              <p:nvPr/>
            </p:nvCxnSpPr>
            <p:spPr>
              <a:xfrm rot="5400000" flipH="1" flipV="1">
                <a:off x="8960646" y="1050133"/>
                <a:ext cx="962021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19"/>
              <p:cNvCxnSpPr/>
              <p:nvPr/>
            </p:nvCxnSpPr>
            <p:spPr>
              <a:xfrm>
                <a:off x="9144000" y="1531143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aphicFrame>
        <p:nvGraphicFramePr>
          <p:cNvPr id="21" name="_color1"/>
          <p:cNvGraphicFramePr/>
          <p:nvPr>
            <p:extLst>
              <p:ext uri="{D42A27DB-BD31-4B8C-83A1-F6EECF244321}">
                <p14:modId xmlns:p14="http://schemas.microsoft.com/office/powerpoint/2010/main" val="3542723324"/>
              </p:ext>
            </p:extLst>
          </p:nvPr>
        </p:nvGraphicFramePr>
        <p:xfrm>
          <a:off x="315141" y="1522435"/>
          <a:ext cx="8586916" cy="42914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34878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 smtClean="0"/>
              <a:t>Data-driven </a:t>
            </a:r>
            <a:r>
              <a:rPr lang="de-DE" noProof="1"/>
              <a:t>Diagram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de-DE" noProof="1"/>
              <a:t>Area </a:t>
            </a:r>
            <a:r>
              <a:rPr lang="de-DE" noProof="1" smtClean="0"/>
              <a:t>diagram 3D</a:t>
            </a:r>
            <a:endParaRPr lang="en-US" dirty="0"/>
          </a:p>
        </p:txBody>
      </p:sp>
      <p:grpSp>
        <p:nvGrpSpPr>
          <p:cNvPr id="15" name="DataDriven_Label"/>
          <p:cNvGrpSpPr/>
          <p:nvPr/>
        </p:nvGrpSpPr>
        <p:grpSpPr>
          <a:xfrm>
            <a:off x="9161418" y="534489"/>
            <a:ext cx="323850" cy="1018902"/>
            <a:chOff x="9144000" y="543198"/>
            <a:chExt cx="323850" cy="101890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" name="Rechteck 15"/>
            <p:cNvSpPr/>
            <p:nvPr/>
          </p:nvSpPr>
          <p:spPr bwMode="auto">
            <a:xfrm>
              <a:off x="9144000" y="543198"/>
              <a:ext cx="323850" cy="1018902"/>
            </a:xfrm>
            <a:prstGeom prst="rect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vert="vert270" rtlCol="0" anchor="ctr"/>
            <a:lstStyle/>
            <a:p>
              <a:pPr algn="ctr"/>
              <a:r>
                <a:rPr lang="de-DE" sz="1200" dirty="0" smtClean="0">
                  <a:solidFill>
                    <a:srgbClr val="FFFFFF"/>
                  </a:solidFill>
                </a:rPr>
                <a:t>DATADRIVEN</a:t>
              </a:r>
              <a:endParaRPr lang="de-DE" sz="1200" dirty="0">
                <a:solidFill>
                  <a:srgbClr val="FFFFFF"/>
                </a:solidFill>
              </a:endParaRPr>
            </a:p>
          </p:txBody>
        </p:sp>
        <p:grpSp>
          <p:nvGrpSpPr>
            <p:cNvPr id="17" name="Gruppieren 36"/>
            <p:cNvGrpSpPr/>
            <p:nvPr/>
          </p:nvGrpSpPr>
          <p:grpSpPr>
            <a:xfrm>
              <a:off x="9144000" y="569121"/>
              <a:ext cx="297657" cy="962022"/>
              <a:chOff x="9144000" y="569121"/>
              <a:chExt cx="297657" cy="962022"/>
            </a:xfrm>
          </p:grpSpPr>
          <p:cxnSp>
            <p:nvCxnSpPr>
              <p:cNvPr id="18" name="Gerade Verbindung 17"/>
              <p:cNvCxnSpPr/>
              <p:nvPr/>
            </p:nvCxnSpPr>
            <p:spPr>
              <a:xfrm>
                <a:off x="9144000" y="569121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 Verbindung 18"/>
              <p:cNvCxnSpPr/>
              <p:nvPr/>
            </p:nvCxnSpPr>
            <p:spPr>
              <a:xfrm rot="5400000" flipH="1" flipV="1">
                <a:off x="8960646" y="1050133"/>
                <a:ext cx="962021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19"/>
              <p:cNvCxnSpPr/>
              <p:nvPr/>
            </p:nvCxnSpPr>
            <p:spPr>
              <a:xfrm>
                <a:off x="9144000" y="1531143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aphicFrame>
        <p:nvGraphicFramePr>
          <p:cNvPr id="29" name="_color1"/>
          <p:cNvGraphicFramePr/>
          <p:nvPr>
            <p:extLst>
              <p:ext uri="{D42A27DB-BD31-4B8C-83A1-F6EECF244321}">
                <p14:modId xmlns:p14="http://schemas.microsoft.com/office/powerpoint/2010/main" val="1631366510"/>
              </p:ext>
            </p:extLst>
          </p:nvPr>
        </p:nvGraphicFramePr>
        <p:xfrm>
          <a:off x="181878" y="1428203"/>
          <a:ext cx="8991441" cy="44936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53425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/>
        </p:nvGrpSpPr>
        <p:grpSpPr>
          <a:xfrm>
            <a:off x="323895" y="1556864"/>
            <a:ext cx="4086540" cy="504000"/>
            <a:chOff x="323895" y="1556864"/>
            <a:chExt cx="4086540" cy="504000"/>
          </a:xfrm>
        </p:grpSpPr>
        <p:sp>
          <p:nvSpPr>
            <p:cNvPr id="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5" y="1556864"/>
              <a:ext cx="3683360" cy="503911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Agenda Slides</a:t>
              </a:r>
            </a:p>
          </p:txBody>
        </p:sp>
        <p:sp>
          <p:nvSpPr>
            <p:cNvPr id="3" name="Rechteck 2"/>
            <p:cNvSpPr/>
            <p:nvPr/>
          </p:nvSpPr>
          <p:spPr>
            <a:xfrm>
              <a:off x="323895" y="1556953"/>
              <a:ext cx="324000" cy="503911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323895" y="2180757"/>
            <a:ext cx="4086181" cy="504000"/>
            <a:chOff x="323895" y="2180757"/>
            <a:chExt cx="4086181" cy="504000"/>
          </a:xfrm>
        </p:grpSpPr>
        <p:sp>
          <p:nvSpPr>
            <p:cNvPr id="5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2180757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Gantt Charts</a:t>
              </a:r>
            </a:p>
          </p:txBody>
        </p:sp>
        <p:sp>
          <p:nvSpPr>
            <p:cNvPr id="92" name="Rechteck 91"/>
            <p:cNvSpPr/>
            <p:nvPr/>
          </p:nvSpPr>
          <p:spPr>
            <a:xfrm>
              <a:off x="323895" y="2180758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2</a:t>
              </a:r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323895" y="2804650"/>
            <a:ext cx="4086181" cy="504000"/>
            <a:chOff x="323895" y="2804650"/>
            <a:chExt cx="4086181" cy="504000"/>
          </a:xfrm>
        </p:grpSpPr>
        <p:sp>
          <p:nvSpPr>
            <p:cNvPr id="93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2804650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Funnels 3D</a:t>
              </a:r>
            </a:p>
          </p:txBody>
        </p:sp>
        <p:sp>
          <p:nvSpPr>
            <p:cNvPr id="94" name="Rechteck 93"/>
            <p:cNvSpPr/>
            <p:nvPr/>
          </p:nvSpPr>
          <p:spPr>
            <a:xfrm>
              <a:off x="323895" y="2804651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3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323895" y="3428543"/>
            <a:ext cx="4086181" cy="504000"/>
            <a:chOff x="323895" y="3428543"/>
            <a:chExt cx="4086181" cy="504000"/>
          </a:xfrm>
        </p:grpSpPr>
        <p:sp>
          <p:nvSpPr>
            <p:cNvPr id="9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3428543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Pie / Donut Charts</a:t>
              </a:r>
            </a:p>
          </p:txBody>
        </p:sp>
        <p:sp>
          <p:nvSpPr>
            <p:cNvPr id="96" name="Rechteck 95"/>
            <p:cNvSpPr/>
            <p:nvPr/>
          </p:nvSpPr>
          <p:spPr>
            <a:xfrm>
              <a:off x="323895" y="3428544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4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" name="Gruppieren 11"/>
          <p:cNvGrpSpPr/>
          <p:nvPr/>
        </p:nvGrpSpPr>
        <p:grpSpPr>
          <a:xfrm>
            <a:off x="323895" y="4052436"/>
            <a:ext cx="4086181" cy="504000"/>
            <a:chOff x="323895" y="4052436"/>
            <a:chExt cx="4086181" cy="504000"/>
          </a:xfrm>
        </p:grpSpPr>
        <p:sp>
          <p:nvSpPr>
            <p:cNvPr id="9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4052436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Overlapping Text Boxes</a:t>
              </a:r>
            </a:p>
          </p:txBody>
        </p:sp>
        <p:sp>
          <p:nvSpPr>
            <p:cNvPr id="98" name="Rechteck 97"/>
            <p:cNvSpPr/>
            <p:nvPr/>
          </p:nvSpPr>
          <p:spPr>
            <a:xfrm>
              <a:off x="323895" y="4052437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5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323895" y="4676329"/>
            <a:ext cx="4086181" cy="504000"/>
            <a:chOff x="323895" y="4676329"/>
            <a:chExt cx="4086181" cy="504000"/>
          </a:xfrm>
        </p:grpSpPr>
        <p:sp>
          <p:nvSpPr>
            <p:cNvPr id="9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4676329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Timelines Arrows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323895" y="4676330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6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9" name="Gruppieren 8"/>
          <p:cNvGrpSpPr/>
          <p:nvPr/>
        </p:nvGrpSpPr>
        <p:grpSpPr>
          <a:xfrm>
            <a:off x="323895" y="5300224"/>
            <a:ext cx="4086181" cy="504000"/>
            <a:chOff x="323895" y="5300224"/>
            <a:chExt cx="4086181" cy="504000"/>
          </a:xfrm>
        </p:grpSpPr>
        <p:sp>
          <p:nvSpPr>
            <p:cNvPr id="101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5300224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Sphere with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Core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102" name="Rechteck 101"/>
            <p:cNvSpPr/>
            <p:nvPr/>
          </p:nvSpPr>
          <p:spPr>
            <a:xfrm>
              <a:off x="323895" y="5300225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7</a:t>
              </a:r>
            </a:p>
          </p:txBody>
        </p:sp>
      </p:grpSp>
      <p:grpSp>
        <p:nvGrpSpPr>
          <p:cNvPr id="15" name="Gruppieren 14"/>
          <p:cNvGrpSpPr/>
          <p:nvPr/>
        </p:nvGrpSpPr>
        <p:grpSpPr>
          <a:xfrm>
            <a:off x="4733970" y="1556862"/>
            <a:ext cx="4086181" cy="504000"/>
            <a:chOff x="4733970" y="1556862"/>
            <a:chExt cx="4086181" cy="504000"/>
          </a:xfrm>
        </p:grpSpPr>
        <p:sp>
          <p:nvSpPr>
            <p:cNvPr id="5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1556862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Step Process Chart</a:t>
              </a:r>
            </a:p>
          </p:txBody>
        </p:sp>
        <p:sp>
          <p:nvSpPr>
            <p:cNvPr id="58" name="Rechteck 57"/>
            <p:cNvSpPr/>
            <p:nvPr/>
          </p:nvSpPr>
          <p:spPr>
            <a:xfrm>
              <a:off x="4733970" y="1556863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8</a:t>
              </a:r>
            </a:p>
          </p:txBody>
        </p:sp>
      </p:grpSp>
      <p:grpSp>
        <p:nvGrpSpPr>
          <p:cNvPr id="16" name="Gruppieren 15"/>
          <p:cNvGrpSpPr/>
          <p:nvPr/>
        </p:nvGrpSpPr>
        <p:grpSpPr>
          <a:xfrm>
            <a:off x="4733970" y="2180756"/>
            <a:ext cx="4086181" cy="504000"/>
            <a:chOff x="4733970" y="2180756"/>
            <a:chExt cx="4086181" cy="504000"/>
          </a:xfrm>
        </p:grpSpPr>
        <p:sp>
          <p:nvSpPr>
            <p:cNvPr id="5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2180756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Curves and Trend Charts</a:t>
              </a:r>
            </a:p>
          </p:txBody>
        </p:sp>
        <p:sp>
          <p:nvSpPr>
            <p:cNvPr id="60" name="Rechteck 59"/>
            <p:cNvSpPr/>
            <p:nvPr/>
          </p:nvSpPr>
          <p:spPr>
            <a:xfrm>
              <a:off x="4733970" y="2180757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9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4733970" y="2804650"/>
            <a:ext cx="4086181" cy="504000"/>
            <a:chOff x="4733970" y="2804650"/>
            <a:chExt cx="4086181" cy="504000"/>
          </a:xfrm>
        </p:grpSpPr>
        <p:sp>
          <p:nvSpPr>
            <p:cNvPr id="61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2804650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3D Spheres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Fill </a:t>
              </a:r>
              <a:r>
                <a:rPr lang="en-US" sz="1600" b="1" noProof="1">
                  <a:solidFill>
                    <a:srgbClr val="5F5F5F"/>
                  </a:solidFill>
                </a:rPr>
                <a:t>L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evels</a:t>
              </a:r>
              <a:r>
                <a:rPr lang="en-US" sz="1600" b="1" noProof="1">
                  <a:solidFill>
                    <a:srgbClr val="5F5F5F"/>
                  </a:solidFill>
                </a:rPr>
                <a:t>	</a:t>
              </a:r>
            </a:p>
          </p:txBody>
        </p:sp>
        <p:sp>
          <p:nvSpPr>
            <p:cNvPr id="62" name="Rechteck 61"/>
            <p:cNvSpPr/>
            <p:nvPr/>
          </p:nvSpPr>
          <p:spPr>
            <a:xfrm>
              <a:off x="4733970" y="2804651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0</a:t>
              </a:r>
            </a:p>
          </p:txBody>
        </p:sp>
      </p:grpSp>
      <p:grpSp>
        <p:nvGrpSpPr>
          <p:cNvPr id="17" name="Gruppieren 16"/>
          <p:cNvGrpSpPr/>
          <p:nvPr/>
        </p:nvGrpSpPr>
        <p:grpSpPr>
          <a:xfrm>
            <a:off x="4733970" y="3428544"/>
            <a:ext cx="4086181" cy="504000"/>
            <a:chOff x="4733970" y="3428544"/>
            <a:chExt cx="4086181" cy="504000"/>
          </a:xfrm>
        </p:grpSpPr>
        <p:sp>
          <p:nvSpPr>
            <p:cNvPr id="63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3428544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Data-driven Diagrams	</a:t>
              </a:r>
            </a:p>
          </p:txBody>
        </p:sp>
        <p:sp>
          <p:nvSpPr>
            <p:cNvPr id="64" name="Rechteck 63"/>
            <p:cNvSpPr/>
            <p:nvPr/>
          </p:nvSpPr>
          <p:spPr>
            <a:xfrm>
              <a:off x="4733970" y="3428545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1</a:t>
              </a:r>
            </a:p>
          </p:txBody>
        </p:sp>
      </p:grpSp>
      <p:grpSp>
        <p:nvGrpSpPr>
          <p:cNvPr id="20" name="Gruppieren 19"/>
          <p:cNvGrpSpPr/>
          <p:nvPr/>
        </p:nvGrpSpPr>
        <p:grpSpPr>
          <a:xfrm>
            <a:off x="4733970" y="4052438"/>
            <a:ext cx="4086181" cy="504000"/>
            <a:chOff x="4733970" y="4052438"/>
            <a:chExt cx="4086181" cy="504000"/>
          </a:xfrm>
        </p:grpSpPr>
        <p:sp>
          <p:nvSpPr>
            <p:cNvPr id="6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4052438"/>
              <a:ext cx="3670300" cy="503999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16200000" scaled="0"/>
              <a:tileRect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chemeClr val="bg1"/>
                  </a:solidFill>
                </a:rPr>
                <a:t>Arrow </a:t>
              </a:r>
              <a:r>
                <a:rPr lang="en-US" sz="1600" b="1" noProof="1" smtClean="0">
                  <a:solidFill>
                    <a:schemeClr val="bg1"/>
                  </a:solidFill>
                </a:rPr>
                <a:t>Process</a:t>
              </a:r>
              <a:endParaRPr lang="en-US" sz="1600" b="1" noProof="1">
                <a:solidFill>
                  <a:schemeClr val="bg1"/>
                </a:solidFill>
              </a:endParaRPr>
            </a:p>
          </p:txBody>
        </p:sp>
        <p:sp>
          <p:nvSpPr>
            <p:cNvPr id="66" name="Rechteck 65"/>
            <p:cNvSpPr/>
            <p:nvPr/>
          </p:nvSpPr>
          <p:spPr>
            <a:xfrm>
              <a:off x="4733970" y="4052439"/>
              <a:ext cx="324000" cy="503999"/>
            </a:xfrm>
            <a:prstGeom prst="rect">
              <a:avLst/>
            </a:pr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rgbClr val="0070C0"/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2</a:t>
              </a:r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4733970" y="4676332"/>
            <a:ext cx="4086181" cy="504000"/>
            <a:chOff x="4733970" y="4676332"/>
            <a:chExt cx="4086181" cy="504000"/>
          </a:xfrm>
        </p:grpSpPr>
        <p:sp>
          <p:nvSpPr>
            <p:cNvPr id="6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4676332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Circle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Diagram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68" name="Rechteck 67"/>
            <p:cNvSpPr/>
            <p:nvPr/>
          </p:nvSpPr>
          <p:spPr>
            <a:xfrm>
              <a:off x="4733970" y="4676333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3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30" name="Gruppieren 129"/>
          <p:cNvGrpSpPr/>
          <p:nvPr/>
        </p:nvGrpSpPr>
        <p:grpSpPr>
          <a:xfrm>
            <a:off x="4733970" y="5300225"/>
            <a:ext cx="4086181" cy="504000"/>
            <a:chOff x="4733970" y="5300225"/>
            <a:chExt cx="4086181" cy="504000"/>
          </a:xfrm>
        </p:grpSpPr>
        <p:sp>
          <p:nvSpPr>
            <p:cNvPr id="6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5300225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3D Arrows</a:t>
              </a:r>
            </a:p>
          </p:txBody>
        </p:sp>
        <p:sp>
          <p:nvSpPr>
            <p:cNvPr id="70" name="Rechteck 69"/>
            <p:cNvSpPr/>
            <p:nvPr/>
          </p:nvSpPr>
          <p:spPr>
            <a:xfrm>
              <a:off x="4733970" y="5300226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4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siness Starter Package</a:t>
            </a:r>
            <a:endParaRPr lang="en-US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laceholder for your own sub headline</a:t>
            </a:r>
          </a:p>
        </p:txBody>
      </p:sp>
    </p:spTree>
    <p:extLst>
      <p:ext uri="{BB962C8B-B14F-4D97-AF65-F5344CB8AC3E}">
        <p14:creationId xmlns:p14="http://schemas.microsoft.com/office/powerpoint/2010/main" val="1868855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Arrow </a:t>
            </a:r>
            <a:r>
              <a:rPr lang="de-DE" noProof="1" smtClean="0"/>
              <a:t>Process</a:t>
            </a:r>
            <a:endParaRPr lang="de-DE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Placeholder for your own sub headline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1112838" y="1916113"/>
            <a:ext cx="7273925" cy="3528880"/>
            <a:chOff x="1112838" y="1916113"/>
            <a:chExt cx="7273925" cy="3528880"/>
          </a:xfrm>
          <a:effectLst>
            <a:outerShdw blurRad="457200" dir="18900000" sy="23000" kx="-1200000" algn="bl" rotWithShape="0">
              <a:prstClr val="black">
                <a:alpha val="20000"/>
              </a:prstClr>
            </a:outerShdw>
            <a:reflection blurRad="6350" stA="52000" endA="300" endPos="35000" dir="5400000" sy="-100000" algn="bl" rotWithShape="0"/>
          </a:effectLst>
        </p:grpSpPr>
        <p:sp>
          <p:nvSpPr>
            <p:cNvPr id="22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2611438" y="2834741"/>
              <a:ext cx="5033963" cy="1676457"/>
            </a:xfrm>
            <a:prstGeom prst="chevron">
              <a:avLst>
                <a:gd name="adj" fmla="val 34199"/>
              </a:avLst>
            </a:prstGeom>
            <a:solidFill>
              <a:srgbClr val="007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none" lIns="216000" anchor="ctr"/>
            <a:lstStyle/>
            <a:p>
              <a:pPr defTabSz="801688">
                <a:spcBef>
                  <a:spcPct val="20000"/>
                </a:spcBef>
              </a:pPr>
              <a:r>
                <a:rPr lang="en-US" sz="1600" b="1" noProof="1">
                  <a:solidFill>
                    <a:srgbClr val="FFFFFF"/>
                  </a:solidFill>
                  <a:cs typeface="Arial" charset="0"/>
                </a:rPr>
                <a:t>The text demonstrates how </a:t>
              </a:r>
              <a:br>
                <a:rPr lang="en-US" sz="1600" b="1" noProof="1">
                  <a:solidFill>
                    <a:srgbClr val="FFFFFF"/>
                  </a:solidFill>
                  <a:cs typeface="Arial" charset="0"/>
                </a:rPr>
              </a:br>
              <a:r>
                <a:rPr lang="en-US" sz="1600" b="1" noProof="1">
                  <a:solidFill>
                    <a:srgbClr val="FFFFFF"/>
                  </a:solidFill>
                  <a:cs typeface="Arial" charset="0"/>
                </a:rPr>
                <a:t>your own text will look when </a:t>
              </a:r>
              <a:br>
                <a:rPr lang="en-US" sz="1600" b="1" noProof="1">
                  <a:solidFill>
                    <a:srgbClr val="FFFFFF"/>
                  </a:solidFill>
                  <a:cs typeface="Arial" charset="0"/>
                </a:rPr>
              </a:br>
              <a:r>
                <a:rPr lang="en-US" sz="1600" b="1" noProof="1">
                  <a:solidFill>
                    <a:srgbClr val="FFFFFF"/>
                  </a:solidFill>
                  <a:cs typeface="Arial" charset="0"/>
                </a:rPr>
                <a:t>you replace the placeholder </a:t>
              </a:r>
              <a:br>
                <a:rPr lang="en-US" sz="1600" b="1" noProof="1">
                  <a:solidFill>
                    <a:srgbClr val="FFFFFF"/>
                  </a:solidFill>
                  <a:cs typeface="Arial" charset="0"/>
                </a:rPr>
              </a:br>
              <a:r>
                <a:rPr lang="en-US" sz="1600" b="1" noProof="1">
                  <a:solidFill>
                    <a:srgbClr val="FFFFFF"/>
                  </a:solidFill>
                  <a:cs typeface="Arial" charset="0"/>
                </a:rPr>
                <a:t>with your own </a:t>
              </a:r>
              <a:r>
                <a:rPr lang="en-US" sz="1600" b="1" noProof="1">
                  <a:solidFill>
                    <a:srgbClr val="FFFFFF"/>
                  </a:solidFill>
                  <a:cs typeface="Arial" charset="0"/>
                </a:rPr>
                <a:t>text</a:t>
              </a: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.</a:t>
              </a:r>
              <a:endParaRPr lang="en-US" sz="16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5" name="AutoShape 53" descr="© INSCALE GmbH, 26.05.2010&#10;http://www.presentationload.com/"/>
            <p:cNvSpPr>
              <a:spLocks noChangeArrowheads="1"/>
            </p:cNvSpPr>
            <p:nvPr/>
          </p:nvSpPr>
          <p:spPr bwMode="gray">
            <a:xfrm flipH="1">
              <a:off x="1979613" y="1916113"/>
              <a:ext cx="5032375" cy="827880"/>
            </a:xfrm>
            <a:prstGeom prst="parallelogram">
              <a:avLst>
                <a:gd name="adj" fmla="val 68977"/>
              </a:avLst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none" lIns="756000" anchor="ctr"/>
            <a:lstStyle/>
            <a:p>
              <a:pPr defTabSz="801688">
                <a:spcBef>
                  <a:spcPct val="20000"/>
                </a:spcBef>
              </a:pPr>
              <a:r>
                <a:rPr lang="en-US" sz="14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This is placeholder text. </a:t>
              </a:r>
              <a:br>
                <a:rPr lang="en-US" sz="14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</a:br>
              <a:r>
                <a:rPr lang="en-US" sz="14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All phrases can be replaced </a:t>
              </a:r>
              <a:br>
                <a:rPr lang="en-US" sz="14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</a:br>
              <a:r>
                <a:rPr lang="en-US" sz="14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with your own text.</a:t>
              </a:r>
            </a:p>
          </p:txBody>
        </p:sp>
        <p:sp>
          <p:nvSpPr>
            <p:cNvPr id="28" name="AutoShape 4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979613" y="4617113"/>
              <a:ext cx="5032375" cy="827880"/>
            </a:xfrm>
            <a:prstGeom prst="parallelogram">
              <a:avLst>
                <a:gd name="adj" fmla="val 68977"/>
              </a:avLst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none" lIns="756000" anchor="ctr"/>
            <a:lstStyle/>
            <a:p>
              <a:pPr defTabSz="801688">
                <a:spcBef>
                  <a:spcPct val="20000"/>
                </a:spcBef>
              </a:pPr>
              <a:r>
                <a:rPr lang="en-US" sz="14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This is placeholder text. </a:t>
              </a:r>
              <a:br>
                <a:rPr lang="en-US" sz="14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</a:br>
              <a:r>
                <a:rPr lang="en-US" sz="14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All phrases can be replaced </a:t>
              </a:r>
              <a:br>
                <a:rPr lang="en-US" sz="14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</a:br>
              <a:r>
                <a:rPr lang="en-US" sz="14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with your own text.</a:t>
              </a:r>
            </a:p>
          </p:txBody>
        </p:sp>
        <p:sp>
          <p:nvSpPr>
            <p:cNvPr id="31" name="AutoShape 49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911975" y="1916113"/>
              <a:ext cx="1474788" cy="3526280"/>
            </a:xfrm>
            <a:prstGeom prst="chevron">
              <a:avLst>
                <a:gd name="adj" fmla="val 82264"/>
              </a:avLst>
            </a:prstGeom>
            <a:solidFill>
              <a:srgbClr val="969696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1"/>
            </a:p>
          </p:txBody>
        </p:sp>
        <p:sp>
          <p:nvSpPr>
            <p:cNvPr id="32" name="AutoShape 50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556376" y="1916113"/>
              <a:ext cx="1474787" cy="3526280"/>
            </a:xfrm>
            <a:prstGeom prst="chevron">
              <a:avLst>
                <a:gd name="adj" fmla="val 82264"/>
              </a:avLst>
            </a:prstGeom>
            <a:solidFill>
              <a:srgbClr val="969696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1"/>
            </a:p>
          </p:txBody>
        </p:sp>
        <p:sp>
          <p:nvSpPr>
            <p:cNvPr id="33" name="Text Box 62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 rot="18310471">
              <a:off x="6898314" y="4439142"/>
              <a:ext cx="847411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801688" eaLnBrk="1" hangingPunct="1">
                <a:spcBef>
                  <a:spcPct val="20000"/>
                </a:spcBef>
              </a:pPr>
              <a:r>
                <a:rPr lang="en-US" sz="1200" b="1" noProof="1" smtClean="0">
                  <a:solidFill>
                    <a:srgbClr val="FFFFFF"/>
                  </a:solidFill>
                  <a:cs typeface="Arial" charset="0"/>
                </a:rPr>
                <a:t>Description 1</a:t>
              </a:r>
              <a:endParaRPr lang="en-US" sz="12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34" name="Text Box 63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 rot="18310471">
              <a:off x="7254878" y="4437724"/>
              <a:ext cx="847411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801688" eaLnBrk="1" hangingPunct="1">
                <a:spcBef>
                  <a:spcPct val="20000"/>
                </a:spcBef>
              </a:pPr>
              <a:r>
                <a:rPr lang="en-US" sz="1200" b="1" noProof="1" smtClean="0">
                  <a:solidFill>
                    <a:srgbClr val="FFFFFF"/>
                  </a:solidFill>
                  <a:cs typeface="Arial" charset="0"/>
                </a:rPr>
                <a:t>Description 2</a:t>
              </a:r>
              <a:endParaRPr lang="en-US" sz="12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36" name="AutoShape 5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582738" y="1916113"/>
              <a:ext cx="1474788" cy="3526280"/>
            </a:xfrm>
            <a:prstGeom prst="chevron">
              <a:avLst>
                <a:gd name="adj" fmla="val 82264"/>
              </a:avLst>
            </a:prstGeom>
            <a:solidFill>
              <a:srgbClr val="969696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1"/>
            </a:p>
          </p:txBody>
        </p:sp>
        <p:sp>
          <p:nvSpPr>
            <p:cNvPr id="37" name="AutoShape 52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112838" y="1917705"/>
              <a:ext cx="1568450" cy="3524246"/>
            </a:xfrm>
            <a:prstGeom prst="homePlate">
              <a:avLst>
                <a:gd name="adj" fmla="val 77870"/>
              </a:avLst>
            </a:prstGeom>
            <a:solidFill>
              <a:srgbClr val="969696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1"/>
            </a:p>
          </p:txBody>
        </p:sp>
        <p:sp>
          <p:nvSpPr>
            <p:cNvPr id="38" name="Text Box 64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 rot="18280578">
              <a:off x="1096263" y="4066006"/>
              <a:ext cx="1575752" cy="4924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801688" eaLnBrk="1" hangingPunct="1"/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This is placeholder</a:t>
              </a:r>
            </a:p>
            <a:p>
              <a:pPr defTabSz="801688" eaLnBrk="1" hangingPunct="1"/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for your text</a:t>
              </a:r>
              <a:endParaRPr lang="en-US" sz="16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39" name="Text Box 65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 rot="18250690">
              <a:off x="1606959" y="4734007"/>
              <a:ext cx="1077214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801688" eaLnBrk="1" hangingPunct="1">
                <a:spcBef>
                  <a:spcPct val="20000"/>
                </a:spcBef>
              </a:pPr>
              <a:r>
                <a:rPr lang="en-US" sz="1200" b="1" noProof="1" smtClean="0">
                  <a:solidFill>
                    <a:srgbClr val="FFFFFF"/>
                  </a:solidFill>
                  <a:cs typeface="Arial" charset="0"/>
                </a:rPr>
                <a:t>Placeholder text</a:t>
              </a:r>
              <a:endParaRPr lang="en-US" sz="1200" b="1" noProof="1">
                <a:solidFill>
                  <a:srgbClr val="FFFFFF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1895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Arrow </a:t>
            </a:r>
            <a:r>
              <a:rPr lang="de-DE" noProof="1" smtClean="0"/>
              <a:t>Process</a:t>
            </a:r>
            <a:endParaRPr lang="de-DE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Placeholder for your own sub headline</a:t>
            </a:r>
          </a:p>
        </p:txBody>
      </p:sp>
      <p:grpSp>
        <p:nvGrpSpPr>
          <p:cNvPr id="4" name="Gruppieren 3"/>
          <p:cNvGrpSpPr/>
          <p:nvPr/>
        </p:nvGrpSpPr>
        <p:grpSpPr>
          <a:xfrm>
            <a:off x="1112838" y="1916113"/>
            <a:ext cx="7273925" cy="3526280"/>
            <a:chOff x="1112838" y="1916113"/>
            <a:chExt cx="7273925" cy="3526280"/>
          </a:xfrm>
          <a:effectLst>
            <a:outerShdw blurRad="457200" dir="18900000" sy="23000" kx="-1200000" algn="bl" rotWithShape="0">
              <a:prstClr val="black">
                <a:alpha val="20000"/>
              </a:prstClr>
            </a:outerShdw>
            <a:reflection blurRad="6350" stA="52000" endA="300" endPos="35000" dir="5400000" sy="-100000" algn="bl" rotWithShape="0"/>
          </a:effectLst>
        </p:grpSpPr>
        <p:sp>
          <p:nvSpPr>
            <p:cNvPr id="41" name="AutoShape 53" descr="© INSCALE GmbH, 26.05.2010&#10;http://www.presentationload.com/"/>
            <p:cNvSpPr>
              <a:spLocks noChangeArrowheads="1"/>
            </p:cNvSpPr>
            <p:nvPr/>
          </p:nvSpPr>
          <p:spPr bwMode="gray">
            <a:xfrm flipH="1">
              <a:off x="1979613" y="1916113"/>
              <a:ext cx="5032375" cy="827880"/>
            </a:xfrm>
            <a:prstGeom prst="parallelogram">
              <a:avLst>
                <a:gd name="adj" fmla="val 68977"/>
              </a:avLst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none" lIns="756000" anchor="ctr"/>
            <a:lstStyle/>
            <a:p>
              <a:pPr defTabSz="801688">
                <a:spcBef>
                  <a:spcPct val="20000"/>
                </a:spcBef>
              </a:pPr>
              <a:r>
                <a:rPr lang="en-US" sz="14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This is placeholder text. </a:t>
              </a:r>
              <a:br>
                <a:rPr lang="en-US" sz="14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</a:br>
              <a:r>
                <a:rPr lang="en-US" sz="14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All phrases can be replaced </a:t>
              </a:r>
              <a:br>
                <a:rPr lang="en-US" sz="14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</a:br>
              <a:r>
                <a:rPr lang="en-US" sz="14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with your own text.</a:t>
              </a:r>
            </a:p>
          </p:txBody>
        </p:sp>
        <p:sp>
          <p:nvSpPr>
            <p:cNvPr id="39" name="AutoShape 4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979613" y="4613091"/>
              <a:ext cx="5032375" cy="827880"/>
            </a:xfrm>
            <a:prstGeom prst="parallelogram">
              <a:avLst>
                <a:gd name="adj" fmla="val 68977"/>
              </a:avLst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none" lIns="756000" anchor="ctr"/>
            <a:lstStyle/>
            <a:p>
              <a:pPr defTabSz="801688">
                <a:spcBef>
                  <a:spcPct val="20000"/>
                </a:spcBef>
              </a:pPr>
              <a:r>
                <a:rPr lang="en-US" sz="14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This is placeholder text. </a:t>
              </a:r>
              <a:br>
                <a:rPr lang="en-US" sz="14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</a:br>
              <a:r>
                <a:rPr lang="en-US" sz="14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All phrases can be replaced </a:t>
              </a:r>
              <a:br>
                <a:rPr lang="en-US" sz="14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</a:br>
              <a:r>
                <a:rPr lang="en-US" sz="14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with your own text.</a:t>
              </a:r>
            </a:p>
          </p:txBody>
        </p:sp>
        <p:sp>
          <p:nvSpPr>
            <p:cNvPr id="35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911975" y="1916113"/>
              <a:ext cx="1474788" cy="3526280"/>
            </a:xfrm>
            <a:prstGeom prst="chevron">
              <a:avLst>
                <a:gd name="adj" fmla="val 82264"/>
              </a:avLst>
            </a:prstGeom>
            <a:solidFill>
              <a:srgbClr val="007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1"/>
            </a:p>
          </p:txBody>
        </p:sp>
        <p:sp>
          <p:nvSpPr>
            <p:cNvPr id="36" name="AutoShape 50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556376" y="1916113"/>
              <a:ext cx="1474787" cy="3526280"/>
            </a:xfrm>
            <a:prstGeom prst="chevron">
              <a:avLst>
                <a:gd name="adj" fmla="val 82264"/>
              </a:avLst>
            </a:prstGeom>
            <a:solidFill>
              <a:srgbClr val="969696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1"/>
            </a:p>
          </p:txBody>
        </p:sp>
        <p:sp>
          <p:nvSpPr>
            <p:cNvPr id="37" name="Text Box 62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 rot="18310471">
              <a:off x="6896037" y="4437690"/>
              <a:ext cx="847411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01688" eaLnBrk="1" hangingPunct="1">
                <a:spcBef>
                  <a:spcPct val="20000"/>
                </a:spcBef>
              </a:pPr>
              <a:r>
                <a:rPr lang="en-US" sz="1200" b="1" noProof="1" smtClean="0">
                  <a:solidFill>
                    <a:srgbClr val="FFFFFF"/>
                  </a:solidFill>
                  <a:cs typeface="Arial" charset="0"/>
                </a:rPr>
                <a:t>Description 1</a:t>
              </a:r>
              <a:endParaRPr lang="en-US" sz="12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38" name="Text Box 63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 rot="18310471">
              <a:off x="7254878" y="4437724"/>
              <a:ext cx="847411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01688" eaLnBrk="1" hangingPunct="1">
                <a:spcBef>
                  <a:spcPct val="20000"/>
                </a:spcBef>
              </a:pPr>
              <a:r>
                <a:rPr lang="en-US" sz="1200" b="1" noProof="1" smtClean="0">
                  <a:solidFill>
                    <a:srgbClr val="FFFFFF"/>
                  </a:solidFill>
                  <a:cs typeface="Arial" charset="0"/>
                </a:rPr>
                <a:t>Description 2</a:t>
              </a:r>
              <a:endParaRPr lang="en-US" sz="12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7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2612230" y="2834740"/>
              <a:ext cx="2743923" cy="1676457"/>
            </a:xfrm>
            <a:prstGeom prst="chevron">
              <a:avLst>
                <a:gd name="adj" fmla="val 34231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square" lIns="216000" tIns="46800" rIns="72000" bIns="46800" anchor="ctr"/>
            <a:lstStyle/>
            <a:p>
              <a:r>
                <a:rPr lang="en-US" sz="1400" b="1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This is placeholder text. All phrases can be replaced with </a:t>
              </a:r>
              <a:r>
                <a:rPr lang="en-US" sz="1400" b="1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your </a:t>
              </a:r>
              <a:r>
                <a:rPr lang="en-US" sz="14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own text</a:t>
              </a:r>
              <a:r>
                <a:rPr lang="en-US" sz="1400" b="1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.</a:t>
              </a:r>
            </a:p>
          </p:txBody>
        </p:sp>
        <p:sp>
          <p:nvSpPr>
            <p:cNvPr id="28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4902271" y="2834740"/>
              <a:ext cx="2743922" cy="1676457"/>
            </a:xfrm>
            <a:prstGeom prst="chevron">
              <a:avLst>
                <a:gd name="adj" fmla="val 34231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square" lIns="216000" rIns="72000" anchor="ctr"/>
            <a:lstStyle/>
            <a:p>
              <a:r>
                <a:rPr lang="en-US" sz="1400" b="1" noProof="1">
                  <a:solidFill>
                    <a:srgbClr val="FFFFFF"/>
                  </a:solidFill>
                  <a:cs typeface="Arial" charset="0"/>
                </a:rPr>
                <a:t>This is placeholder text. All phrases can be replaced with your own text.</a:t>
              </a:r>
            </a:p>
          </p:txBody>
        </p:sp>
        <p:sp>
          <p:nvSpPr>
            <p:cNvPr id="26" name="AutoShape 5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582738" y="1916113"/>
              <a:ext cx="1474788" cy="3526280"/>
            </a:xfrm>
            <a:prstGeom prst="chevron">
              <a:avLst>
                <a:gd name="adj" fmla="val 82264"/>
              </a:avLst>
            </a:prstGeom>
            <a:solidFill>
              <a:srgbClr val="969696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1"/>
            </a:p>
          </p:txBody>
        </p:sp>
        <p:sp>
          <p:nvSpPr>
            <p:cNvPr id="43" name="AutoShape 52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112838" y="1917705"/>
              <a:ext cx="1568450" cy="3524246"/>
            </a:xfrm>
            <a:prstGeom prst="homePlate">
              <a:avLst>
                <a:gd name="adj" fmla="val 77870"/>
              </a:avLst>
            </a:prstGeom>
            <a:solidFill>
              <a:srgbClr val="007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1"/>
            </a:p>
          </p:txBody>
        </p:sp>
        <p:sp>
          <p:nvSpPr>
            <p:cNvPr id="44" name="Text Box 64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 rot="18280578">
              <a:off x="1096263" y="4066006"/>
              <a:ext cx="1575752" cy="4924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801688" eaLnBrk="1" hangingPunct="1"/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This is placeholder</a:t>
              </a:r>
            </a:p>
            <a:p>
              <a:pPr defTabSz="801688" eaLnBrk="1" hangingPunct="1"/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for your text</a:t>
              </a:r>
              <a:endParaRPr lang="en-US" sz="16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45" name="Text Box 65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 rot="18250690">
              <a:off x="1606959" y="4734007"/>
              <a:ext cx="1077214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801688" eaLnBrk="1" hangingPunct="1">
                <a:spcBef>
                  <a:spcPct val="20000"/>
                </a:spcBef>
              </a:pPr>
              <a:r>
                <a:rPr lang="en-US" sz="1200" b="1" noProof="1" smtClean="0">
                  <a:solidFill>
                    <a:srgbClr val="FFFFFF"/>
                  </a:solidFill>
                  <a:cs typeface="Arial" charset="0"/>
                </a:rPr>
                <a:t>Placeholder text</a:t>
              </a:r>
              <a:endParaRPr lang="en-US" sz="1200" b="1" noProof="1">
                <a:solidFill>
                  <a:srgbClr val="FFFFFF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07366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Arrow </a:t>
            </a:r>
            <a:r>
              <a:rPr lang="de-DE" noProof="1" smtClean="0"/>
              <a:t>Process</a:t>
            </a:r>
            <a:endParaRPr lang="de-DE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Placeholder for your own sub headline</a:t>
            </a:r>
          </a:p>
        </p:txBody>
      </p:sp>
      <p:grpSp>
        <p:nvGrpSpPr>
          <p:cNvPr id="8" name="Gruppieren 7"/>
          <p:cNvGrpSpPr/>
          <p:nvPr/>
        </p:nvGrpSpPr>
        <p:grpSpPr>
          <a:xfrm>
            <a:off x="1112838" y="1916113"/>
            <a:ext cx="7273925" cy="3526280"/>
            <a:chOff x="1112838" y="1916113"/>
            <a:chExt cx="7273925" cy="3526280"/>
          </a:xfrm>
          <a:effectLst>
            <a:outerShdw blurRad="457200" dir="18900000" sy="23000" kx="-1200000" algn="bl" rotWithShape="0">
              <a:prstClr val="black">
                <a:alpha val="20000"/>
              </a:prstClr>
            </a:outerShdw>
            <a:reflection blurRad="6350" stA="52000" endA="300" endPos="35000" dir="5400000" sy="-100000" algn="bl" rotWithShape="0"/>
          </a:effectLst>
        </p:grpSpPr>
        <p:sp>
          <p:nvSpPr>
            <p:cNvPr id="22" name="AutoShape 49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911975" y="1916113"/>
              <a:ext cx="1474788" cy="3526280"/>
            </a:xfrm>
            <a:prstGeom prst="chevron">
              <a:avLst>
                <a:gd name="adj" fmla="val 82264"/>
              </a:avLst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1"/>
            </a:p>
          </p:txBody>
        </p:sp>
        <p:sp>
          <p:nvSpPr>
            <p:cNvPr id="23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556376" y="1916113"/>
              <a:ext cx="1474787" cy="3526280"/>
            </a:xfrm>
            <a:prstGeom prst="chevron">
              <a:avLst>
                <a:gd name="adj" fmla="val 82264"/>
              </a:avLst>
            </a:prstGeom>
            <a:solidFill>
              <a:srgbClr val="007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1"/>
            </a:p>
          </p:txBody>
        </p:sp>
        <p:sp>
          <p:nvSpPr>
            <p:cNvPr id="24" name="Text Box 62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 rot="18310471">
              <a:off x="6896037" y="4437690"/>
              <a:ext cx="847411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01688" eaLnBrk="1" hangingPunct="1">
                <a:spcBef>
                  <a:spcPct val="20000"/>
                </a:spcBef>
              </a:pPr>
              <a:r>
                <a:rPr lang="en-US" sz="1200" b="1" noProof="1" smtClean="0">
                  <a:solidFill>
                    <a:srgbClr val="FFFFFF"/>
                  </a:solidFill>
                  <a:cs typeface="Arial" charset="0"/>
                </a:rPr>
                <a:t>Description 1</a:t>
              </a:r>
              <a:endParaRPr lang="en-US" sz="12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5" name="Text Box 63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 rot="18310471">
              <a:off x="7254878" y="4437724"/>
              <a:ext cx="847411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01688" eaLnBrk="1" hangingPunct="1">
                <a:spcBef>
                  <a:spcPct val="20000"/>
                </a:spcBef>
              </a:pPr>
              <a:r>
                <a:rPr lang="en-US" sz="12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Description 2</a:t>
              </a:r>
              <a:endParaRPr lang="en-US" sz="12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endParaRPr>
            </a:p>
          </p:txBody>
        </p:sp>
        <p:sp>
          <p:nvSpPr>
            <p:cNvPr id="27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582738" y="1916113"/>
              <a:ext cx="1474788" cy="3526280"/>
            </a:xfrm>
            <a:prstGeom prst="chevron">
              <a:avLst>
                <a:gd name="adj" fmla="val 8226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1"/>
            </a:p>
          </p:txBody>
        </p:sp>
        <p:sp>
          <p:nvSpPr>
            <p:cNvPr id="28" name="AutoShape 52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112838" y="1917705"/>
              <a:ext cx="1568450" cy="3524246"/>
            </a:xfrm>
            <a:prstGeom prst="homePlate">
              <a:avLst>
                <a:gd name="adj" fmla="val 77870"/>
              </a:avLst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1"/>
            </a:p>
          </p:txBody>
        </p:sp>
        <p:sp>
          <p:nvSpPr>
            <p:cNvPr id="29" name="Text Box 64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 rot="18280578">
              <a:off x="1096263" y="4066007"/>
              <a:ext cx="1575752" cy="4924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01688" eaLnBrk="1" hangingPunct="1"/>
              <a:r>
                <a:rPr lang="en-US" sz="16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This is placeholder</a:t>
              </a:r>
              <a:br>
                <a:rPr lang="en-US" sz="16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</a:br>
              <a:r>
                <a:rPr lang="en-US" sz="16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for your text</a:t>
              </a:r>
              <a:endParaRPr lang="en-US" sz="16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endParaRPr>
            </a:p>
          </p:txBody>
        </p:sp>
        <p:sp>
          <p:nvSpPr>
            <p:cNvPr id="30" name="Text Box 65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 rot="18250690">
              <a:off x="1617478" y="4752895"/>
              <a:ext cx="10408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01688" eaLnBrk="1" hangingPunct="1">
                <a:spcBef>
                  <a:spcPct val="20000"/>
                </a:spcBef>
              </a:pPr>
              <a:r>
                <a:rPr lang="en-US" sz="12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Placeholder text</a:t>
              </a:r>
              <a:endParaRPr lang="en-US" sz="12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endParaRPr>
            </a:p>
          </p:txBody>
        </p:sp>
        <p:sp>
          <p:nvSpPr>
            <p:cNvPr id="32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2612230" y="2834740"/>
              <a:ext cx="2743923" cy="1676457"/>
            </a:xfrm>
            <a:prstGeom prst="chevron">
              <a:avLst>
                <a:gd name="adj" fmla="val 34231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square" lIns="216000" tIns="0" rIns="72000" bIns="0" anchor="ctr"/>
            <a:lstStyle/>
            <a:p>
              <a:pPr defTabSz="801688">
                <a:spcBef>
                  <a:spcPct val="20000"/>
                </a:spcBef>
              </a:pPr>
              <a:r>
                <a:rPr lang="en-US" sz="1400" b="1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This is placeholder text. All phrases can be replaced with your own text.</a:t>
              </a:r>
            </a:p>
          </p:txBody>
        </p:sp>
        <p:sp>
          <p:nvSpPr>
            <p:cNvPr id="33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4902271" y="2834740"/>
              <a:ext cx="2743922" cy="1676457"/>
            </a:xfrm>
            <a:prstGeom prst="chevron">
              <a:avLst>
                <a:gd name="adj" fmla="val 34231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square" lIns="216000" tIns="0" rIns="72000" bIns="0" anchor="ctr"/>
            <a:lstStyle/>
            <a:p>
              <a:pPr defTabSz="801688">
                <a:spcBef>
                  <a:spcPct val="20000"/>
                </a:spcBef>
              </a:pPr>
              <a:r>
                <a:rPr lang="en-US" sz="1400" b="1" noProof="1">
                  <a:solidFill>
                    <a:srgbClr val="FFFFFF"/>
                  </a:solidFill>
                  <a:cs typeface="Arial" charset="0"/>
                </a:rPr>
                <a:t>This is placeholder text. All phrases can be replaced with your own text.</a:t>
              </a:r>
            </a:p>
          </p:txBody>
        </p:sp>
        <p:sp>
          <p:nvSpPr>
            <p:cNvPr id="40" name="AutoShape 49" descr="© INSCALE GmbH, 26.05.2010&#10;http://www.presentationload.com/"/>
            <p:cNvSpPr>
              <a:spLocks noChangeArrowheads="1"/>
            </p:cNvSpPr>
            <p:nvPr/>
          </p:nvSpPr>
          <p:spPr bwMode="gray">
            <a:xfrm flipH="1">
              <a:off x="1979614" y="1916113"/>
              <a:ext cx="2732968" cy="825500"/>
            </a:xfrm>
            <a:prstGeom prst="parallelogram">
              <a:avLst>
                <a:gd name="adj" fmla="val 69006"/>
              </a:avLst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square" lIns="288000" tIns="0" rIns="108000" bIns="0" anchor="ctr"/>
            <a:lstStyle/>
            <a:p>
              <a:pPr>
                <a:spcBef>
                  <a:spcPct val="20000"/>
                </a:spcBef>
              </a:pPr>
              <a:r>
                <a:rPr lang="en-US" sz="14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All phrases can be replaced with your own text. </a:t>
              </a:r>
            </a:p>
          </p:txBody>
        </p:sp>
        <p:sp>
          <p:nvSpPr>
            <p:cNvPr id="41" name="AutoShape 50" descr="© INSCALE GmbH, 26.05.2010&#10;http://www.presentationload.com/"/>
            <p:cNvSpPr>
              <a:spLocks noChangeArrowheads="1"/>
            </p:cNvSpPr>
            <p:nvPr/>
          </p:nvSpPr>
          <p:spPr bwMode="gray">
            <a:xfrm flipH="1">
              <a:off x="4278979" y="1916113"/>
              <a:ext cx="2732967" cy="825500"/>
            </a:xfrm>
            <a:prstGeom prst="parallelogram">
              <a:avLst>
                <a:gd name="adj" fmla="val 69006"/>
              </a:avLst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square" lIns="288000" tIns="0" rIns="108000" bIns="0" anchor="ctr"/>
            <a:lstStyle/>
            <a:p>
              <a:pPr>
                <a:spcBef>
                  <a:spcPct val="20000"/>
                </a:spcBef>
              </a:pPr>
              <a:r>
                <a:rPr lang="en-US" sz="14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All phrases can be replaced with your own text. </a:t>
              </a:r>
            </a:p>
          </p:txBody>
        </p:sp>
        <p:sp>
          <p:nvSpPr>
            <p:cNvPr id="46" name="AutoShape 49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4278978" y="4615471"/>
              <a:ext cx="2732968" cy="825500"/>
            </a:xfrm>
            <a:prstGeom prst="parallelogram">
              <a:avLst>
                <a:gd name="adj" fmla="val 69006"/>
              </a:avLst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square" lIns="288000" tIns="0" rIns="108000" bIns="0" anchor="ctr"/>
            <a:lstStyle/>
            <a:p>
              <a:pPr>
                <a:spcBef>
                  <a:spcPct val="20000"/>
                </a:spcBef>
              </a:pPr>
              <a:r>
                <a:rPr lang="en-US" sz="14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All phrases can be replaced with your own </a:t>
              </a:r>
              <a:r>
                <a:rPr lang="en-US" sz="14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text</a:t>
              </a:r>
              <a:r>
                <a:rPr lang="en-US" sz="14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.</a:t>
              </a:r>
              <a:endParaRPr lang="en-US" sz="14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endParaRPr>
            </a:p>
          </p:txBody>
        </p:sp>
        <p:sp>
          <p:nvSpPr>
            <p:cNvPr id="47" name="AutoShape 50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979614" y="4615471"/>
              <a:ext cx="2732967" cy="825500"/>
            </a:xfrm>
            <a:prstGeom prst="parallelogram">
              <a:avLst>
                <a:gd name="adj" fmla="val 69006"/>
              </a:avLst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square" lIns="288000" tIns="0" rIns="108000" bIns="0" anchor="ctr"/>
            <a:lstStyle/>
            <a:p>
              <a:pPr>
                <a:spcBef>
                  <a:spcPct val="20000"/>
                </a:spcBef>
              </a:pPr>
              <a:r>
                <a:rPr lang="en-US" sz="1400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All phrases can be replaced with your own text.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07366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 - </a:t>
            </a:r>
            <a:r>
              <a:rPr lang="de-DE" dirty="0" smtClean="0"/>
              <a:t>6 </a:t>
            </a:r>
            <a:r>
              <a:rPr lang="de-DE" dirty="0"/>
              <a:t>Item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laceholder for your own sub </a:t>
            </a:r>
            <a:r>
              <a:rPr lang="en-US" dirty="0" smtClean="0"/>
              <a:t>headline</a:t>
            </a:r>
            <a:endParaRPr lang="en-US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324643" y="1561307"/>
            <a:ext cx="8496299" cy="654767"/>
            <a:chOff x="324643" y="1561307"/>
            <a:chExt cx="8496299" cy="654767"/>
          </a:xfrm>
        </p:grpSpPr>
        <p:sp>
          <p:nvSpPr>
            <p:cNvPr id="17" name="Rectangle 5"/>
            <p:cNvSpPr>
              <a:spLocks noChangeArrowheads="1"/>
            </p:cNvSpPr>
            <p:nvPr/>
          </p:nvSpPr>
          <p:spPr bwMode="gray">
            <a:xfrm>
              <a:off x="1001485" y="1561307"/>
              <a:ext cx="7819457" cy="654767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2400" noProof="1">
                  <a:solidFill>
                    <a:srgbClr val="5F5F5F"/>
                  </a:solidFill>
                </a:rPr>
                <a:t>This is a placeholder text </a:t>
              </a:r>
            </a:p>
          </p:txBody>
        </p:sp>
        <p:sp>
          <p:nvSpPr>
            <p:cNvPr id="18" name="Rechteck 17"/>
            <p:cNvSpPr/>
            <p:nvPr/>
          </p:nvSpPr>
          <p:spPr>
            <a:xfrm>
              <a:off x="324643" y="1561307"/>
              <a:ext cx="555671" cy="65476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4400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</a:t>
              </a:r>
              <a:endParaRPr lang="en-US" sz="4400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324643" y="2352914"/>
            <a:ext cx="8496299" cy="654767"/>
            <a:chOff x="324643" y="2352914"/>
            <a:chExt cx="8496299" cy="654767"/>
          </a:xfrm>
        </p:grpSpPr>
        <p:sp>
          <p:nvSpPr>
            <p:cNvPr id="30" name="Rectangle 5"/>
            <p:cNvSpPr>
              <a:spLocks noChangeArrowheads="1"/>
            </p:cNvSpPr>
            <p:nvPr/>
          </p:nvSpPr>
          <p:spPr bwMode="gray">
            <a:xfrm>
              <a:off x="1001485" y="2352914"/>
              <a:ext cx="7819457" cy="654767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2400" noProof="1">
                  <a:solidFill>
                    <a:srgbClr val="5F5F5F"/>
                  </a:solidFill>
                </a:rPr>
                <a:t>This is a placeholder text </a:t>
              </a:r>
            </a:p>
          </p:txBody>
        </p:sp>
        <p:sp>
          <p:nvSpPr>
            <p:cNvPr id="31" name="Rechteck 30"/>
            <p:cNvSpPr/>
            <p:nvPr/>
          </p:nvSpPr>
          <p:spPr>
            <a:xfrm>
              <a:off x="324643" y="2352914"/>
              <a:ext cx="555671" cy="65476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4400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2</a:t>
              </a:r>
              <a:endParaRPr lang="en-US" sz="4400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7" name="Gruppieren 6"/>
          <p:cNvGrpSpPr/>
          <p:nvPr/>
        </p:nvGrpSpPr>
        <p:grpSpPr>
          <a:xfrm>
            <a:off x="324643" y="3144521"/>
            <a:ext cx="8496299" cy="654767"/>
            <a:chOff x="324643" y="3144521"/>
            <a:chExt cx="8496299" cy="654767"/>
          </a:xfrm>
        </p:grpSpPr>
        <p:sp>
          <p:nvSpPr>
            <p:cNvPr id="33" name="Rectangle 5"/>
            <p:cNvSpPr>
              <a:spLocks noChangeArrowheads="1"/>
            </p:cNvSpPr>
            <p:nvPr/>
          </p:nvSpPr>
          <p:spPr bwMode="gray">
            <a:xfrm>
              <a:off x="1001485" y="3144521"/>
              <a:ext cx="7819457" cy="654767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2400" noProof="1">
                  <a:solidFill>
                    <a:srgbClr val="5F5F5F"/>
                  </a:solidFill>
                </a:rPr>
                <a:t>This is a placeholder text </a:t>
              </a:r>
            </a:p>
          </p:txBody>
        </p:sp>
        <p:sp>
          <p:nvSpPr>
            <p:cNvPr id="34" name="Rechteck 33"/>
            <p:cNvSpPr/>
            <p:nvPr/>
          </p:nvSpPr>
          <p:spPr>
            <a:xfrm>
              <a:off x="324643" y="3144521"/>
              <a:ext cx="555671" cy="65476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4400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3</a:t>
              </a:r>
              <a:endParaRPr lang="en-US" sz="4400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324643" y="3936128"/>
            <a:ext cx="8496299" cy="654767"/>
            <a:chOff x="324643" y="3936128"/>
            <a:chExt cx="8496299" cy="654767"/>
          </a:xfrm>
        </p:grpSpPr>
        <p:sp>
          <p:nvSpPr>
            <p:cNvPr id="47" name="Rectangle 5"/>
            <p:cNvSpPr>
              <a:spLocks noChangeArrowheads="1"/>
            </p:cNvSpPr>
            <p:nvPr/>
          </p:nvSpPr>
          <p:spPr bwMode="gray">
            <a:xfrm>
              <a:off x="1001485" y="3936128"/>
              <a:ext cx="7819457" cy="654767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2400" noProof="1">
                  <a:solidFill>
                    <a:srgbClr val="5F5F5F"/>
                  </a:solidFill>
                </a:rPr>
                <a:t>This is a placeholder text </a:t>
              </a:r>
            </a:p>
          </p:txBody>
        </p:sp>
        <p:sp>
          <p:nvSpPr>
            <p:cNvPr id="48" name="Rechteck 47"/>
            <p:cNvSpPr/>
            <p:nvPr/>
          </p:nvSpPr>
          <p:spPr>
            <a:xfrm>
              <a:off x="324643" y="3936128"/>
              <a:ext cx="555671" cy="65476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4400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4</a:t>
              </a:r>
              <a:endParaRPr lang="en-US" sz="4400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9" name="Gruppieren 8"/>
          <p:cNvGrpSpPr/>
          <p:nvPr/>
        </p:nvGrpSpPr>
        <p:grpSpPr>
          <a:xfrm>
            <a:off x="324643" y="4727735"/>
            <a:ext cx="8496299" cy="654767"/>
            <a:chOff x="324643" y="4727735"/>
            <a:chExt cx="8496299" cy="654767"/>
          </a:xfrm>
        </p:grpSpPr>
        <p:sp>
          <p:nvSpPr>
            <p:cNvPr id="50" name="Rectangle 5"/>
            <p:cNvSpPr>
              <a:spLocks noChangeArrowheads="1"/>
            </p:cNvSpPr>
            <p:nvPr/>
          </p:nvSpPr>
          <p:spPr bwMode="gray">
            <a:xfrm>
              <a:off x="1001485" y="4727735"/>
              <a:ext cx="7819457" cy="654767"/>
            </a:xfrm>
            <a:prstGeom prst="rect">
              <a:avLst/>
            </a:pr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rgbClr val="0070C0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0" rIns="0" bIns="0" anchor="ctr"/>
            <a:lstStyle/>
            <a:p>
              <a:pPr defTabSz="801688" eaLnBrk="0" hangingPunct="0"/>
              <a:r>
                <a:rPr lang="en-US" sz="2400" b="1" noProof="1">
                  <a:solidFill>
                    <a:srgbClr val="F8F8F8"/>
                  </a:solidFill>
                  <a:cs typeface="Arial" charset="0"/>
                </a:rPr>
                <a:t>This is a placeholder text </a:t>
              </a:r>
            </a:p>
          </p:txBody>
        </p:sp>
        <p:sp>
          <p:nvSpPr>
            <p:cNvPr id="51" name="Rechteck 50"/>
            <p:cNvSpPr/>
            <p:nvPr/>
          </p:nvSpPr>
          <p:spPr>
            <a:xfrm>
              <a:off x="324643" y="4727735"/>
              <a:ext cx="555671" cy="654767"/>
            </a:xfrm>
            <a:prstGeom prst="rect">
              <a:avLst/>
            </a:pr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rgbClr val="0070C0"/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4400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5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324643" y="5519344"/>
            <a:ext cx="8496299" cy="654767"/>
            <a:chOff x="324643" y="5519344"/>
            <a:chExt cx="8496299" cy="654767"/>
          </a:xfrm>
        </p:grpSpPr>
        <p:sp>
          <p:nvSpPr>
            <p:cNvPr id="53" name="Rectangle 5"/>
            <p:cNvSpPr>
              <a:spLocks noChangeArrowheads="1"/>
            </p:cNvSpPr>
            <p:nvPr/>
          </p:nvSpPr>
          <p:spPr bwMode="gray">
            <a:xfrm>
              <a:off x="1001485" y="5519344"/>
              <a:ext cx="7819457" cy="654767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2400" noProof="1">
                  <a:solidFill>
                    <a:srgbClr val="5F5F5F"/>
                  </a:solidFill>
                </a:rPr>
                <a:t>This is a placeholder text </a:t>
              </a:r>
            </a:p>
          </p:txBody>
        </p:sp>
        <p:sp>
          <p:nvSpPr>
            <p:cNvPr id="54" name="Rechteck 53"/>
            <p:cNvSpPr/>
            <p:nvPr/>
          </p:nvSpPr>
          <p:spPr>
            <a:xfrm>
              <a:off x="324643" y="5519344"/>
              <a:ext cx="555671" cy="65476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4400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6</a:t>
              </a:r>
              <a:endParaRPr lang="en-US" sz="4400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61625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Arrow </a:t>
            </a:r>
            <a:r>
              <a:rPr lang="de-DE" noProof="1" smtClean="0"/>
              <a:t>Process</a:t>
            </a:r>
            <a:endParaRPr lang="de-DE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Placeholder for your own sub headline</a:t>
            </a:r>
          </a:p>
        </p:txBody>
      </p:sp>
      <p:grpSp>
        <p:nvGrpSpPr>
          <p:cNvPr id="5" name="Gruppieren 4"/>
          <p:cNvGrpSpPr/>
          <p:nvPr/>
        </p:nvGrpSpPr>
        <p:grpSpPr>
          <a:xfrm>
            <a:off x="1112838" y="1916113"/>
            <a:ext cx="7273925" cy="3526280"/>
            <a:chOff x="1112838" y="1916113"/>
            <a:chExt cx="7273925" cy="3526280"/>
          </a:xfrm>
          <a:effectLst>
            <a:outerShdw blurRad="457200" dir="18900000" sy="23000" kx="-1200000" algn="bl" rotWithShape="0">
              <a:prstClr val="black">
                <a:alpha val="20000"/>
              </a:prstClr>
            </a:outerShdw>
            <a:reflection blurRad="6350" stA="52000" endA="300" endPos="35000" dir="5400000" sy="-100000" algn="bl" rotWithShape="0"/>
          </a:effectLst>
        </p:grpSpPr>
        <p:sp>
          <p:nvSpPr>
            <p:cNvPr id="22" name="AutoShape 53" descr="© INSCALE GmbH, 26.05.2010&#10;http://www.presentationload.com/"/>
            <p:cNvSpPr>
              <a:spLocks noChangeArrowheads="1"/>
            </p:cNvSpPr>
            <p:nvPr/>
          </p:nvSpPr>
          <p:spPr bwMode="gray">
            <a:xfrm flipH="1">
              <a:off x="1979613" y="1916113"/>
              <a:ext cx="5032375" cy="827880"/>
            </a:xfrm>
            <a:prstGeom prst="parallelogram">
              <a:avLst>
                <a:gd name="adj" fmla="val 68977"/>
              </a:avLst>
            </a:prstGeom>
            <a:solidFill>
              <a:srgbClr val="969696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none" lIns="756000" tIns="0" rIns="108000" bIns="0" anchor="ctr"/>
            <a:lstStyle/>
            <a:p>
              <a:pPr defTabSz="801688">
                <a:spcBef>
                  <a:spcPct val="20000"/>
                </a:spcBef>
              </a:pPr>
              <a:r>
                <a:rPr lang="en-US" sz="1400" noProof="1">
                  <a:solidFill>
                    <a:srgbClr val="FFFFFF"/>
                  </a:solidFill>
                  <a:cs typeface="Arial" charset="0"/>
                </a:rPr>
                <a:t>This is placeholder text. </a:t>
              </a:r>
              <a:br>
                <a:rPr lang="en-US" sz="1400" noProof="1">
                  <a:solidFill>
                    <a:srgbClr val="FFFFFF"/>
                  </a:solidFill>
                  <a:cs typeface="Arial" charset="0"/>
                </a:rPr>
              </a:br>
              <a:r>
                <a:rPr lang="en-US" sz="1400" noProof="1">
                  <a:solidFill>
                    <a:srgbClr val="FFFFFF"/>
                  </a:solidFill>
                  <a:cs typeface="Arial" charset="0"/>
                </a:rPr>
                <a:t>All phrases can be replaced </a:t>
              </a:r>
              <a:br>
                <a:rPr lang="en-US" sz="1400" noProof="1">
                  <a:solidFill>
                    <a:srgbClr val="FFFFFF"/>
                  </a:solidFill>
                  <a:cs typeface="Arial" charset="0"/>
                </a:rPr>
              </a:br>
              <a:r>
                <a:rPr lang="en-US" sz="1400" noProof="1">
                  <a:solidFill>
                    <a:srgbClr val="FFFFFF"/>
                  </a:solidFill>
                  <a:cs typeface="Arial" charset="0"/>
                </a:rPr>
                <a:t>with your own text.</a:t>
              </a:r>
            </a:p>
          </p:txBody>
        </p:sp>
        <p:sp>
          <p:nvSpPr>
            <p:cNvPr id="25" name="AutoShape 4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979613" y="4613091"/>
              <a:ext cx="5032375" cy="827880"/>
            </a:xfrm>
            <a:prstGeom prst="parallelogram">
              <a:avLst>
                <a:gd name="adj" fmla="val 68977"/>
              </a:avLst>
            </a:prstGeom>
            <a:solidFill>
              <a:srgbClr val="969696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square" lIns="756000" tIns="0" rIns="0" bIns="0" anchor="ctr"/>
            <a:lstStyle/>
            <a:p>
              <a:pPr defTabSz="801688">
                <a:spcBef>
                  <a:spcPct val="20000"/>
                </a:spcBef>
              </a:pPr>
              <a:r>
                <a:rPr lang="en-US" sz="1400" noProof="1">
                  <a:solidFill>
                    <a:srgbClr val="FFFFFF"/>
                  </a:solidFill>
                  <a:cs typeface="Arial" charset="0"/>
                </a:rPr>
                <a:t>This is placeholder text. </a:t>
              </a:r>
              <a:br>
                <a:rPr lang="en-US" sz="1400" noProof="1">
                  <a:solidFill>
                    <a:srgbClr val="FFFFFF"/>
                  </a:solidFill>
                  <a:cs typeface="Arial" charset="0"/>
                </a:rPr>
              </a:br>
              <a:r>
                <a:rPr lang="en-US" sz="1400" noProof="1">
                  <a:solidFill>
                    <a:srgbClr val="FFFFFF"/>
                  </a:solidFill>
                  <a:cs typeface="Arial" charset="0"/>
                </a:rPr>
                <a:t>All phrases can be replaced </a:t>
              </a:r>
              <a:br>
                <a:rPr lang="en-US" sz="1400" noProof="1">
                  <a:solidFill>
                    <a:srgbClr val="FFFFFF"/>
                  </a:solidFill>
                  <a:cs typeface="Arial" charset="0"/>
                </a:rPr>
              </a:br>
              <a:r>
                <a:rPr lang="en-US" sz="1400" noProof="1">
                  <a:solidFill>
                    <a:srgbClr val="FFFFFF"/>
                  </a:solidFill>
                  <a:cs typeface="Arial" charset="0"/>
                </a:rPr>
                <a:t>with your own text.</a:t>
              </a:r>
            </a:p>
          </p:txBody>
        </p:sp>
        <p:sp>
          <p:nvSpPr>
            <p:cNvPr id="28" name="AutoShape 49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911975" y="1916113"/>
              <a:ext cx="1474788" cy="3526280"/>
            </a:xfrm>
            <a:prstGeom prst="chevron">
              <a:avLst>
                <a:gd name="adj" fmla="val 82264"/>
              </a:avLst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1"/>
            </a:p>
          </p:txBody>
        </p:sp>
        <p:sp>
          <p:nvSpPr>
            <p:cNvPr id="29" name="AutoShape 50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556376" y="1916113"/>
              <a:ext cx="1474787" cy="3526280"/>
            </a:xfrm>
            <a:prstGeom prst="chevron">
              <a:avLst>
                <a:gd name="adj" fmla="val 82264"/>
              </a:avLst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1"/>
            </a:p>
          </p:txBody>
        </p:sp>
        <p:sp>
          <p:nvSpPr>
            <p:cNvPr id="30" name="Text Box 62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 rot="18310471">
              <a:off x="6889911" y="4451710"/>
              <a:ext cx="847411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01688" eaLnBrk="1" hangingPunct="1">
                <a:spcBef>
                  <a:spcPct val="20000"/>
                </a:spcBef>
              </a:pPr>
              <a:r>
                <a:rPr lang="en-US" sz="12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Description 1</a:t>
              </a:r>
              <a:endParaRPr lang="en-US" sz="12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endParaRPr>
            </a:p>
          </p:txBody>
        </p:sp>
        <p:sp>
          <p:nvSpPr>
            <p:cNvPr id="31" name="Text Box 63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 rot="18310471">
              <a:off x="7251065" y="4438273"/>
              <a:ext cx="847411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01688" eaLnBrk="1" hangingPunct="1">
                <a:spcBef>
                  <a:spcPct val="20000"/>
                </a:spcBef>
              </a:pPr>
              <a:r>
                <a:rPr lang="en-US" sz="12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Description 2</a:t>
              </a:r>
              <a:endParaRPr lang="en-US" sz="12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endParaRPr>
            </a:p>
          </p:txBody>
        </p:sp>
        <p:sp>
          <p:nvSpPr>
            <p:cNvPr id="33" name="AutoShape 5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582738" y="1916113"/>
              <a:ext cx="1474788" cy="3526280"/>
            </a:xfrm>
            <a:prstGeom prst="chevron">
              <a:avLst>
                <a:gd name="adj" fmla="val 82264"/>
              </a:avLst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1"/>
            </a:p>
          </p:txBody>
        </p:sp>
        <p:sp>
          <p:nvSpPr>
            <p:cNvPr id="34" name="AutoShape 52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112838" y="1917705"/>
              <a:ext cx="1568450" cy="3524246"/>
            </a:xfrm>
            <a:prstGeom prst="homePlate">
              <a:avLst>
                <a:gd name="adj" fmla="val 77870"/>
              </a:avLst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1"/>
            </a:p>
          </p:txBody>
        </p:sp>
        <p:sp>
          <p:nvSpPr>
            <p:cNvPr id="35" name="Text Box 64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 rot="18280578">
              <a:off x="1096263" y="4066006"/>
              <a:ext cx="1575752" cy="4924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01688" eaLnBrk="1" hangingPunct="1"/>
              <a:r>
                <a:rPr lang="en-US" sz="16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This is placeholder</a:t>
              </a:r>
            </a:p>
            <a:p>
              <a:pPr defTabSz="801688" eaLnBrk="1" hangingPunct="1"/>
              <a:r>
                <a:rPr lang="en-US" sz="16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for your text</a:t>
              </a:r>
              <a:endParaRPr lang="en-US" sz="16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endParaRPr>
            </a:p>
          </p:txBody>
        </p:sp>
        <p:sp>
          <p:nvSpPr>
            <p:cNvPr id="36" name="Text Box 65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 rot="18250690">
              <a:off x="1621879" y="4755076"/>
              <a:ext cx="10408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01688" eaLnBrk="1" hangingPunct="1">
                <a:spcBef>
                  <a:spcPct val="20000"/>
                </a:spcBef>
              </a:pPr>
              <a:r>
                <a:rPr lang="en-US" sz="12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Placeholder text</a:t>
              </a:r>
              <a:endParaRPr lang="en-US" sz="12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endParaRPr>
            </a:p>
          </p:txBody>
        </p:sp>
        <p:sp>
          <p:nvSpPr>
            <p:cNvPr id="42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2609871" y="2834740"/>
              <a:ext cx="1982788" cy="1676457"/>
            </a:xfrm>
            <a:prstGeom prst="chevron">
              <a:avLst>
                <a:gd name="adj" fmla="val 34068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none" lIns="144000" tIns="0" rIns="72000" bIns="0" anchor="ctr"/>
            <a:lstStyle/>
            <a:p>
              <a:pPr defTabSz="801688">
                <a:spcBef>
                  <a:spcPct val="20000"/>
                </a:spcBef>
              </a:pPr>
              <a:r>
                <a:rPr lang="en-US" sz="1400" b="1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Placeholder</a:t>
              </a:r>
              <a:br>
                <a:rPr lang="en-US" sz="1400" b="1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</a:br>
              <a:r>
                <a:rPr lang="en-US" sz="1400" b="1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for your text</a:t>
              </a:r>
            </a:p>
          </p:txBody>
        </p:sp>
        <p:sp>
          <p:nvSpPr>
            <p:cNvPr id="43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4140993" y="2834740"/>
              <a:ext cx="1982787" cy="1676457"/>
            </a:xfrm>
            <a:prstGeom prst="chevron">
              <a:avLst>
                <a:gd name="adj" fmla="val 34068"/>
              </a:avLst>
            </a:prstGeom>
            <a:solidFill>
              <a:schemeClr val="tx2">
                <a:lumMod val="60000"/>
                <a:lumOff val="40000"/>
              </a:schemeClr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none" lIns="144000" tIns="0" rIns="0" bIns="0" anchor="ctr"/>
            <a:lstStyle/>
            <a:p>
              <a:pPr defTabSz="801688">
                <a:spcBef>
                  <a:spcPct val="20000"/>
                </a:spcBef>
              </a:pPr>
              <a:r>
                <a:rPr lang="en-US" sz="1400" b="1" noProof="1">
                  <a:solidFill>
                    <a:srgbClr val="FFFFFF"/>
                  </a:solidFill>
                  <a:cs typeface="Arial" charset="0"/>
                </a:rPr>
                <a:t>This </a:t>
              </a:r>
              <a:r>
                <a:rPr lang="en-US" sz="1400" b="1" noProof="1" smtClean="0">
                  <a:solidFill>
                    <a:srgbClr val="FFFFFF"/>
                  </a:solidFill>
                  <a:cs typeface="Arial" charset="0"/>
                </a:rPr>
                <a:t>is</a:t>
              </a:r>
            </a:p>
            <a:p>
              <a:pPr defTabSz="801688">
                <a:spcBef>
                  <a:spcPct val="20000"/>
                </a:spcBef>
              </a:pPr>
              <a:r>
                <a:rPr lang="en-US" sz="1400" b="1" noProof="1" smtClean="0">
                  <a:solidFill>
                    <a:srgbClr val="FFFFFF"/>
                  </a:solidFill>
                  <a:cs typeface="Arial" charset="0"/>
                </a:rPr>
                <a:t>placeholer</a:t>
              </a:r>
              <a:r>
                <a:rPr lang="en-US" sz="1400" b="1" noProof="1">
                  <a:solidFill>
                    <a:srgbClr val="FFFFFF"/>
                  </a:solidFill>
                  <a:cs typeface="Arial" charset="0"/>
                </a:rPr>
                <a:t/>
              </a:r>
              <a:br>
                <a:rPr lang="en-US" sz="1400" b="1" noProof="1">
                  <a:solidFill>
                    <a:srgbClr val="FFFFFF"/>
                  </a:solidFill>
                  <a:cs typeface="Arial" charset="0"/>
                </a:rPr>
              </a:br>
              <a:r>
                <a:rPr lang="en-US" sz="1400" b="1" noProof="1">
                  <a:solidFill>
                    <a:srgbClr val="FFFFFF"/>
                  </a:solidFill>
                  <a:cs typeface="Arial" charset="0"/>
                </a:rPr>
                <a:t>for your text</a:t>
              </a:r>
            </a:p>
          </p:txBody>
        </p:sp>
        <p:sp>
          <p:nvSpPr>
            <p:cNvPr id="44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5663405" y="2834740"/>
              <a:ext cx="1982788" cy="1676457"/>
            </a:xfrm>
            <a:prstGeom prst="chevron">
              <a:avLst>
                <a:gd name="adj" fmla="val 34068"/>
              </a:avLst>
            </a:prstGeom>
            <a:solidFill>
              <a:srgbClr val="0070C0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none" lIns="144000" tIns="0" rIns="72000" bIns="0" anchor="ctr"/>
            <a:lstStyle/>
            <a:p>
              <a:pPr defTabSz="801688">
                <a:spcBef>
                  <a:spcPct val="20000"/>
                </a:spcBef>
              </a:pPr>
              <a:r>
                <a:rPr lang="en-US" sz="1400" b="1" noProof="1">
                  <a:solidFill>
                    <a:srgbClr val="FFFFFF"/>
                  </a:solidFill>
                  <a:cs typeface="Arial" charset="0"/>
                </a:rPr>
                <a:t>Placeholder</a:t>
              </a:r>
              <a:br>
                <a:rPr lang="en-US" sz="1400" b="1" noProof="1">
                  <a:solidFill>
                    <a:srgbClr val="FFFFFF"/>
                  </a:solidFill>
                  <a:cs typeface="Arial" charset="0"/>
                </a:rPr>
              </a:br>
              <a:r>
                <a:rPr lang="en-US" sz="1400" b="1" noProof="1">
                  <a:solidFill>
                    <a:srgbClr val="FFFFFF"/>
                  </a:solidFill>
                  <a:cs typeface="Arial" charset="0"/>
                </a:rPr>
                <a:t>for your 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07366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/>
        </p:nvGrpSpPr>
        <p:grpSpPr>
          <a:xfrm>
            <a:off x="323895" y="1556864"/>
            <a:ext cx="4086540" cy="504000"/>
            <a:chOff x="323895" y="1556864"/>
            <a:chExt cx="4086540" cy="504000"/>
          </a:xfrm>
        </p:grpSpPr>
        <p:sp>
          <p:nvSpPr>
            <p:cNvPr id="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5" y="1556864"/>
              <a:ext cx="3683360" cy="503911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Agenda Slides</a:t>
              </a:r>
            </a:p>
          </p:txBody>
        </p:sp>
        <p:sp>
          <p:nvSpPr>
            <p:cNvPr id="3" name="Rechteck 2"/>
            <p:cNvSpPr/>
            <p:nvPr/>
          </p:nvSpPr>
          <p:spPr>
            <a:xfrm>
              <a:off x="323895" y="1556953"/>
              <a:ext cx="324000" cy="503911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323895" y="2180757"/>
            <a:ext cx="4086181" cy="504000"/>
            <a:chOff x="323895" y="2180757"/>
            <a:chExt cx="4086181" cy="504000"/>
          </a:xfrm>
        </p:grpSpPr>
        <p:sp>
          <p:nvSpPr>
            <p:cNvPr id="5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2180757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Gantt Charts</a:t>
              </a:r>
            </a:p>
          </p:txBody>
        </p:sp>
        <p:sp>
          <p:nvSpPr>
            <p:cNvPr id="92" name="Rechteck 91"/>
            <p:cNvSpPr/>
            <p:nvPr/>
          </p:nvSpPr>
          <p:spPr>
            <a:xfrm>
              <a:off x="323895" y="2180758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2</a:t>
              </a:r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323895" y="2804650"/>
            <a:ext cx="4086181" cy="504000"/>
            <a:chOff x="323895" y="2804650"/>
            <a:chExt cx="4086181" cy="504000"/>
          </a:xfrm>
        </p:grpSpPr>
        <p:sp>
          <p:nvSpPr>
            <p:cNvPr id="93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2804650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Funnels 3D</a:t>
              </a:r>
            </a:p>
          </p:txBody>
        </p:sp>
        <p:sp>
          <p:nvSpPr>
            <p:cNvPr id="94" name="Rechteck 93"/>
            <p:cNvSpPr/>
            <p:nvPr/>
          </p:nvSpPr>
          <p:spPr>
            <a:xfrm>
              <a:off x="323895" y="2804651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3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323895" y="3428543"/>
            <a:ext cx="4086181" cy="504000"/>
            <a:chOff x="323895" y="3428543"/>
            <a:chExt cx="4086181" cy="504000"/>
          </a:xfrm>
        </p:grpSpPr>
        <p:sp>
          <p:nvSpPr>
            <p:cNvPr id="9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3428543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Pie / Donut Charts</a:t>
              </a:r>
            </a:p>
          </p:txBody>
        </p:sp>
        <p:sp>
          <p:nvSpPr>
            <p:cNvPr id="96" name="Rechteck 95"/>
            <p:cNvSpPr/>
            <p:nvPr/>
          </p:nvSpPr>
          <p:spPr>
            <a:xfrm>
              <a:off x="323895" y="3428544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4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" name="Gruppieren 11"/>
          <p:cNvGrpSpPr/>
          <p:nvPr/>
        </p:nvGrpSpPr>
        <p:grpSpPr>
          <a:xfrm>
            <a:off x="323895" y="4052436"/>
            <a:ext cx="4086181" cy="504000"/>
            <a:chOff x="323895" y="4052436"/>
            <a:chExt cx="4086181" cy="504000"/>
          </a:xfrm>
        </p:grpSpPr>
        <p:sp>
          <p:nvSpPr>
            <p:cNvPr id="9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4052436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Overlapping Text Boxes</a:t>
              </a:r>
            </a:p>
          </p:txBody>
        </p:sp>
        <p:sp>
          <p:nvSpPr>
            <p:cNvPr id="98" name="Rechteck 97"/>
            <p:cNvSpPr/>
            <p:nvPr/>
          </p:nvSpPr>
          <p:spPr>
            <a:xfrm>
              <a:off x="323895" y="4052437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5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323895" y="4676329"/>
            <a:ext cx="4086181" cy="504000"/>
            <a:chOff x="323895" y="4676329"/>
            <a:chExt cx="4086181" cy="504000"/>
          </a:xfrm>
        </p:grpSpPr>
        <p:sp>
          <p:nvSpPr>
            <p:cNvPr id="9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4676329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Timelines Arrows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323895" y="4676330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6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9" name="Gruppieren 8"/>
          <p:cNvGrpSpPr/>
          <p:nvPr/>
        </p:nvGrpSpPr>
        <p:grpSpPr>
          <a:xfrm>
            <a:off x="323895" y="5300224"/>
            <a:ext cx="4086181" cy="504000"/>
            <a:chOff x="323895" y="5300224"/>
            <a:chExt cx="4086181" cy="504000"/>
          </a:xfrm>
        </p:grpSpPr>
        <p:sp>
          <p:nvSpPr>
            <p:cNvPr id="101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5300224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 smtClean="0">
                  <a:solidFill>
                    <a:srgbClr val="5F5F5F"/>
                  </a:solidFill>
                </a:rPr>
                <a:t>3D Spheres </a:t>
              </a:r>
              <a:r>
                <a:rPr lang="en-US" sz="1600" b="1" noProof="1">
                  <a:solidFill>
                    <a:srgbClr val="5F5F5F"/>
                  </a:solidFill>
                </a:rPr>
                <a:t>with core</a:t>
              </a:r>
            </a:p>
          </p:txBody>
        </p:sp>
        <p:sp>
          <p:nvSpPr>
            <p:cNvPr id="102" name="Rechteck 101"/>
            <p:cNvSpPr/>
            <p:nvPr/>
          </p:nvSpPr>
          <p:spPr>
            <a:xfrm>
              <a:off x="323895" y="5300225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7</a:t>
              </a:r>
            </a:p>
          </p:txBody>
        </p:sp>
      </p:grpSp>
      <p:grpSp>
        <p:nvGrpSpPr>
          <p:cNvPr id="15" name="Gruppieren 14"/>
          <p:cNvGrpSpPr/>
          <p:nvPr/>
        </p:nvGrpSpPr>
        <p:grpSpPr>
          <a:xfrm>
            <a:off x="4733970" y="1556862"/>
            <a:ext cx="4086181" cy="504000"/>
            <a:chOff x="4733970" y="1556862"/>
            <a:chExt cx="4086181" cy="504000"/>
          </a:xfrm>
        </p:grpSpPr>
        <p:sp>
          <p:nvSpPr>
            <p:cNvPr id="5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1556862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Step Process Chart</a:t>
              </a:r>
            </a:p>
          </p:txBody>
        </p:sp>
        <p:sp>
          <p:nvSpPr>
            <p:cNvPr id="58" name="Rechteck 57"/>
            <p:cNvSpPr/>
            <p:nvPr/>
          </p:nvSpPr>
          <p:spPr>
            <a:xfrm>
              <a:off x="4733970" y="1556863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8</a:t>
              </a:r>
            </a:p>
          </p:txBody>
        </p:sp>
      </p:grpSp>
      <p:grpSp>
        <p:nvGrpSpPr>
          <p:cNvPr id="16" name="Gruppieren 15"/>
          <p:cNvGrpSpPr/>
          <p:nvPr/>
        </p:nvGrpSpPr>
        <p:grpSpPr>
          <a:xfrm>
            <a:off x="4733970" y="2180756"/>
            <a:ext cx="4086181" cy="504000"/>
            <a:chOff x="4733970" y="2180756"/>
            <a:chExt cx="4086181" cy="504000"/>
          </a:xfrm>
        </p:grpSpPr>
        <p:sp>
          <p:nvSpPr>
            <p:cNvPr id="5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2180756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Curves and Trend Charts</a:t>
              </a:r>
            </a:p>
          </p:txBody>
        </p:sp>
        <p:sp>
          <p:nvSpPr>
            <p:cNvPr id="60" name="Rechteck 59"/>
            <p:cNvSpPr/>
            <p:nvPr/>
          </p:nvSpPr>
          <p:spPr>
            <a:xfrm>
              <a:off x="4733970" y="2180757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9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4733970" y="2804650"/>
            <a:ext cx="4086181" cy="504000"/>
            <a:chOff x="4733970" y="2804650"/>
            <a:chExt cx="4086181" cy="504000"/>
          </a:xfrm>
        </p:grpSpPr>
        <p:sp>
          <p:nvSpPr>
            <p:cNvPr id="61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2804650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3D Spheres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Fill </a:t>
              </a:r>
              <a:r>
                <a:rPr lang="en-US" sz="1600" b="1" noProof="1">
                  <a:solidFill>
                    <a:srgbClr val="5F5F5F"/>
                  </a:solidFill>
                </a:rPr>
                <a:t>L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evels</a:t>
              </a:r>
              <a:r>
                <a:rPr lang="en-US" sz="1600" b="1" noProof="1">
                  <a:solidFill>
                    <a:srgbClr val="5F5F5F"/>
                  </a:solidFill>
                </a:rPr>
                <a:t>	</a:t>
              </a:r>
            </a:p>
          </p:txBody>
        </p:sp>
        <p:sp>
          <p:nvSpPr>
            <p:cNvPr id="62" name="Rechteck 61"/>
            <p:cNvSpPr/>
            <p:nvPr/>
          </p:nvSpPr>
          <p:spPr>
            <a:xfrm>
              <a:off x="4733970" y="2804651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0</a:t>
              </a:r>
            </a:p>
          </p:txBody>
        </p:sp>
      </p:grpSp>
      <p:grpSp>
        <p:nvGrpSpPr>
          <p:cNvPr id="17" name="Gruppieren 16"/>
          <p:cNvGrpSpPr/>
          <p:nvPr/>
        </p:nvGrpSpPr>
        <p:grpSpPr>
          <a:xfrm>
            <a:off x="4733970" y="3428544"/>
            <a:ext cx="4086181" cy="504000"/>
            <a:chOff x="4733970" y="3428544"/>
            <a:chExt cx="4086181" cy="504000"/>
          </a:xfrm>
        </p:grpSpPr>
        <p:sp>
          <p:nvSpPr>
            <p:cNvPr id="63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3428544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Data-driven Diagrams	</a:t>
              </a:r>
            </a:p>
          </p:txBody>
        </p:sp>
        <p:sp>
          <p:nvSpPr>
            <p:cNvPr id="64" name="Rechteck 63"/>
            <p:cNvSpPr/>
            <p:nvPr/>
          </p:nvSpPr>
          <p:spPr>
            <a:xfrm>
              <a:off x="4733970" y="3428545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1</a:t>
              </a:r>
            </a:p>
          </p:txBody>
        </p:sp>
      </p:grpSp>
      <p:grpSp>
        <p:nvGrpSpPr>
          <p:cNvPr id="21" name="Gruppieren 20"/>
          <p:cNvGrpSpPr/>
          <p:nvPr/>
        </p:nvGrpSpPr>
        <p:grpSpPr>
          <a:xfrm>
            <a:off x="4733970" y="4052438"/>
            <a:ext cx="4086181" cy="504000"/>
            <a:chOff x="4733970" y="4052438"/>
            <a:chExt cx="4086181" cy="504000"/>
          </a:xfrm>
        </p:grpSpPr>
        <p:sp>
          <p:nvSpPr>
            <p:cNvPr id="6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4052438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Arrow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Process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66" name="Rechteck 65"/>
            <p:cNvSpPr/>
            <p:nvPr/>
          </p:nvSpPr>
          <p:spPr>
            <a:xfrm>
              <a:off x="4733970" y="4052439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2</a:t>
              </a: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4733970" y="4676332"/>
            <a:ext cx="4086181" cy="504000"/>
            <a:chOff x="4733970" y="4676332"/>
            <a:chExt cx="4086181" cy="504000"/>
          </a:xfrm>
        </p:grpSpPr>
        <p:sp>
          <p:nvSpPr>
            <p:cNvPr id="6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4676332"/>
              <a:ext cx="3670300" cy="503999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16200000" scaled="0"/>
              <a:tileRect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chemeClr val="bg1"/>
                  </a:solidFill>
                </a:rPr>
                <a:t>Circle </a:t>
              </a:r>
              <a:r>
                <a:rPr lang="en-US" sz="1600" b="1" noProof="1" smtClean="0">
                  <a:solidFill>
                    <a:schemeClr val="bg1"/>
                  </a:solidFill>
                </a:rPr>
                <a:t>Diagram</a:t>
              </a:r>
              <a:endParaRPr lang="en-US" sz="1600" b="1" noProof="1">
                <a:solidFill>
                  <a:schemeClr val="bg1"/>
                </a:solidFill>
              </a:endParaRPr>
            </a:p>
          </p:txBody>
        </p:sp>
        <p:sp>
          <p:nvSpPr>
            <p:cNvPr id="68" name="Rechteck 67"/>
            <p:cNvSpPr/>
            <p:nvPr/>
          </p:nvSpPr>
          <p:spPr>
            <a:xfrm>
              <a:off x="4733970" y="4676333"/>
              <a:ext cx="324000" cy="503999"/>
            </a:xfrm>
            <a:prstGeom prst="rect">
              <a:avLst/>
            </a:pr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rgbClr val="0070C0"/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3</a:t>
              </a: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4733970" y="5300225"/>
            <a:ext cx="4086181" cy="504000"/>
            <a:chOff x="4733970" y="5300225"/>
            <a:chExt cx="4086181" cy="504000"/>
          </a:xfrm>
        </p:grpSpPr>
        <p:sp>
          <p:nvSpPr>
            <p:cNvPr id="6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5300225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3D Arrows</a:t>
              </a:r>
            </a:p>
          </p:txBody>
        </p:sp>
        <p:sp>
          <p:nvSpPr>
            <p:cNvPr id="70" name="Rechteck 69"/>
            <p:cNvSpPr/>
            <p:nvPr/>
          </p:nvSpPr>
          <p:spPr>
            <a:xfrm>
              <a:off x="4733970" y="5300226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4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siness Starter Package</a:t>
            </a:r>
            <a:endParaRPr lang="en-US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laceholder for your own sub headline</a:t>
            </a:r>
          </a:p>
        </p:txBody>
      </p:sp>
    </p:spTree>
    <p:extLst>
      <p:ext uri="{BB962C8B-B14F-4D97-AF65-F5344CB8AC3E}">
        <p14:creationId xmlns:p14="http://schemas.microsoft.com/office/powerpoint/2010/main" val="2872730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Circle Diagram - Arrow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Placeholder for your own sub headline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1555750"/>
            <a:ext cx="3874770" cy="1108696"/>
            <a:chOff x="323850" y="1555750"/>
            <a:chExt cx="3874770" cy="1108696"/>
          </a:xfrm>
        </p:grpSpPr>
        <p:sp>
          <p:nvSpPr>
            <p:cNvPr id="16" name="Line 51" descr="© INSCALE GmbH, 26.05.2010&#10;http://www.presentationload.com/"/>
            <p:cNvSpPr>
              <a:spLocks noChangeShapeType="1"/>
            </p:cNvSpPr>
            <p:nvPr/>
          </p:nvSpPr>
          <p:spPr bwMode="gray">
            <a:xfrm>
              <a:off x="336550" y="1927236"/>
              <a:ext cx="3862070" cy="0"/>
            </a:xfrm>
            <a:prstGeom prst="line">
              <a:avLst/>
            </a:prstGeom>
            <a:noFill/>
            <a:ln w="19050">
              <a:solidFill>
                <a:srgbClr val="868282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7" name="Text Box 52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323851" y="1927236"/>
              <a:ext cx="2701982" cy="7372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90000" rIns="0" bIns="0">
              <a:spAutoFit/>
            </a:bodyPr>
            <a:lstStyle/>
            <a:p>
              <a:pPr algn="l" defTabSz="801688" eaLnBrk="1" hangingPunct="1">
                <a:spcBef>
                  <a:spcPct val="20000"/>
                </a:spcBef>
              </a:pPr>
              <a:r>
                <a:rPr lang="en-GB" sz="1400" noProof="1">
                  <a:cs typeface="Arial" charset="0"/>
                </a:rPr>
                <a:t>This is placeholder text. </a:t>
              </a:r>
              <a:br>
                <a:rPr lang="en-GB" sz="1400" noProof="1">
                  <a:cs typeface="Arial" charset="0"/>
                </a:rPr>
              </a:br>
              <a:r>
                <a:rPr lang="en-GB" sz="1400" noProof="1">
                  <a:cs typeface="Arial" charset="0"/>
                </a:rPr>
                <a:t>All phrases can be replaced with your own text.</a:t>
              </a:r>
            </a:p>
          </p:txBody>
        </p:sp>
        <p:sp>
          <p:nvSpPr>
            <p:cNvPr id="18" name="Text Box 19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323850" y="1555750"/>
              <a:ext cx="2617788" cy="3678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90000">
              <a:spAutoFit/>
            </a:bodyPr>
            <a:lstStyle/>
            <a:p>
              <a:pPr algn="l" defTabSz="801688" eaLnBrk="1" hangingPunct="1">
                <a:spcBef>
                  <a:spcPct val="20000"/>
                </a:spcBef>
              </a:pPr>
              <a:r>
                <a:rPr lang="en-GB" b="1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Placeholder text</a:t>
              </a:r>
            </a:p>
          </p:txBody>
        </p:sp>
      </p:grpSp>
      <p:grpSp>
        <p:nvGrpSpPr>
          <p:cNvPr id="19" name="Gruppieren 18"/>
          <p:cNvGrpSpPr/>
          <p:nvPr/>
        </p:nvGrpSpPr>
        <p:grpSpPr bwMode="gray">
          <a:xfrm>
            <a:off x="6051664" y="4482496"/>
            <a:ext cx="2768486" cy="1320531"/>
            <a:chOff x="6051664" y="4358671"/>
            <a:chExt cx="2768486" cy="1320531"/>
          </a:xfrm>
        </p:grpSpPr>
        <p:sp>
          <p:nvSpPr>
            <p:cNvPr id="20" name="Text Box 46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6051664" y="4726549"/>
              <a:ext cx="2768485" cy="9526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90000" rIns="0" bIns="0">
              <a:spAutoFit/>
            </a:bodyPr>
            <a:lstStyle/>
            <a:p>
              <a:pPr marL="177800" indent="-177800" algn="r" defTabSz="801688" eaLnBrk="1" hangingPunct="1">
                <a:spcBef>
                  <a:spcPct val="20000"/>
                </a:spcBef>
              </a:pPr>
              <a:r>
                <a:rPr lang="en-GB" sz="1400" noProof="1">
                  <a:cs typeface="Arial" charset="0"/>
                </a:rPr>
                <a:t>The text demonstrates how </a:t>
              </a:r>
              <a:r>
                <a:rPr lang="en-GB" sz="1400" noProof="1" smtClean="0">
                  <a:cs typeface="Arial" charset="0"/>
                </a:rPr>
                <a:t/>
              </a:r>
              <a:br>
                <a:rPr lang="en-GB" sz="1400" noProof="1" smtClean="0">
                  <a:cs typeface="Arial" charset="0"/>
                </a:rPr>
              </a:br>
              <a:r>
                <a:rPr lang="en-GB" sz="1400" noProof="1" smtClean="0">
                  <a:cs typeface="Arial" charset="0"/>
                </a:rPr>
                <a:t>your </a:t>
              </a:r>
              <a:r>
                <a:rPr lang="en-GB" sz="1400" noProof="1">
                  <a:cs typeface="Arial" charset="0"/>
                </a:rPr>
                <a:t>own text will look when </a:t>
              </a:r>
              <a:r>
                <a:rPr lang="en-GB" sz="1400" noProof="1" smtClean="0">
                  <a:cs typeface="Arial" charset="0"/>
                </a:rPr>
                <a:t/>
              </a:r>
              <a:br>
                <a:rPr lang="en-GB" sz="1400" noProof="1" smtClean="0">
                  <a:cs typeface="Arial" charset="0"/>
                </a:rPr>
              </a:br>
              <a:r>
                <a:rPr lang="en-GB" sz="1400" noProof="1" smtClean="0">
                  <a:cs typeface="Arial" charset="0"/>
                </a:rPr>
                <a:t>you </a:t>
              </a:r>
              <a:r>
                <a:rPr lang="en-GB" sz="1400" noProof="1">
                  <a:cs typeface="Arial" charset="0"/>
                </a:rPr>
                <a:t>replace the placeholder </a:t>
              </a:r>
              <a:r>
                <a:rPr lang="en-GB" sz="1400" noProof="1" smtClean="0">
                  <a:cs typeface="Arial" charset="0"/>
                </a:rPr>
                <a:t/>
              </a:r>
              <a:br>
                <a:rPr lang="en-GB" sz="1400" noProof="1" smtClean="0">
                  <a:cs typeface="Arial" charset="0"/>
                </a:rPr>
              </a:br>
              <a:r>
                <a:rPr lang="en-GB" sz="1400" noProof="1" smtClean="0">
                  <a:cs typeface="Arial" charset="0"/>
                </a:rPr>
                <a:t>with </a:t>
              </a:r>
              <a:r>
                <a:rPr lang="en-GB" sz="1400" noProof="1">
                  <a:cs typeface="Arial" charset="0"/>
                </a:rPr>
                <a:t>your own text.</a:t>
              </a:r>
            </a:p>
          </p:txBody>
        </p:sp>
        <p:sp>
          <p:nvSpPr>
            <p:cNvPr id="21" name="Line 45" descr="© INSCALE GmbH, 26.05.2010&#10;http://www.presentationload.com/"/>
            <p:cNvSpPr>
              <a:spLocks noChangeShapeType="1"/>
            </p:cNvSpPr>
            <p:nvPr/>
          </p:nvSpPr>
          <p:spPr bwMode="gray">
            <a:xfrm>
              <a:off x="6099175" y="4726549"/>
              <a:ext cx="2720975" cy="0"/>
            </a:xfrm>
            <a:prstGeom prst="line">
              <a:avLst/>
            </a:prstGeom>
            <a:noFill/>
            <a:ln w="19050">
              <a:solidFill>
                <a:srgbClr val="868282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" name="Text Box 20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6202363" y="4358671"/>
              <a:ext cx="2617787" cy="3678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90000">
              <a:spAutoFit/>
            </a:bodyPr>
            <a:lstStyle/>
            <a:p>
              <a:pPr algn="r" defTabSz="801688" eaLnBrk="1" hangingPunct="1">
                <a:spcBef>
                  <a:spcPct val="20000"/>
                </a:spcBef>
              </a:pPr>
              <a:r>
                <a:rPr lang="en-GB" b="1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Placeholder text</a:t>
              </a:r>
            </a:p>
          </p:txBody>
        </p:sp>
      </p:grpSp>
      <p:pic>
        <p:nvPicPr>
          <p:cNvPr id="24" name="Picture 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2679700" y="5416550"/>
            <a:ext cx="3786188" cy="441325"/>
          </a:xfrm>
          <a:prstGeom prst="rect">
            <a:avLst/>
          </a:prstGeom>
          <a:noFill/>
          <a:ln w="9525">
            <a:miter lim="800000"/>
            <a:headEnd/>
            <a:tailEnd/>
          </a:ln>
          <a:effectLst/>
        </p:spPr>
      </p:pic>
      <p:grpSp>
        <p:nvGrpSpPr>
          <p:cNvPr id="4" name="Gruppieren 3"/>
          <p:cNvGrpSpPr/>
          <p:nvPr/>
        </p:nvGrpSpPr>
        <p:grpSpPr>
          <a:xfrm>
            <a:off x="2816238" y="1916113"/>
            <a:ext cx="3511525" cy="3511525"/>
            <a:chOff x="2816238" y="1916113"/>
            <a:chExt cx="3511525" cy="3511525"/>
          </a:xfrm>
          <a:effectLst/>
        </p:grpSpPr>
        <p:sp>
          <p:nvSpPr>
            <p:cNvPr id="25" name="_color1" descr="© INSCALE GmbH, 26.05.2010&#10;http://www.presentationload.com/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4484610" y="1916113"/>
              <a:ext cx="1843153" cy="3503581"/>
            </a:xfrm>
            <a:custGeom>
              <a:avLst/>
              <a:gdLst/>
              <a:ahLst/>
              <a:cxnLst>
                <a:cxn ang="0">
                  <a:pos x="307" y="293"/>
                </a:cxn>
                <a:cxn ang="0">
                  <a:pos x="14" y="0"/>
                </a:cxn>
                <a:cxn ang="0">
                  <a:pos x="2" y="1"/>
                </a:cxn>
                <a:cxn ang="0">
                  <a:pos x="45" y="49"/>
                </a:cxn>
                <a:cxn ang="0">
                  <a:pos x="5" y="95"/>
                </a:cxn>
                <a:cxn ang="0">
                  <a:pos x="114" y="121"/>
                </a:cxn>
                <a:cxn ang="0">
                  <a:pos x="186" y="392"/>
                </a:cxn>
                <a:cxn ang="0">
                  <a:pos x="42" y="490"/>
                </a:cxn>
                <a:cxn ang="0">
                  <a:pos x="0" y="537"/>
                </a:cxn>
                <a:cxn ang="0">
                  <a:pos x="42" y="585"/>
                </a:cxn>
                <a:cxn ang="0">
                  <a:pos x="307" y="293"/>
                </a:cxn>
              </a:cxnLst>
              <a:rect l="0" t="0" r="r" b="b"/>
              <a:pathLst>
                <a:path w="307" h="585">
                  <a:moveTo>
                    <a:pt x="307" y="293"/>
                  </a:moveTo>
                  <a:cubicBezTo>
                    <a:pt x="307" y="132"/>
                    <a:pt x="176" y="0"/>
                    <a:pt x="14" y="0"/>
                  </a:cubicBezTo>
                  <a:cubicBezTo>
                    <a:pt x="10" y="0"/>
                    <a:pt x="6" y="1"/>
                    <a:pt x="2" y="1"/>
                  </a:cubicBezTo>
                  <a:cubicBezTo>
                    <a:pt x="45" y="49"/>
                    <a:pt x="45" y="49"/>
                    <a:pt x="45" y="49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41" y="93"/>
                    <a:pt x="79" y="102"/>
                    <a:pt x="114" y="121"/>
                  </a:cubicBezTo>
                  <a:cubicBezTo>
                    <a:pt x="208" y="176"/>
                    <a:pt x="241" y="298"/>
                    <a:pt x="186" y="392"/>
                  </a:cubicBezTo>
                  <a:cubicBezTo>
                    <a:pt x="154" y="448"/>
                    <a:pt x="100" y="482"/>
                    <a:pt x="42" y="490"/>
                  </a:cubicBezTo>
                  <a:cubicBezTo>
                    <a:pt x="0" y="537"/>
                    <a:pt x="0" y="537"/>
                    <a:pt x="0" y="537"/>
                  </a:cubicBezTo>
                  <a:cubicBezTo>
                    <a:pt x="42" y="585"/>
                    <a:pt x="42" y="585"/>
                    <a:pt x="42" y="585"/>
                  </a:cubicBezTo>
                  <a:cubicBezTo>
                    <a:pt x="191" y="571"/>
                    <a:pt x="307" y="446"/>
                    <a:pt x="307" y="293"/>
                  </a:cubicBezTo>
                  <a:close/>
                </a:path>
              </a:pathLst>
            </a:cu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rgbClr val="0070C0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88000" tIns="0" rIns="0" bIns="0" anchor="ctr"/>
            <a:lstStyle/>
            <a:p>
              <a:pPr defTabSz="801688" eaLnBrk="0" hangingPunct="0">
                <a:defRPr/>
              </a:pPr>
              <a:endParaRPr lang="en-GB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6" name="Freeform 13" descr="© INSCALE GmbH, 26.05.2010&#10;http://www.presentationload.com/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2816238" y="1927236"/>
              <a:ext cx="1838386" cy="3500402"/>
            </a:xfrm>
            <a:custGeom>
              <a:avLst/>
              <a:gdLst/>
              <a:ahLst/>
              <a:cxnLst>
                <a:cxn ang="0">
                  <a:pos x="302" y="490"/>
                </a:cxn>
                <a:cxn ang="0">
                  <a:pos x="194" y="463"/>
                </a:cxn>
                <a:cxn ang="0">
                  <a:pos x="121" y="192"/>
                </a:cxn>
                <a:cxn ang="0">
                  <a:pos x="265" y="95"/>
                </a:cxn>
                <a:cxn ang="0">
                  <a:pos x="307" y="47"/>
                </a:cxn>
                <a:cxn ang="0">
                  <a:pos x="265" y="0"/>
                </a:cxn>
                <a:cxn ang="0">
                  <a:pos x="0" y="291"/>
                </a:cxn>
                <a:cxn ang="0">
                  <a:pos x="293" y="584"/>
                </a:cxn>
                <a:cxn ang="0">
                  <a:pos x="304" y="584"/>
                </a:cxn>
                <a:cxn ang="0">
                  <a:pos x="261" y="535"/>
                </a:cxn>
                <a:cxn ang="0">
                  <a:pos x="302" y="490"/>
                </a:cxn>
              </a:cxnLst>
              <a:rect l="0" t="0" r="r" b="b"/>
              <a:pathLst>
                <a:path w="307" h="584">
                  <a:moveTo>
                    <a:pt x="302" y="490"/>
                  </a:moveTo>
                  <a:cubicBezTo>
                    <a:pt x="265" y="491"/>
                    <a:pt x="228" y="483"/>
                    <a:pt x="194" y="463"/>
                  </a:cubicBezTo>
                  <a:cubicBezTo>
                    <a:pt x="99" y="408"/>
                    <a:pt x="67" y="287"/>
                    <a:pt x="121" y="192"/>
                  </a:cubicBezTo>
                  <a:cubicBezTo>
                    <a:pt x="153" y="137"/>
                    <a:pt x="207" y="103"/>
                    <a:pt x="265" y="95"/>
                  </a:cubicBezTo>
                  <a:cubicBezTo>
                    <a:pt x="307" y="47"/>
                    <a:pt x="307" y="47"/>
                    <a:pt x="307" y="47"/>
                  </a:cubicBezTo>
                  <a:cubicBezTo>
                    <a:pt x="265" y="0"/>
                    <a:pt x="265" y="0"/>
                    <a:pt x="265" y="0"/>
                  </a:cubicBezTo>
                  <a:cubicBezTo>
                    <a:pt x="116" y="14"/>
                    <a:pt x="0" y="139"/>
                    <a:pt x="0" y="291"/>
                  </a:cubicBezTo>
                  <a:cubicBezTo>
                    <a:pt x="0" y="453"/>
                    <a:pt x="131" y="584"/>
                    <a:pt x="293" y="584"/>
                  </a:cubicBezTo>
                  <a:cubicBezTo>
                    <a:pt x="297" y="584"/>
                    <a:pt x="301" y="584"/>
                    <a:pt x="304" y="584"/>
                  </a:cubicBezTo>
                  <a:cubicBezTo>
                    <a:pt x="261" y="535"/>
                    <a:pt x="261" y="535"/>
                    <a:pt x="261" y="535"/>
                  </a:cubicBezTo>
                  <a:lnTo>
                    <a:pt x="302" y="49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path path="shape">
                <a:fillToRect l="50000" t="50000" r="50000" b="50000"/>
              </a:path>
              <a:tileRect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88000" tIns="0" rIns="0" bIns="0" anchor="ctr"/>
            <a:lstStyle/>
            <a:p>
              <a:pPr defTabSz="801688" eaLnBrk="0" hangingPunct="0">
                <a:defRPr/>
              </a:pPr>
              <a:endParaRPr lang="en-GB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" name="WordArt 17" descr="© INSCALE GmbH, 26.05.2010&#10;http://www.presentationload.com/"/>
            <p:cNvSpPr>
              <a:spLocks noChangeArrowheads="1" noChangeShapeType="1" noTextEdit="1"/>
            </p:cNvSpPr>
            <p:nvPr>
              <p:custDataLst>
                <p:tags r:id="rId3"/>
              </p:custDataLst>
            </p:nvPr>
          </p:nvSpPr>
          <p:spPr bwMode="gray">
            <a:xfrm rot="16200000">
              <a:off x="2900452" y="2761421"/>
              <a:ext cx="2199073" cy="1712862"/>
            </a:xfrm>
            <a:prstGeom prst="rect">
              <a:avLst/>
            </a:prstGeom>
          </p:spPr>
          <p:txBody>
            <a:bodyPr spcFirstLastPara="1" wrap="none" fromWordArt="1">
              <a:prstTxWarp prst="textArchUp">
                <a:avLst>
                  <a:gd name="adj" fmla="val 13138771"/>
                </a:avLst>
              </a:prstTxWarp>
            </a:bodyPr>
            <a:lstStyle/>
            <a:p>
              <a:r>
                <a:rPr lang="en-GB" sz="3600" kern="10" dirty="0">
                  <a:ln w="9525">
                    <a:noFill/>
                    <a:round/>
                    <a:headEnd/>
                    <a:tailEnd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 Black"/>
                </a:rPr>
                <a:t>Placeholder</a:t>
              </a:r>
            </a:p>
          </p:txBody>
        </p:sp>
        <p:sp>
          <p:nvSpPr>
            <p:cNvPr id="28" name="WordArt 18" descr="© INSCALE GmbH, 26.05.2010&#10;http://www.presentationload.com/"/>
            <p:cNvSpPr>
              <a:spLocks noChangeArrowheads="1" noChangeShapeType="1" noTextEdit="1"/>
            </p:cNvSpPr>
            <p:nvPr>
              <p:custDataLst>
                <p:tags r:id="rId4"/>
              </p:custDataLst>
            </p:nvPr>
          </p:nvSpPr>
          <p:spPr bwMode="gray">
            <a:xfrm rot="16200000">
              <a:off x="4614900" y="3193610"/>
              <a:ext cx="1905122" cy="970833"/>
            </a:xfrm>
            <a:prstGeom prst="rect">
              <a:avLst/>
            </a:prstGeom>
          </p:spPr>
          <p:txBody>
            <a:bodyPr spcFirstLastPara="1" wrap="none" fromWordArt="1">
              <a:prstTxWarp prst="textArchDown">
                <a:avLst>
                  <a:gd name="adj" fmla="val 1078293"/>
                </a:avLst>
              </a:prstTxWarp>
            </a:bodyPr>
            <a:lstStyle/>
            <a:p>
              <a:r>
                <a:rPr lang="en-GB" sz="3600" kern="10">
                  <a:ln w="9525">
                    <a:noFill/>
                    <a:round/>
                    <a:headEnd/>
                    <a:tailEnd/>
                  </a:ln>
                  <a:solidFill>
                    <a:srgbClr val="FFFFFF"/>
                  </a:solidFill>
                  <a:latin typeface="Arial Black"/>
                </a:rPr>
                <a:t>Placeholder</a:t>
              </a:r>
            </a:p>
          </p:txBody>
        </p:sp>
        <p:grpSp>
          <p:nvGrpSpPr>
            <p:cNvPr id="29" name="Gruppieren 28"/>
            <p:cNvGrpSpPr/>
            <p:nvPr/>
          </p:nvGrpSpPr>
          <p:grpSpPr bwMode="gray">
            <a:xfrm>
              <a:off x="3575744" y="2681974"/>
              <a:ext cx="1990490" cy="1988467"/>
              <a:chOff x="3575744" y="2681974"/>
              <a:chExt cx="1990490" cy="1988467"/>
            </a:xfrm>
          </p:grpSpPr>
          <p:sp>
            <p:nvSpPr>
              <p:cNvPr id="30" name="Oval 7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575744" y="2681974"/>
                <a:ext cx="1990490" cy="1988467"/>
              </a:xfrm>
              <a:prstGeom prst="ellipse">
                <a:avLst/>
              </a:prstGeom>
              <a:gradFill flip="none" rotWithShape="1">
                <a:gsLst>
                  <a:gs pos="0">
                    <a:srgbClr val="FFFFFF"/>
                  </a:gs>
                  <a:gs pos="100000">
                    <a:srgbClr val="D7D7D7"/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288000" tIns="0" rIns="0" bIns="0" anchor="ctr"/>
              <a:lstStyle/>
              <a:p>
                <a:pPr defTabSz="801688" eaLnBrk="0" hangingPunct="0">
                  <a:defRPr/>
                </a:pPr>
                <a:endParaRPr lang="de-DE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pic>
            <p:nvPicPr>
              <p:cNvPr id="31" name="Picture 7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gray">
              <a:xfrm>
                <a:off x="3974248" y="2734567"/>
                <a:ext cx="1197530" cy="69586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2" name="Text Box 36" descr="© INSCALE GmbH, 26.05.2010&#10;http://www.presentationload.com/"/>
              <p:cNvSpPr txBox="1">
                <a:spLocks noChangeArrowheads="1"/>
              </p:cNvSpPr>
              <p:nvPr/>
            </p:nvSpPr>
            <p:spPr bwMode="gray">
              <a:xfrm>
                <a:off x="3941008" y="3368431"/>
                <a:ext cx="1259960" cy="61555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0">
                <a:spAutoFit/>
              </a:bodyPr>
              <a:lstStyle/>
              <a:p>
                <a:pPr algn="ctr"/>
                <a:r>
                  <a:rPr lang="de-DE" sz="2000" b="1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a:rPr>
                  <a:t>Placeholder</a:t>
                </a:r>
              </a:p>
              <a:p>
                <a:pPr algn="ctr"/>
                <a:r>
                  <a:rPr lang="de-DE" sz="2000" b="1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a:rPr>
                  <a:t>text</a:t>
                </a:r>
              </a:p>
            </p:txBody>
          </p:sp>
          <p:sp>
            <p:nvSpPr>
              <p:cNvPr id="33" name="Freeform 6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595613" y="3546847"/>
                <a:ext cx="1953826" cy="1110225"/>
              </a:xfrm>
              <a:custGeom>
                <a:avLst/>
                <a:gdLst>
                  <a:gd name="T0" fmla="*/ 2147483647 w 412"/>
                  <a:gd name="T1" fmla="*/ 2147483647 h 234"/>
                  <a:gd name="T2" fmla="*/ 54299726 w 412"/>
                  <a:gd name="T3" fmla="*/ 0 h 234"/>
                  <a:gd name="T4" fmla="*/ 0 w 412"/>
                  <a:gd name="T5" fmla="*/ 1479354888 h 234"/>
                  <a:gd name="T6" fmla="*/ 2147483647 w 412"/>
                  <a:gd name="T7" fmla="*/ 2147483647 h 234"/>
                  <a:gd name="T8" fmla="*/ 2147483647 w 412"/>
                  <a:gd name="T9" fmla="*/ 1479354888 h 234"/>
                  <a:gd name="T10" fmla="*/ 2147483647 w 412"/>
                  <a:gd name="T11" fmla="*/ 0 h 234"/>
                  <a:gd name="T12" fmla="*/ 2147483647 w 412"/>
                  <a:gd name="T13" fmla="*/ 2147483647 h 23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12"/>
                  <a:gd name="T22" fmla="*/ 0 h 234"/>
                  <a:gd name="T23" fmla="*/ 412 w 412"/>
                  <a:gd name="T24" fmla="*/ 234 h 23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12" h="234">
                    <a:moveTo>
                      <a:pt x="206" y="179"/>
                    </a:moveTo>
                    <a:cubicBezTo>
                      <a:pt x="101" y="179"/>
                      <a:pt x="15" y="101"/>
                      <a:pt x="1" y="0"/>
                    </a:cubicBezTo>
                    <a:cubicBezTo>
                      <a:pt x="0" y="9"/>
                      <a:pt x="0" y="18"/>
                      <a:pt x="0" y="27"/>
                    </a:cubicBezTo>
                    <a:cubicBezTo>
                      <a:pt x="0" y="141"/>
                      <a:pt x="92" y="234"/>
                      <a:pt x="206" y="234"/>
                    </a:cubicBezTo>
                    <a:cubicBezTo>
                      <a:pt x="320" y="234"/>
                      <a:pt x="412" y="141"/>
                      <a:pt x="412" y="27"/>
                    </a:cubicBezTo>
                    <a:cubicBezTo>
                      <a:pt x="412" y="18"/>
                      <a:pt x="411" y="9"/>
                      <a:pt x="410" y="0"/>
                    </a:cubicBezTo>
                    <a:cubicBezTo>
                      <a:pt x="397" y="101"/>
                      <a:pt x="310" y="179"/>
                      <a:pt x="206" y="179"/>
                    </a:cubicBezTo>
                    <a:close/>
                  </a:path>
                </a:pathLst>
              </a:custGeom>
              <a:solidFill>
                <a:srgbClr val="D1D1D1"/>
              </a:solidFill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/>
                <a:endParaRPr lang="de-DE" noProof="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00337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Circle </a:t>
            </a:r>
            <a:r>
              <a:rPr lang="de-DE" noProof="1" smtClean="0"/>
              <a:t>Diagram </a:t>
            </a:r>
            <a:r>
              <a:rPr lang="de-DE" noProof="1"/>
              <a:t>- </a:t>
            </a:r>
            <a:r>
              <a:rPr lang="de-DE" noProof="1" smtClean="0"/>
              <a:t>Arrows</a:t>
            </a:r>
            <a:endParaRPr lang="de-DE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Placeholder for your own sub headline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2679700" y="1645921"/>
            <a:ext cx="3786188" cy="4211954"/>
            <a:chOff x="2679700" y="1645921"/>
            <a:chExt cx="3786188" cy="4211954"/>
          </a:xfrm>
        </p:grpSpPr>
        <p:pic>
          <p:nvPicPr>
            <p:cNvPr id="16" name="Picture 57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gray">
            <a:xfrm>
              <a:off x="2679700" y="5416550"/>
              <a:ext cx="3786188" cy="441325"/>
            </a:xfrm>
            <a:prstGeom prst="rect">
              <a:avLst/>
            </a:prstGeom>
            <a:noFill/>
            <a:ln w="9525">
              <a:miter lim="800000"/>
              <a:headEnd/>
              <a:tailEnd/>
            </a:ln>
            <a:effectLst/>
          </p:spPr>
        </p:pic>
        <p:grpSp>
          <p:nvGrpSpPr>
            <p:cNvPr id="17" name="Gruppieren 16"/>
            <p:cNvGrpSpPr/>
            <p:nvPr/>
          </p:nvGrpSpPr>
          <p:grpSpPr bwMode="gray">
            <a:xfrm>
              <a:off x="3575744" y="2681974"/>
              <a:ext cx="1990490" cy="1988467"/>
              <a:chOff x="3575744" y="2681974"/>
              <a:chExt cx="1990490" cy="1988467"/>
            </a:xfrm>
          </p:grpSpPr>
          <p:sp>
            <p:nvSpPr>
              <p:cNvPr id="24" name="Oval 7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575744" y="2681974"/>
                <a:ext cx="1990490" cy="1988467"/>
              </a:xfrm>
              <a:prstGeom prst="ellipse">
                <a:avLst/>
              </a:prstGeom>
              <a:gradFill flip="none" rotWithShape="1">
                <a:gsLst>
                  <a:gs pos="0">
                    <a:srgbClr val="FFFFFF"/>
                  </a:gs>
                  <a:gs pos="100000">
                    <a:srgbClr val="D7D7D7"/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288000" tIns="0" rIns="0" bIns="0" anchor="ctr"/>
              <a:lstStyle/>
              <a:p>
                <a:pPr defTabSz="801688" eaLnBrk="0" hangingPunct="0">
                  <a:defRPr/>
                </a:pPr>
                <a:endParaRPr lang="de-DE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pic>
            <p:nvPicPr>
              <p:cNvPr id="25" name="Picture 7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gray">
              <a:xfrm>
                <a:off x="3974248" y="2734567"/>
                <a:ext cx="1197530" cy="69586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6" name="Text Box 36" descr="© INSCALE GmbH, 26.05.2010&#10;http://www.presentationload.com/"/>
              <p:cNvSpPr txBox="1">
                <a:spLocks noChangeArrowheads="1"/>
              </p:cNvSpPr>
              <p:nvPr/>
            </p:nvSpPr>
            <p:spPr bwMode="gray">
              <a:xfrm>
                <a:off x="3941008" y="3368431"/>
                <a:ext cx="1259960" cy="61555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0">
                <a:spAutoFit/>
              </a:bodyPr>
              <a:lstStyle/>
              <a:p>
                <a:pPr algn="ctr"/>
                <a:r>
                  <a:rPr lang="de-DE" sz="2000" b="1" noProof="1">
                    <a:solidFill>
                      <a:srgbClr val="000000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a:rPr>
                  <a:t>Placeholder</a:t>
                </a:r>
              </a:p>
              <a:p>
                <a:pPr algn="ctr"/>
                <a:r>
                  <a:rPr lang="de-DE" sz="2000" b="1" noProof="1">
                    <a:solidFill>
                      <a:srgbClr val="000000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a:rPr>
                  <a:t>text</a:t>
                </a:r>
              </a:p>
            </p:txBody>
          </p:sp>
          <p:sp>
            <p:nvSpPr>
              <p:cNvPr id="27" name="Freeform 6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595613" y="3546847"/>
                <a:ext cx="1953826" cy="1110225"/>
              </a:xfrm>
              <a:custGeom>
                <a:avLst/>
                <a:gdLst>
                  <a:gd name="T0" fmla="*/ 2147483647 w 412"/>
                  <a:gd name="T1" fmla="*/ 2147483647 h 234"/>
                  <a:gd name="T2" fmla="*/ 54299726 w 412"/>
                  <a:gd name="T3" fmla="*/ 0 h 234"/>
                  <a:gd name="T4" fmla="*/ 0 w 412"/>
                  <a:gd name="T5" fmla="*/ 1479354888 h 234"/>
                  <a:gd name="T6" fmla="*/ 2147483647 w 412"/>
                  <a:gd name="T7" fmla="*/ 2147483647 h 234"/>
                  <a:gd name="T8" fmla="*/ 2147483647 w 412"/>
                  <a:gd name="T9" fmla="*/ 1479354888 h 234"/>
                  <a:gd name="T10" fmla="*/ 2147483647 w 412"/>
                  <a:gd name="T11" fmla="*/ 0 h 234"/>
                  <a:gd name="T12" fmla="*/ 2147483647 w 412"/>
                  <a:gd name="T13" fmla="*/ 2147483647 h 23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12"/>
                  <a:gd name="T22" fmla="*/ 0 h 234"/>
                  <a:gd name="T23" fmla="*/ 412 w 412"/>
                  <a:gd name="T24" fmla="*/ 234 h 23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12" h="234">
                    <a:moveTo>
                      <a:pt x="206" y="179"/>
                    </a:moveTo>
                    <a:cubicBezTo>
                      <a:pt x="101" y="179"/>
                      <a:pt x="15" y="101"/>
                      <a:pt x="1" y="0"/>
                    </a:cubicBezTo>
                    <a:cubicBezTo>
                      <a:pt x="0" y="9"/>
                      <a:pt x="0" y="18"/>
                      <a:pt x="0" y="27"/>
                    </a:cubicBezTo>
                    <a:cubicBezTo>
                      <a:pt x="0" y="141"/>
                      <a:pt x="92" y="234"/>
                      <a:pt x="206" y="234"/>
                    </a:cubicBezTo>
                    <a:cubicBezTo>
                      <a:pt x="320" y="234"/>
                      <a:pt x="412" y="141"/>
                      <a:pt x="412" y="27"/>
                    </a:cubicBezTo>
                    <a:cubicBezTo>
                      <a:pt x="412" y="18"/>
                      <a:pt x="411" y="9"/>
                      <a:pt x="410" y="0"/>
                    </a:cubicBezTo>
                    <a:cubicBezTo>
                      <a:pt x="397" y="101"/>
                      <a:pt x="310" y="179"/>
                      <a:pt x="206" y="179"/>
                    </a:cubicBezTo>
                    <a:close/>
                  </a:path>
                </a:pathLst>
              </a:custGeom>
              <a:solidFill>
                <a:srgbClr val="D1D1D1"/>
              </a:solidFill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/>
                <a:endParaRPr lang="de-DE" noProof="1"/>
              </a:p>
            </p:txBody>
          </p:sp>
        </p:grpSp>
        <p:sp>
          <p:nvSpPr>
            <p:cNvPr id="18" name="Freeform 50" descr="© INSCALE GmbH, 26.05.2010&#10;http://www.presentationload.com/"/>
            <p:cNvSpPr>
              <a:spLocks/>
            </p:cNvSpPr>
            <p:nvPr/>
          </p:nvSpPr>
          <p:spPr bwMode="gray">
            <a:xfrm>
              <a:off x="2796540" y="1645921"/>
              <a:ext cx="2204469" cy="2631804"/>
            </a:xfrm>
            <a:custGeom>
              <a:avLst/>
              <a:gdLst/>
              <a:ahLst/>
              <a:cxnLst>
                <a:cxn ang="0">
                  <a:pos x="322" y="44"/>
                </a:cxn>
                <a:cxn ang="0">
                  <a:pos x="304" y="22"/>
                </a:cxn>
                <a:cxn ang="0">
                  <a:pos x="286" y="0"/>
                </a:cxn>
                <a:cxn ang="0">
                  <a:pos x="286" y="43"/>
                </a:cxn>
                <a:cxn ang="0">
                  <a:pos x="0" y="335"/>
                </a:cxn>
                <a:cxn ang="0">
                  <a:pos x="18" y="437"/>
                </a:cxn>
                <a:cxn ang="0">
                  <a:pos x="40" y="377"/>
                </a:cxn>
                <a:cxn ang="0">
                  <a:pos x="115" y="389"/>
                </a:cxn>
                <a:cxn ang="0">
                  <a:pos x="132" y="242"/>
                </a:cxn>
                <a:cxn ang="0">
                  <a:pos x="286" y="149"/>
                </a:cxn>
                <a:cxn ang="0">
                  <a:pos x="286" y="191"/>
                </a:cxn>
                <a:cxn ang="0">
                  <a:pos x="304" y="169"/>
                </a:cxn>
                <a:cxn ang="0">
                  <a:pos x="319" y="151"/>
                </a:cxn>
                <a:cxn ang="0">
                  <a:pos x="365" y="96"/>
                </a:cxn>
                <a:cxn ang="0">
                  <a:pos x="322" y="44"/>
                </a:cxn>
              </a:cxnLst>
              <a:rect l="0" t="0" r="r" b="b"/>
              <a:pathLst>
                <a:path w="365" h="437">
                  <a:moveTo>
                    <a:pt x="322" y="44"/>
                  </a:moveTo>
                  <a:cubicBezTo>
                    <a:pt x="304" y="22"/>
                    <a:pt x="304" y="22"/>
                    <a:pt x="304" y="22"/>
                  </a:cubicBezTo>
                  <a:cubicBezTo>
                    <a:pt x="286" y="0"/>
                    <a:pt x="286" y="0"/>
                    <a:pt x="286" y="0"/>
                  </a:cubicBezTo>
                  <a:cubicBezTo>
                    <a:pt x="286" y="43"/>
                    <a:pt x="286" y="43"/>
                    <a:pt x="286" y="43"/>
                  </a:cubicBezTo>
                  <a:cubicBezTo>
                    <a:pt x="127" y="46"/>
                    <a:pt x="0" y="176"/>
                    <a:pt x="0" y="335"/>
                  </a:cubicBezTo>
                  <a:cubicBezTo>
                    <a:pt x="0" y="371"/>
                    <a:pt x="6" y="405"/>
                    <a:pt x="18" y="437"/>
                  </a:cubicBezTo>
                  <a:cubicBezTo>
                    <a:pt x="40" y="377"/>
                    <a:pt x="40" y="377"/>
                    <a:pt x="40" y="377"/>
                  </a:cubicBezTo>
                  <a:cubicBezTo>
                    <a:pt x="115" y="389"/>
                    <a:pt x="115" y="389"/>
                    <a:pt x="115" y="389"/>
                  </a:cubicBezTo>
                  <a:cubicBezTo>
                    <a:pt x="100" y="342"/>
                    <a:pt x="105" y="289"/>
                    <a:pt x="132" y="242"/>
                  </a:cubicBezTo>
                  <a:cubicBezTo>
                    <a:pt x="165" y="185"/>
                    <a:pt x="224" y="152"/>
                    <a:pt x="286" y="149"/>
                  </a:cubicBezTo>
                  <a:cubicBezTo>
                    <a:pt x="286" y="191"/>
                    <a:pt x="286" y="191"/>
                    <a:pt x="286" y="191"/>
                  </a:cubicBezTo>
                  <a:cubicBezTo>
                    <a:pt x="304" y="169"/>
                    <a:pt x="304" y="169"/>
                    <a:pt x="304" y="169"/>
                  </a:cubicBezTo>
                  <a:cubicBezTo>
                    <a:pt x="319" y="151"/>
                    <a:pt x="319" y="151"/>
                    <a:pt x="319" y="151"/>
                  </a:cubicBezTo>
                  <a:cubicBezTo>
                    <a:pt x="365" y="96"/>
                    <a:pt x="365" y="96"/>
                    <a:pt x="365" y="96"/>
                  </a:cubicBezTo>
                  <a:lnTo>
                    <a:pt x="322" y="44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path path="shape">
                <a:fillToRect l="50000" t="50000" r="50000" b="50000"/>
              </a:path>
              <a:tileRect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88000" tIns="0" rIns="0" bIns="0" anchor="ctr"/>
            <a:lstStyle/>
            <a:p>
              <a:pPr defTabSz="801688" eaLnBrk="0" hangingPunct="0">
                <a:defRPr/>
              </a:pPr>
              <a:endParaRPr lang="en-GB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" name="Freeform 51" descr="© INSCALE GmbH, 26.05.2010&#10;http://www.presentationload.com/"/>
            <p:cNvSpPr>
              <a:spLocks/>
            </p:cNvSpPr>
            <p:nvPr/>
          </p:nvSpPr>
          <p:spPr bwMode="gray">
            <a:xfrm>
              <a:off x="2833684" y="4008945"/>
              <a:ext cx="3092718" cy="1420695"/>
            </a:xfrm>
            <a:custGeom>
              <a:avLst/>
              <a:gdLst/>
              <a:ahLst/>
              <a:cxnLst>
                <a:cxn ang="0">
                  <a:pos x="449" y="141"/>
                </a:cxn>
                <a:cxn ang="0">
                  <a:pos x="422" y="70"/>
                </a:cxn>
                <a:cxn ang="0">
                  <a:pos x="194" y="104"/>
                </a:cxn>
                <a:cxn ang="0">
                  <a:pos x="129" y="42"/>
                </a:cxn>
                <a:cxn ang="0">
                  <a:pos x="165" y="21"/>
                </a:cxn>
                <a:cxn ang="0">
                  <a:pos x="137" y="16"/>
                </a:cxn>
                <a:cxn ang="0">
                  <a:pos x="114" y="12"/>
                </a:cxn>
                <a:cxn ang="0">
                  <a:pos x="43" y="0"/>
                </a:cxn>
                <a:cxn ang="0">
                  <a:pos x="20" y="64"/>
                </a:cxn>
                <a:cxn ang="0">
                  <a:pos x="10" y="90"/>
                </a:cxn>
                <a:cxn ang="0">
                  <a:pos x="0" y="116"/>
                </a:cxn>
                <a:cxn ang="0">
                  <a:pos x="36" y="96"/>
                </a:cxn>
                <a:cxn ang="0">
                  <a:pos x="287" y="236"/>
                </a:cxn>
                <a:cxn ang="0">
                  <a:pos x="512" y="130"/>
                </a:cxn>
                <a:cxn ang="0">
                  <a:pos x="449" y="141"/>
                </a:cxn>
              </a:cxnLst>
              <a:rect l="0" t="0" r="r" b="b"/>
              <a:pathLst>
                <a:path w="512" h="236">
                  <a:moveTo>
                    <a:pt x="449" y="141"/>
                  </a:moveTo>
                  <a:cubicBezTo>
                    <a:pt x="422" y="70"/>
                    <a:pt x="422" y="70"/>
                    <a:pt x="422" y="70"/>
                  </a:cubicBezTo>
                  <a:cubicBezTo>
                    <a:pt x="365" y="132"/>
                    <a:pt x="270" y="148"/>
                    <a:pt x="194" y="104"/>
                  </a:cubicBezTo>
                  <a:cubicBezTo>
                    <a:pt x="166" y="89"/>
                    <a:pt x="145" y="67"/>
                    <a:pt x="129" y="42"/>
                  </a:cubicBezTo>
                  <a:cubicBezTo>
                    <a:pt x="165" y="21"/>
                    <a:pt x="165" y="21"/>
                    <a:pt x="165" y="21"/>
                  </a:cubicBezTo>
                  <a:cubicBezTo>
                    <a:pt x="137" y="16"/>
                    <a:pt x="137" y="16"/>
                    <a:pt x="137" y="16"/>
                  </a:cubicBezTo>
                  <a:cubicBezTo>
                    <a:pt x="114" y="12"/>
                    <a:pt x="114" y="12"/>
                    <a:pt x="114" y="12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36" y="96"/>
                    <a:pt x="36" y="96"/>
                    <a:pt x="36" y="96"/>
                  </a:cubicBezTo>
                  <a:cubicBezTo>
                    <a:pt x="88" y="180"/>
                    <a:pt x="181" y="236"/>
                    <a:pt x="287" y="236"/>
                  </a:cubicBezTo>
                  <a:cubicBezTo>
                    <a:pt x="377" y="236"/>
                    <a:pt x="458" y="195"/>
                    <a:pt x="512" y="130"/>
                  </a:cubicBezTo>
                  <a:lnTo>
                    <a:pt x="449" y="141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path path="shape">
                <a:fillToRect l="50000" t="50000" r="50000" b="50000"/>
              </a:path>
              <a:tileRect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88000" tIns="0" rIns="0" bIns="0" anchor="ctr"/>
            <a:lstStyle/>
            <a:p>
              <a:pPr defTabSz="801688" eaLnBrk="0" hangingPunct="0">
                <a:defRPr/>
              </a:pPr>
              <a:endParaRPr lang="en-GB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" name="_color1" descr="© INSCALE GmbH, 26.05.2010&#10;http://www.presentationload.com/"/>
            <p:cNvSpPr>
              <a:spLocks/>
            </p:cNvSpPr>
            <p:nvPr/>
          </p:nvSpPr>
          <p:spPr bwMode="gray">
            <a:xfrm>
              <a:off x="4813669" y="1930700"/>
              <a:ext cx="1526172" cy="2830190"/>
            </a:xfrm>
            <a:custGeom>
              <a:avLst/>
              <a:gdLst/>
              <a:ahLst/>
              <a:cxnLst>
                <a:cxn ang="0">
                  <a:pos x="216" y="429"/>
                </a:cxn>
                <a:cxn ang="0">
                  <a:pos x="251" y="288"/>
                </a:cxn>
                <a:cxn ang="0">
                  <a:pos x="8" y="0"/>
                </a:cxn>
                <a:cxn ang="0">
                  <a:pos x="49" y="49"/>
                </a:cxn>
                <a:cxn ang="0">
                  <a:pos x="0" y="107"/>
                </a:cxn>
                <a:cxn ang="0">
                  <a:pos x="52" y="127"/>
                </a:cxn>
                <a:cxn ang="0">
                  <a:pos x="123" y="375"/>
                </a:cxn>
                <a:cxn ang="0">
                  <a:pos x="87" y="354"/>
                </a:cxn>
                <a:cxn ang="0">
                  <a:pos x="97" y="381"/>
                </a:cxn>
                <a:cxn ang="0">
                  <a:pos x="105" y="403"/>
                </a:cxn>
                <a:cxn ang="0">
                  <a:pos x="130" y="470"/>
                </a:cxn>
                <a:cxn ang="0">
                  <a:pos x="197" y="459"/>
                </a:cxn>
                <a:cxn ang="0">
                  <a:pos x="224" y="454"/>
                </a:cxn>
                <a:cxn ang="0">
                  <a:pos x="252" y="450"/>
                </a:cxn>
                <a:cxn ang="0">
                  <a:pos x="216" y="429"/>
                </a:cxn>
              </a:cxnLst>
              <a:rect l="0" t="0" r="r" b="b"/>
              <a:pathLst>
                <a:path w="252" h="470">
                  <a:moveTo>
                    <a:pt x="216" y="429"/>
                  </a:moveTo>
                  <a:cubicBezTo>
                    <a:pt x="238" y="387"/>
                    <a:pt x="251" y="339"/>
                    <a:pt x="251" y="288"/>
                  </a:cubicBezTo>
                  <a:cubicBezTo>
                    <a:pt x="251" y="144"/>
                    <a:pt x="146" y="23"/>
                    <a:pt x="8" y="0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18" y="111"/>
                    <a:pt x="35" y="118"/>
                    <a:pt x="52" y="127"/>
                  </a:cubicBezTo>
                  <a:cubicBezTo>
                    <a:pt x="139" y="177"/>
                    <a:pt x="170" y="287"/>
                    <a:pt x="123" y="375"/>
                  </a:cubicBezTo>
                  <a:cubicBezTo>
                    <a:pt x="87" y="354"/>
                    <a:pt x="87" y="354"/>
                    <a:pt x="87" y="354"/>
                  </a:cubicBezTo>
                  <a:cubicBezTo>
                    <a:pt x="97" y="381"/>
                    <a:pt x="97" y="381"/>
                    <a:pt x="97" y="381"/>
                  </a:cubicBezTo>
                  <a:cubicBezTo>
                    <a:pt x="105" y="403"/>
                    <a:pt x="105" y="403"/>
                    <a:pt x="105" y="403"/>
                  </a:cubicBezTo>
                  <a:cubicBezTo>
                    <a:pt x="130" y="470"/>
                    <a:pt x="130" y="470"/>
                    <a:pt x="130" y="470"/>
                  </a:cubicBezTo>
                  <a:cubicBezTo>
                    <a:pt x="197" y="459"/>
                    <a:pt x="197" y="459"/>
                    <a:pt x="197" y="459"/>
                  </a:cubicBezTo>
                  <a:cubicBezTo>
                    <a:pt x="224" y="454"/>
                    <a:pt x="224" y="454"/>
                    <a:pt x="224" y="454"/>
                  </a:cubicBezTo>
                  <a:cubicBezTo>
                    <a:pt x="252" y="450"/>
                    <a:pt x="252" y="450"/>
                    <a:pt x="252" y="450"/>
                  </a:cubicBezTo>
                  <a:lnTo>
                    <a:pt x="216" y="429"/>
                  </a:lnTo>
                  <a:close/>
                </a:path>
              </a:pathLst>
            </a:cu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rgbClr val="0070C0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88000" tIns="0" rIns="0" bIns="0" anchor="ctr"/>
            <a:lstStyle/>
            <a:p>
              <a:pPr defTabSz="801688" eaLnBrk="0" hangingPunct="0">
                <a:defRPr/>
              </a:pPr>
              <a:endParaRPr lang="en-GB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1" name="WordArt 82" descr="© INSCALE GmbH, 26.05.2010&#10;http://www.presentationload.com/"/>
            <p:cNvSpPr>
              <a:spLocks noChangeArrowheads="1" noChangeShapeType="1" noTextEdit="1"/>
            </p:cNvSpPr>
            <p:nvPr>
              <p:custDataLst>
                <p:tags r:id="rId1"/>
              </p:custDataLst>
            </p:nvPr>
          </p:nvSpPr>
          <p:spPr bwMode="gray">
            <a:xfrm rot="484759">
              <a:off x="3564942" y="4514456"/>
              <a:ext cx="1663446" cy="610430"/>
            </a:xfrm>
            <a:prstGeom prst="rect">
              <a:avLst/>
            </a:prstGeom>
          </p:spPr>
          <p:txBody>
            <a:bodyPr spcFirstLastPara="1" wrap="none" fromWordArt="1">
              <a:prstTxWarp prst="textArchDown">
                <a:avLst>
                  <a:gd name="adj" fmla="val 916668"/>
                </a:avLst>
              </a:prstTxWarp>
            </a:bodyPr>
            <a:lstStyle/>
            <a:p>
              <a:r>
                <a:rPr lang="en-GB" sz="3600" kern="10" dirty="0">
                  <a:ln w="9525">
                    <a:noFill/>
                    <a:round/>
                    <a:headEnd/>
                    <a:tailEnd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 Black"/>
                </a:rPr>
                <a:t>Placeholder</a:t>
              </a:r>
            </a:p>
          </p:txBody>
        </p:sp>
        <p:sp>
          <p:nvSpPr>
            <p:cNvPr id="22" name="WordArt 83" descr="© INSCALE GmbH, 26.05.2010&#10;http://www.presentationload.com/"/>
            <p:cNvSpPr>
              <a:spLocks noChangeArrowheads="1" noChangeShapeType="1" noTextEdit="1"/>
            </p:cNvSpPr>
            <p:nvPr>
              <p:custDataLst>
                <p:tags r:id="rId2"/>
              </p:custDataLst>
            </p:nvPr>
          </p:nvSpPr>
          <p:spPr bwMode="gray">
            <a:xfrm rot="18695182">
              <a:off x="3070351" y="2498350"/>
              <a:ext cx="1999852" cy="1385666"/>
            </a:xfrm>
            <a:prstGeom prst="rect">
              <a:avLst/>
            </a:prstGeom>
          </p:spPr>
          <p:txBody>
            <a:bodyPr spcFirstLastPara="1" wrap="none" fromWordArt="1">
              <a:prstTxWarp prst="textArchUp">
                <a:avLst>
                  <a:gd name="adj" fmla="val 12929545"/>
                </a:avLst>
              </a:prstTxWarp>
            </a:bodyPr>
            <a:lstStyle/>
            <a:p>
              <a:r>
                <a:rPr lang="en-GB" sz="3600" kern="10" dirty="0">
                  <a:ln w="9525">
                    <a:noFill/>
                    <a:round/>
                    <a:headEnd/>
                    <a:tailEnd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 Black"/>
                </a:rPr>
                <a:t>Placeholder</a:t>
              </a:r>
            </a:p>
          </p:txBody>
        </p:sp>
        <p:sp>
          <p:nvSpPr>
            <p:cNvPr id="23" name="WordArt 84" descr="© INSCALE GmbH, 26.05.2010&#10;http://www.presentationload.com/"/>
            <p:cNvSpPr>
              <a:spLocks noChangeArrowheads="1" noChangeShapeType="1" noTextEdit="1"/>
            </p:cNvSpPr>
            <p:nvPr>
              <p:custDataLst>
                <p:tags r:id="rId3"/>
              </p:custDataLst>
            </p:nvPr>
          </p:nvSpPr>
          <p:spPr bwMode="gray">
            <a:xfrm rot="3805276">
              <a:off x="4277648" y="2691294"/>
              <a:ext cx="1948656" cy="1351751"/>
            </a:xfrm>
            <a:prstGeom prst="rect">
              <a:avLst/>
            </a:prstGeom>
          </p:spPr>
          <p:txBody>
            <a:bodyPr spcFirstLastPara="1" wrap="none" fromWordArt="1">
              <a:prstTxWarp prst="textArchUp">
                <a:avLst>
                  <a:gd name="adj" fmla="val 12931419"/>
                </a:avLst>
              </a:prstTxWarp>
            </a:bodyPr>
            <a:lstStyle/>
            <a:p>
              <a:r>
                <a:rPr lang="en-GB" sz="3600" kern="10" dirty="0">
                  <a:ln w="9525">
                    <a:noFill/>
                    <a:round/>
                    <a:headEnd/>
                    <a:tailEnd/>
                  </a:ln>
                  <a:solidFill>
                    <a:srgbClr val="FFFFFF"/>
                  </a:solidFill>
                  <a:latin typeface="Arial Black"/>
                </a:rPr>
                <a:t>Placeholder</a:t>
              </a:r>
            </a:p>
          </p:txBody>
        </p:sp>
      </p:grpSp>
      <p:grpSp>
        <p:nvGrpSpPr>
          <p:cNvPr id="28" name="Gruppieren 27"/>
          <p:cNvGrpSpPr/>
          <p:nvPr/>
        </p:nvGrpSpPr>
        <p:grpSpPr bwMode="gray">
          <a:xfrm>
            <a:off x="323850" y="1555750"/>
            <a:ext cx="3745230" cy="1108696"/>
            <a:chOff x="323850" y="1555750"/>
            <a:chExt cx="3745230" cy="1108696"/>
          </a:xfrm>
        </p:grpSpPr>
        <p:sp>
          <p:nvSpPr>
            <p:cNvPr id="29" name="Line 51" descr="© INSCALE GmbH, 26.05.2010&#10;http://www.presentationload.com/"/>
            <p:cNvSpPr>
              <a:spLocks noChangeShapeType="1"/>
            </p:cNvSpPr>
            <p:nvPr/>
          </p:nvSpPr>
          <p:spPr bwMode="gray">
            <a:xfrm>
              <a:off x="336550" y="1927236"/>
              <a:ext cx="3732530" cy="0"/>
            </a:xfrm>
            <a:prstGeom prst="line">
              <a:avLst/>
            </a:prstGeom>
            <a:noFill/>
            <a:ln w="19050">
              <a:solidFill>
                <a:srgbClr val="868282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" name="Text Box 52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323851" y="1927236"/>
              <a:ext cx="2668732" cy="7372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90000" rIns="0" bIns="0">
              <a:spAutoFit/>
            </a:bodyPr>
            <a:lstStyle/>
            <a:p>
              <a:pPr algn="l" defTabSz="801688" eaLnBrk="1" hangingPunct="1">
                <a:spcBef>
                  <a:spcPct val="20000"/>
                </a:spcBef>
              </a:pPr>
              <a:r>
                <a:rPr lang="en-GB" sz="1400" noProof="1">
                  <a:cs typeface="Arial" charset="0"/>
                </a:rPr>
                <a:t>This is placeholder text. </a:t>
              </a:r>
              <a:br>
                <a:rPr lang="en-GB" sz="1400" noProof="1">
                  <a:cs typeface="Arial" charset="0"/>
                </a:rPr>
              </a:br>
              <a:r>
                <a:rPr lang="en-GB" sz="1400" noProof="1">
                  <a:cs typeface="Arial" charset="0"/>
                </a:rPr>
                <a:t>All phrases can be replaced </a:t>
              </a:r>
              <a:r>
                <a:rPr lang="en-GB" sz="1400" noProof="1" smtClean="0">
                  <a:cs typeface="Arial" charset="0"/>
                </a:rPr>
                <a:t/>
              </a:r>
              <a:br>
                <a:rPr lang="en-GB" sz="1400" noProof="1" smtClean="0">
                  <a:cs typeface="Arial" charset="0"/>
                </a:rPr>
              </a:br>
              <a:r>
                <a:rPr lang="en-GB" sz="1400" noProof="1" smtClean="0">
                  <a:cs typeface="Arial" charset="0"/>
                </a:rPr>
                <a:t>with </a:t>
              </a:r>
              <a:r>
                <a:rPr lang="en-GB" sz="1400" noProof="1">
                  <a:cs typeface="Arial" charset="0"/>
                </a:rPr>
                <a:t>your own text.</a:t>
              </a:r>
            </a:p>
          </p:txBody>
        </p:sp>
        <p:sp>
          <p:nvSpPr>
            <p:cNvPr id="31" name="Text Box 19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323850" y="1555750"/>
              <a:ext cx="2617788" cy="3678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90000">
              <a:spAutoFit/>
            </a:bodyPr>
            <a:lstStyle/>
            <a:p>
              <a:pPr algn="l" defTabSz="801688" eaLnBrk="1" hangingPunct="1">
                <a:spcBef>
                  <a:spcPct val="20000"/>
                </a:spcBef>
              </a:pPr>
              <a:r>
                <a:rPr lang="en-GB" b="1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Placeholder text</a:t>
              </a:r>
            </a:p>
          </p:txBody>
        </p:sp>
      </p:grpSp>
      <p:grpSp>
        <p:nvGrpSpPr>
          <p:cNvPr id="32" name="Gruppieren 31"/>
          <p:cNvGrpSpPr/>
          <p:nvPr/>
        </p:nvGrpSpPr>
        <p:grpSpPr bwMode="gray">
          <a:xfrm>
            <a:off x="5772149" y="1968833"/>
            <a:ext cx="3048001" cy="1135865"/>
            <a:chOff x="5772149" y="4358671"/>
            <a:chExt cx="3048001" cy="1135865"/>
          </a:xfrm>
        </p:grpSpPr>
        <p:sp>
          <p:nvSpPr>
            <p:cNvPr id="33" name="Text Box 46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6339841" y="4726549"/>
              <a:ext cx="2480308" cy="767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90000" rIns="0" bIns="0">
              <a:spAutoFit/>
            </a:bodyPr>
            <a:lstStyle/>
            <a:p>
              <a:pPr marL="177800" indent="-177800" algn="r" defTabSz="801688">
                <a:spcBef>
                  <a:spcPct val="20000"/>
                </a:spcBef>
              </a:pPr>
              <a:r>
                <a:rPr lang="en-US" sz="1400" noProof="1" smtClean="0">
                  <a:cs typeface="Arial" charset="0"/>
                </a:rPr>
                <a:t>This is placeholder text. </a:t>
              </a:r>
              <a:br>
                <a:rPr lang="en-US" sz="1400" noProof="1" smtClean="0">
                  <a:cs typeface="Arial" charset="0"/>
                </a:rPr>
              </a:br>
              <a:r>
                <a:rPr lang="en-US" sz="1400" noProof="1" smtClean="0">
                  <a:cs typeface="Arial" charset="0"/>
                </a:rPr>
                <a:t>All phrases can be replaced </a:t>
              </a:r>
              <a:br>
                <a:rPr lang="en-US" sz="1400" noProof="1" smtClean="0">
                  <a:cs typeface="Arial" charset="0"/>
                </a:rPr>
              </a:br>
              <a:r>
                <a:rPr lang="en-US" sz="1400" noProof="1" smtClean="0">
                  <a:cs typeface="Arial" charset="0"/>
                </a:rPr>
                <a:t>with your own text</a:t>
              </a:r>
              <a:r>
                <a:rPr lang="en-US" sz="1600" noProof="1" smtClean="0">
                  <a:cs typeface="Arial" charset="0"/>
                </a:rPr>
                <a:t>.</a:t>
              </a:r>
            </a:p>
          </p:txBody>
        </p:sp>
        <p:sp>
          <p:nvSpPr>
            <p:cNvPr id="34" name="Line 45" descr="© INSCALE GmbH, 26.05.2010&#10;http://www.presentationload.com/"/>
            <p:cNvSpPr>
              <a:spLocks noChangeShapeType="1"/>
            </p:cNvSpPr>
            <p:nvPr/>
          </p:nvSpPr>
          <p:spPr bwMode="gray">
            <a:xfrm>
              <a:off x="5772149" y="4726549"/>
              <a:ext cx="3048001" cy="0"/>
            </a:xfrm>
            <a:prstGeom prst="line">
              <a:avLst/>
            </a:prstGeom>
            <a:noFill/>
            <a:ln w="19050">
              <a:solidFill>
                <a:srgbClr val="868282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Text Box 20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6202363" y="4358671"/>
              <a:ext cx="2617787" cy="3678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90000">
              <a:spAutoFit/>
            </a:bodyPr>
            <a:lstStyle/>
            <a:p>
              <a:pPr algn="r" defTabSz="801688" eaLnBrk="1" hangingPunct="1">
                <a:spcBef>
                  <a:spcPct val="20000"/>
                </a:spcBef>
              </a:pPr>
              <a:r>
                <a:rPr lang="en-GB" b="1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Placeholder text</a:t>
              </a:r>
            </a:p>
          </p:txBody>
        </p:sp>
      </p:grpSp>
      <p:grpSp>
        <p:nvGrpSpPr>
          <p:cNvPr id="36" name="Gruppieren 35"/>
          <p:cNvGrpSpPr/>
          <p:nvPr/>
        </p:nvGrpSpPr>
        <p:grpSpPr bwMode="gray">
          <a:xfrm>
            <a:off x="323850" y="4482496"/>
            <a:ext cx="2828925" cy="1320531"/>
            <a:chOff x="323850" y="4358671"/>
            <a:chExt cx="2828925" cy="1320531"/>
          </a:xfrm>
        </p:grpSpPr>
        <p:sp>
          <p:nvSpPr>
            <p:cNvPr id="37" name="Text Box 46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323851" y="4726549"/>
              <a:ext cx="2469226" cy="9526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90000" rIns="0" bIns="0">
              <a:spAutoFit/>
            </a:bodyPr>
            <a:lstStyle/>
            <a:p>
              <a:pPr defTabSz="801688" eaLnBrk="1" hangingPunct="1">
                <a:spcBef>
                  <a:spcPct val="20000"/>
                </a:spcBef>
              </a:pPr>
              <a:r>
                <a:rPr lang="en-GB" sz="1400" noProof="1">
                  <a:cs typeface="Arial" charset="0"/>
                </a:rPr>
                <a:t>The text demonstrates how </a:t>
              </a:r>
              <a:r>
                <a:rPr lang="en-GB" sz="1400" noProof="1" smtClean="0">
                  <a:cs typeface="Arial" charset="0"/>
                </a:rPr>
                <a:t/>
              </a:r>
              <a:br>
                <a:rPr lang="en-GB" sz="1400" noProof="1" smtClean="0">
                  <a:cs typeface="Arial" charset="0"/>
                </a:rPr>
              </a:br>
              <a:r>
                <a:rPr lang="en-GB" sz="1400" noProof="1" smtClean="0">
                  <a:cs typeface="Arial" charset="0"/>
                </a:rPr>
                <a:t>your </a:t>
              </a:r>
              <a:r>
                <a:rPr lang="en-GB" sz="1400" noProof="1">
                  <a:cs typeface="Arial" charset="0"/>
                </a:rPr>
                <a:t>own text will look when </a:t>
              </a:r>
              <a:r>
                <a:rPr lang="en-GB" sz="1400" noProof="1" smtClean="0">
                  <a:cs typeface="Arial" charset="0"/>
                </a:rPr>
                <a:t/>
              </a:r>
              <a:br>
                <a:rPr lang="en-GB" sz="1400" noProof="1" smtClean="0">
                  <a:cs typeface="Arial" charset="0"/>
                </a:rPr>
              </a:br>
              <a:r>
                <a:rPr lang="en-GB" sz="1400" noProof="1" smtClean="0">
                  <a:cs typeface="Arial" charset="0"/>
                </a:rPr>
                <a:t>you </a:t>
              </a:r>
              <a:r>
                <a:rPr lang="en-GB" sz="1400" noProof="1">
                  <a:cs typeface="Arial" charset="0"/>
                </a:rPr>
                <a:t>replace the placeholder </a:t>
              </a:r>
              <a:r>
                <a:rPr lang="en-GB" sz="1400" noProof="1" smtClean="0">
                  <a:cs typeface="Arial" charset="0"/>
                </a:rPr>
                <a:t/>
              </a:r>
              <a:br>
                <a:rPr lang="en-GB" sz="1400" noProof="1" smtClean="0">
                  <a:cs typeface="Arial" charset="0"/>
                </a:rPr>
              </a:br>
              <a:r>
                <a:rPr lang="en-GB" sz="1400" noProof="1" smtClean="0">
                  <a:cs typeface="Arial" charset="0"/>
                </a:rPr>
                <a:t>with </a:t>
              </a:r>
              <a:r>
                <a:rPr lang="en-GB" sz="1400" noProof="1">
                  <a:cs typeface="Arial" charset="0"/>
                </a:rPr>
                <a:t>your own text.</a:t>
              </a:r>
            </a:p>
          </p:txBody>
        </p:sp>
        <p:sp>
          <p:nvSpPr>
            <p:cNvPr id="38" name="Line 45" descr="© INSCALE GmbH, 26.05.2010&#10;http://www.presentationload.com/"/>
            <p:cNvSpPr>
              <a:spLocks noChangeShapeType="1"/>
            </p:cNvSpPr>
            <p:nvPr/>
          </p:nvSpPr>
          <p:spPr bwMode="gray">
            <a:xfrm>
              <a:off x="323851" y="4726549"/>
              <a:ext cx="2828924" cy="0"/>
            </a:xfrm>
            <a:prstGeom prst="line">
              <a:avLst/>
            </a:prstGeom>
            <a:noFill/>
            <a:ln w="19050">
              <a:solidFill>
                <a:srgbClr val="868282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" name="Text Box 20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323850" y="4358671"/>
              <a:ext cx="2617787" cy="3678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90000">
              <a:spAutoFit/>
            </a:bodyPr>
            <a:lstStyle/>
            <a:p>
              <a:pPr defTabSz="801688" eaLnBrk="1" hangingPunct="1">
                <a:spcBef>
                  <a:spcPct val="20000"/>
                </a:spcBef>
              </a:pPr>
              <a:r>
                <a:rPr lang="en-GB" b="1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Placeholder 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3661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Circle Diagram - Arrow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Placeholder for your own sub headline</a:t>
            </a:r>
          </a:p>
        </p:txBody>
      </p:sp>
      <p:grpSp>
        <p:nvGrpSpPr>
          <p:cNvPr id="40" name="Gruppieren 39"/>
          <p:cNvGrpSpPr/>
          <p:nvPr/>
        </p:nvGrpSpPr>
        <p:grpSpPr bwMode="gray">
          <a:xfrm>
            <a:off x="2679700" y="1897381"/>
            <a:ext cx="3786188" cy="3960494"/>
            <a:chOff x="2679700" y="1897381"/>
            <a:chExt cx="3786188" cy="3960494"/>
          </a:xfrm>
        </p:grpSpPr>
        <p:pic>
          <p:nvPicPr>
            <p:cNvPr id="41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gray">
            <a:xfrm>
              <a:off x="2679700" y="5416550"/>
              <a:ext cx="3786188" cy="441325"/>
            </a:xfrm>
            <a:prstGeom prst="rect">
              <a:avLst/>
            </a:prstGeom>
            <a:noFill/>
            <a:ln w="9525">
              <a:miter lim="800000"/>
              <a:headEnd/>
              <a:tailEnd/>
            </a:ln>
            <a:effectLst/>
          </p:spPr>
        </p:pic>
        <p:sp>
          <p:nvSpPr>
            <p:cNvPr id="42" name="Freeform 13" descr="© INSCALE GmbH, 26.05.2010&#10;http://www.presentationload.com/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2812491" y="3572233"/>
              <a:ext cx="1819097" cy="1867178"/>
            </a:xfrm>
            <a:custGeom>
              <a:avLst/>
              <a:gdLst/>
              <a:ahLst/>
              <a:cxnLst>
                <a:cxn ang="0">
                  <a:pos x="299" y="215"/>
                </a:cxn>
                <a:cxn ang="0">
                  <a:pos x="192" y="188"/>
                </a:cxn>
                <a:cxn ang="0">
                  <a:pos x="95" y="41"/>
                </a:cxn>
                <a:cxn ang="0">
                  <a:pos x="47" y="0"/>
                </a:cxn>
                <a:cxn ang="0">
                  <a:pos x="0" y="42"/>
                </a:cxn>
                <a:cxn ang="0">
                  <a:pos x="291" y="309"/>
                </a:cxn>
                <a:cxn ang="0">
                  <a:pos x="301" y="309"/>
                </a:cxn>
                <a:cxn ang="0">
                  <a:pos x="258" y="261"/>
                </a:cxn>
                <a:cxn ang="0">
                  <a:pos x="299" y="215"/>
                </a:cxn>
              </a:cxnLst>
              <a:rect l="0" t="0" r="r" b="b"/>
              <a:pathLst>
                <a:path w="301" h="309">
                  <a:moveTo>
                    <a:pt x="299" y="215"/>
                  </a:moveTo>
                  <a:cubicBezTo>
                    <a:pt x="263" y="216"/>
                    <a:pt x="226" y="208"/>
                    <a:pt x="192" y="188"/>
                  </a:cubicBezTo>
                  <a:cubicBezTo>
                    <a:pt x="136" y="156"/>
                    <a:pt x="102" y="101"/>
                    <a:pt x="95" y="4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13" y="191"/>
                    <a:pt x="138" y="309"/>
                    <a:pt x="291" y="309"/>
                  </a:cubicBezTo>
                  <a:cubicBezTo>
                    <a:pt x="295" y="309"/>
                    <a:pt x="298" y="309"/>
                    <a:pt x="301" y="309"/>
                  </a:cubicBezTo>
                  <a:cubicBezTo>
                    <a:pt x="258" y="261"/>
                    <a:pt x="258" y="261"/>
                    <a:pt x="258" y="261"/>
                  </a:cubicBezTo>
                  <a:lnTo>
                    <a:pt x="299" y="215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path path="shape">
                <a:fillToRect l="50000" t="50000" r="50000" b="50000"/>
              </a:path>
              <a:tileRect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88000" tIns="0" rIns="0" bIns="0" anchor="ctr"/>
            <a:lstStyle/>
            <a:p>
              <a:pPr defTabSz="801688" eaLnBrk="0" hangingPunct="0">
                <a:defRPr/>
              </a:pPr>
              <a:endParaRPr lang="en-GB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3" name="Freeform 14" descr="© INSCALE GmbH, 26.05.2010&#10;http://www.presentationload.com/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2804478" y="1908601"/>
              <a:ext cx="1870384" cy="1812685"/>
            </a:xfrm>
            <a:custGeom>
              <a:avLst/>
              <a:gdLst/>
              <a:ahLst/>
              <a:cxnLst>
                <a:cxn ang="0">
                  <a:pos x="94" y="297"/>
                </a:cxn>
                <a:cxn ang="0">
                  <a:pos x="121" y="192"/>
                </a:cxn>
                <a:cxn ang="0">
                  <a:pos x="267" y="95"/>
                </a:cxn>
                <a:cxn ang="0">
                  <a:pos x="309" y="46"/>
                </a:cxn>
                <a:cxn ang="0">
                  <a:pos x="268" y="0"/>
                </a:cxn>
                <a:cxn ang="0">
                  <a:pos x="0" y="291"/>
                </a:cxn>
                <a:cxn ang="0">
                  <a:pos x="0" y="300"/>
                </a:cxn>
                <a:cxn ang="0">
                  <a:pos x="48" y="257"/>
                </a:cxn>
                <a:cxn ang="0">
                  <a:pos x="94" y="297"/>
                </a:cxn>
              </a:cxnLst>
              <a:rect l="0" t="0" r="r" b="b"/>
              <a:pathLst>
                <a:path w="309" h="300">
                  <a:moveTo>
                    <a:pt x="94" y="297"/>
                  </a:moveTo>
                  <a:cubicBezTo>
                    <a:pt x="93" y="262"/>
                    <a:pt x="101" y="225"/>
                    <a:pt x="121" y="192"/>
                  </a:cubicBezTo>
                  <a:cubicBezTo>
                    <a:pt x="153" y="136"/>
                    <a:pt x="208" y="102"/>
                    <a:pt x="267" y="95"/>
                  </a:cubicBezTo>
                  <a:cubicBezTo>
                    <a:pt x="309" y="46"/>
                    <a:pt x="309" y="46"/>
                    <a:pt x="309" y="46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18" y="12"/>
                    <a:pt x="0" y="138"/>
                    <a:pt x="0" y="291"/>
                  </a:cubicBezTo>
                  <a:cubicBezTo>
                    <a:pt x="0" y="294"/>
                    <a:pt x="0" y="297"/>
                    <a:pt x="0" y="300"/>
                  </a:cubicBezTo>
                  <a:cubicBezTo>
                    <a:pt x="48" y="257"/>
                    <a:pt x="48" y="257"/>
                    <a:pt x="48" y="257"/>
                  </a:cubicBezTo>
                  <a:lnTo>
                    <a:pt x="94" y="297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path path="shape">
                <a:fillToRect l="50000" t="50000" r="50000" b="50000"/>
              </a:path>
              <a:tileRect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88000" tIns="0" rIns="0" bIns="0" anchor="ctr"/>
            <a:lstStyle/>
            <a:p>
              <a:pPr defTabSz="801688" eaLnBrk="0" hangingPunct="0">
                <a:defRPr/>
              </a:pPr>
              <a:endParaRPr lang="en-GB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4" name="Freeform 15" descr="© INSCALE GmbH, 26.05.2010&#10;http://www.presentationload.com/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4479329" y="3620315"/>
              <a:ext cx="1867179" cy="1811083"/>
            </a:xfrm>
            <a:custGeom>
              <a:avLst/>
              <a:gdLst/>
              <a:ahLst/>
              <a:cxnLst>
                <a:cxn ang="0">
                  <a:pos x="214" y="0"/>
                </a:cxn>
                <a:cxn ang="0">
                  <a:pos x="187" y="107"/>
                </a:cxn>
                <a:cxn ang="0">
                  <a:pos x="42" y="205"/>
                </a:cxn>
                <a:cxn ang="0">
                  <a:pos x="0" y="253"/>
                </a:cxn>
                <a:cxn ang="0">
                  <a:pos x="42" y="300"/>
                </a:cxn>
                <a:cxn ang="0">
                  <a:pos x="308" y="8"/>
                </a:cxn>
                <a:cxn ang="0">
                  <a:pos x="308" y="0"/>
                </a:cxn>
                <a:cxn ang="0">
                  <a:pos x="261" y="42"/>
                </a:cxn>
                <a:cxn ang="0">
                  <a:pos x="214" y="0"/>
                </a:cxn>
              </a:cxnLst>
              <a:rect l="0" t="0" r="r" b="b"/>
              <a:pathLst>
                <a:path w="308" h="300">
                  <a:moveTo>
                    <a:pt x="214" y="0"/>
                  </a:moveTo>
                  <a:cubicBezTo>
                    <a:pt x="215" y="37"/>
                    <a:pt x="207" y="74"/>
                    <a:pt x="187" y="107"/>
                  </a:cubicBezTo>
                  <a:cubicBezTo>
                    <a:pt x="155" y="163"/>
                    <a:pt x="101" y="197"/>
                    <a:pt x="42" y="205"/>
                  </a:cubicBezTo>
                  <a:cubicBezTo>
                    <a:pt x="0" y="253"/>
                    <a:pt x="0" y="253"/>
                    <a:pt x="0" y="253"/>
                  </a:cubicBezTo>
                  <a:cubicBezTo>
                    <a:pt x="42" y="300"/>
                    <a:pt x="42" y="300"/>
                    <a:pt x="42" y="300"/>
                  </a:cubicBezTo>
                  <a:cubicBezTo>
                    <a:pt x="191" y="287"/>
                    <a:pt x="308" y="161"/>
                    <a:pt x="308" y="8"/>
                  </a:cubicBezTo>
                  <a:cubicBezTo>
                    <a:pt x="308" y="6"/>
                    <a:pt x="308" y="3"/>
                    <a:pt x="308" y="0"/>
                  </a:cubicBezTo>
                  <a:cubicBezTo>
                    <a:pt x="261" y="42"/>
                    <a:pt x="261" y="42"/>
                    <a:pt x="261" y="42"/>
                  </a:cubicBezTo>
                  <a:lnTo>
                    <a:pt x="214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path path="shape">
                <a:fillToRect l="50000" t="50000" r="50000" b="50000"/>
              </a:path>
              <a:tileRect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88000" tIns="0" rIns="0" bIns="0" anchor="ctr"/>
            <a:lstStyle/>
            <a:p>
              <a:pPr defTabSz="801688" eaLnBrk="0" hangingPunct="0">
                <a:defRPr/>
              </a:pPr>
              <a:endParaRPr lang="en-GB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" name="_color1" descr="© INSCALE GmbH, 26.05.2010&#10;http://www.presentationload.com/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4530616" y="1897381"/>
              <a:ext cx="1807878" cy="1867179"/>
            </a:xfrm>
            <a:custGeom>
              <a:avLst/>
              <a:gdLst/>
              <a:ahLst/>
              <a:cxnLst>
                <a:cxn ang="0">
                  <a:pos x="1" y="95"/>
                </a:cxn>
                <a:cxn ang="0">
                  <a:pos x="107" y="121"/>
                </a:cxn>
                <a:cxn ang="0">
                  <a:pos x="204" y="266"/>
                </a:cxn>
                <a:cxn ang="0">
                  <a:pos x="253" y="309"/>
                </a:cxn>
                <a:cxn ang="0">
                  <a:pos x="299" y="268"/>
                </a:cxn>
                <a:cxn ang="0">
                  <a:pos x="7" y="0"/>
                </a:cxn>
                <a:cxn ang="0">
                  <a:pos x="0" y="1"/>
                </a:cxn>
                <a:cxn ang="0">
                  <a:pos x="42" y="48"/>
                </a:cxn>
                <a:cxn ang="0">
                  <a:pos x="1" y="95"/>
                </a:cxn>
              </a:cxnLst>
              <a:rect l="0" t="0" r="r" b="b"/>
              <a:pathLst>
                <a:path w="299" h="309">
                  <a:moveTo>
                    <a:pt x="1" y="95"/>
                  </a:moveTo>
                  <a:cubicBezTo>
                    <a:pt x="37" y="94"/>
                    <a:pt x="73" y="102"/>
                    <a:pt x="107" y="121"/>
                  </a:cubicBezTo>
                  <a:cubicBezTo>
                    <a:pt x="162" y="153"/>
                    <a:pt x="196" y="208"/>
                    <a:pt x="204" y="266"/>
                  </a:cubicBezTo>
                  <a:cubicBezTo>
                    <a:pt x="253" y="309"/>
                    <a:pt x="253" y="309"/>
                    <a:pt x="253" y="309"/>
                  </a:cubicBezTo>
                  <a:cubicBezTo>
                    <a:pt x="299" y="268"/>
                    <a:pt x="299" y="268"/>
                    <a:pt x="299" y="268"/>
                  </a:cubicBezTo>
                  <a:cubicBezTo>
                    <a:pt x="287" y="118"/>
                    <a:pt x="161" y="0"/>
                    <a:pt x="7" y="0"/>
                  </a:cubicBezTo>
                  <a:cubicBezTo>
                    <a:pt x="5" y="0"/>
                    <a:pt x="2" y="1"/>
                    <a:pt x="0" y="1"/>
                  </a:cubicBezTo>
                  <a:cubicBezTo>
                    <a:pt x="42" y="48"/>
                    <a:pt x="42" y="48"/>
                    <a:pt x="42" y="48"/>
                  </a:cubicBezTo>
                  <a:lnTo>
                    <a:pt x="1" y="95"/>
                  </a:lnTo>
                  <a:close/>
                </a:path>
              </a:pathLst>
            </a:cu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rgbClr val="0070C0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88000" tIns="0" rIns="0" bIns="0" anchor="ctr"/>
            <a:lstStyle/>
            <a:p>
              <a:pPr defTabSz="801688" eaLnBrk="0" hangingPunct="0">
                <a:defRPr/>
              </a:pPr>
              <a:endParaRPr lang="en-GB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46" name="Freeform 19" descr="© INSCALE GmbH, 26.05.2010&#10;http://www.presentationload.com/"/>
            <p:cNvSpPr>
              <a:spLocks noEditPoints="1"/>
            </p:cNvSpPr>
            <p:nvPr/>
          </p:nvSpPr>
          <p:spPr bwMode="gray">
            <a:xfrm>
              <a:off x="3550920" y="2740894"/>
              <a:ext cx="2029192" cy="1878656"/>
            </a:xfrm>
            <a:custGeom>
              <a:avLst/>
              <a:gdLst/>
              <a:ahLst/>
              <a:cxnLst>
                <a:cxn ang="0">
                  <a:pos x="530" y="84"/>
                </a:cxn>
                <a:cxn ang="0">
                  <a:pos x="1456" y="295"/>
                </a:cxn>
                <a:cxn ang="0">
                  <a:pos x="1519" y="325"/>
                </a:cxn>
                <a:cxn ang="0">
                  <a:pos x="138" y="415"/>
                </a:cxn>
                <a:cxn ang="0">
                  <a:pos x="163" y="444"/>
                </a:cxn>
                <a:cxn ang="0">
                  <a:pos x="1593" y="561"/>
                </a:cxn>
                <a:cxn ang="0">
                  <a:pos x="1645" y="530"/>
                </a:cxn>
                <a:cxn ang="0">
                  <a:pos x="1577" y="574"/>
                </a:cxn>
                <a:cxn ang="0">
                  <a:pos x="1613" y="598"/>
                </a:cxn>
                <a:cxn ang="0">
                  <a:pos x="1564" y="659"/>
                </a:cxn>
                <a:cxn ang="0">
                  <a:pos x="1643" y="814"/>
                </a:cxn>
                <a:cxn ang="0">
                  <a:pos x="1548" y="668"/>
                </a:cxn>
                <a:cxn ang="0">
                  <a:pos x="1555" y="704"/>
                </a:cxn>
                <a:cxn ang="0">
                  <a:pos x="1497" y="687"/>
                </a:cxn>
                <a:cxn ang="0">
                  <a:pos x="1394" y="728"/>
                </a:cxn>
                <a:cxn ang="0">
                  <a:pos x="1516" y="704"/>
                </a:cxn>
                <a:cxn ang="0">
                  <a:pos x="1612" y="784"/>
                </a:cxn>
                <a:cxn ang="0">
                  <a:pos x="1587" y="799"/>
                </a:cxn>
                <a:cxn ang="0">
                  <a:pos x="1694" y="752"/>
                </a:cxn>
                <a:cxn ang="0">
                  <a:pos x="1533" y="725"/>
                </a:cxn>
                <a:cxn ang="0">
                  <a:pos x="1559" y="743"/>
                </a:cxn>
                <a:cxn ang="0">
                  <a:pos x="1550" y="910"/>
                </a:cxn>
                <a:cxn ang="0">
                  <a:pos x="1460" y="828"/>
                </a:cxn>
                <a:cxn ang="0">
                  <a:pos x="1334" y="887"/>
                </a:cxn>
                <a:cxn ang="0">
                  <a:pos x="1340" y="1103"/>
                </a:cxn>
                <a:cxn ang="0">
                  <a:pos x="1473" y="1118"/>
                </a:cxn>
                <a:cxn ang="0">
                  <a:pos x="1581" y="1055"/>
                </a:cxn>
                <a:cxn ang="0">
                  <a:pos x="1649" y="872"/>
                </a:cxn>
                <a:cxn ang="0">
                  <a:pos x="1671" y="902"/>
                </a:cxn>
                <a:cxn ang="0">
                  <a:pos x="1596" y="815"/>
                </a:cxn>
                <a:cxn ang="0">
                  <a:pos x="1510" y="827"/>
                </a:cxn>
                <a:cxn ang="0">
                  <a:pos x="1589" y="865"/>
                </a:cxn>
                <a:cxn ang="0">
                  <a:pos x="1129" y="977"/>
                </a:cxn>
                <a:cxn ang="0">
                  <a:pos x="1121" y="1017"/>
                </a:cxn>
                <a:cxn ang="0">
                  <a:pos x="1073" y="1080"/>
                </a:cxn>
                <a:cxn ang="0">
                  <a:pos x="1345" y="1132"/>
                </a:cxn>
                <a:cxn ang="0">
                  <a:pos x="290" y="1296"/>
                </a:cxn>
                <a:cxn ang="0">
                  <a:pos x="689" y="58"/>
                </a:cxn>
                <a:cxn ang="0">
                  <a:pos x="524" y="26"/>
                </a:cxn>
                <a:cxn ang="0">
                  <a:pos x="231" y="343"/>
                </a:cxn>
                <a:cxn ang="0">
                  <a:pos x="178" y="499"/>
                </a:cxn>
                <a:cxn ang="0">
                  <a:pos x="64" y="623"/>
                </a:cxn>
                <a:cxn ang="0">
                  <a:pos x="193" y="1299"/>
                </a:cxn>
                <a:cxn ang="0">
                  <a:pos x="378" y="1416"/>
                </a:cxn>
                <a:cxn ang="0">
                  <a:pos x="342" y="1349"/>
                </a:cxn>
                <a:cxn ang="0">
                  <a:pos x="248" y="1245"/>
                </a:cxn>
                <a:cxn ang="0">
                  <a:pos x="119" y="767"/>
                </a:cxn>
                <a:cxn ang="0">
                  <a:pos x="139" y="607"/>
                </a:cxn>
                <a:cxn ang="0">
                  <a:pos x="361" y="359"/>
                </a:cxn>
                <a:cxn ang="0">
                  <a:pos x="432" y="296"/>
                </a:cxn>
                <a:cxn ang="0">
                  <a:pos x="474" y="141"/>
                </a:cxn>
                <a:cxn ang="0">
                  <a:pos x="545" y="68"/>
                </a:cxn>
                <a:cxn ang="0">
                  <a:pos x="717" y="64"/>
                </a:cxn>
                <a:cxn ang="0">
                  <a:pos x="1301" y="127"/>
                </a:cxn>
                <a:cxn ang="0">
                  <a:pos x="1393" y="183"/>
                </a:cxn>
                <a:cxn ang="0">
                  <a:pos x="1537" y="308"/>
                </a:cxn>
                <a:cxn ang="0">
                  <a:pos x="1682" y="671"/>
                </a:cxn>
                <a:cxn ang="0">
                  <a:pos x="1238" y="65"/>
                </a:cxn>
                <a:cxn ang="0">
                  <a:pos x="1413" y="215"/>
                </a:cxn>
                <a:cxn ang="0">
                  <a:pos x="1696" y="874"/>
                </a:cxn>
              </a:cxnLst>
              <a:rect l="0" t="0" r="r" b="b"/>
              <a:pathLst>
                <a:path w="1713" h="1537">
                  <a:moveTo>
                    <a:pt x="1152" y="12"/>
                  </a:moveTo>
                  <a:cubicBezTo>
                    <a:pt x="1149" y="12"/>
                    <a:pt x="1146" y="9"/>
                    <a:pt x="1145" y="11"/>
                  </a:cubicBezTo>
                  <a:cubicBezTo>
                    <a:pt x="1146" y="11"/>
                    <a:pt x="1150" y="15"/>
                    <a:pt x="1152" y="12"/>
                  </a:cubicBezTo>
                  <a:close/>
                  <a:moveTo>
                    <a:pt x="719" y="38"/>
                  </a:moveTo>
                  <a:cubicBezTo>
                    <a:pt x="708" y="38"/>
                    <a:pt x="708" y="38"/>
                    <a:pt x="708" y="38"/>
                  </a:cubicBezTo>
                  <a:cubicBezTo>
                    <a:pt x="708" y="41"/>
                    <a:pt x="719" y="43"/>
                    <a:pt x="719" y="38"/>
                  </a:cubicBezTo>
                  <a:close/>
                  <a:moveTo>
                    <a:pt x="763" y="72"/>
                  </a:moveTo>
                  <a:cubicBezTo>
                    <a:pt x="762" y="76"/>
                    <a:pt x="769" y="76"/>
                    <a:pt x="771" y="74"/>
                  </a:cubicBezTo>
                  <a:cubicBezTo>
                    <a:pt x="768" y="74"/>
                    <a:pt x="765" y="70"/>
                    <a:pt x="763" y="72"/>
                  </a:cubicBezTo>
                  <a:close/>
                  <a:moveTo>
                    <a:pt x="775" y="74"/>
                  </a:moveTo>
                  <a:cubicBezTo>
                    <a:pt x="778" y="76"/>
                    <a:pt x="786" y="80"/>
                    <a:pt x="788" y="76"/>
                  </a:cubicBezTo>
                  <a:cubicBezTo>
                    <a:pt x="783" y="77"/>
                    <a:pt x="779" y="72"/>
                    <a:pt x="775" y="74"/>
                  </a:cubicBezTo>
                  <a:close/>
                  <a:moveTo>
                    <a:pt x="530" y="84"/>
                  </a:moveTo>
                  <a:cubicBezTo>
                    <a:pt x="534" y="85"/>
                    <a:pt x="533" y="80"/>
                    <a:pt x="535" y="84"/>
                  </a:cubicBezTo>
                  <a:cubicBezTo>
                    <a:pt x="536" y="83"/>
                    <a:pt x="536" y="83"/>
                    <a:pt x="537" y="83"/>
                  </a:cubicBezTo>
                  <a:cubicBezTo>
                    <a:pt x="536" y="80"/>
                    <a:pt x="537" y="78"/>
                    <a:pt x="538" y="75"/>
                  </a:cubicBezTo>
                  <a:cubicBezTo>
                    <a:pt x="532" y="75"/>
                    <a:pt x="531" y="80"/>
                    <a:pt x="530" y="84"/>
                  </a:cubicBezTo>
                  <a:close/>
                  <a:moveTo>
                    <a:pt x="530" y="88"/>
                  </a:moveTo>
                  <a:cubicBezTo>
                    <a:pt x="530" y="92"/>
                    <a:pt x="532" y="98"/>
                    <a:pt x="527" y="101"/>
                  </a:cubicBezTo>
                  <a:cubicBezTo>
                    <a:pt x="533" y="99"/>
                    <a:pt x="537" y="94"/>
                    <a:pt x="538" y="87"/>
                  </a:cubicBezTo>
                  <a:cubicBezTo>
                    <a:pt x="535" y="87"/>
                    <a:pt x="533" y="90"/>
                    <a:pt x="530" y="88"/>
                  </a:cubicBezTo>
                  <a:close/>
                  <a:moveTo>
                    <a:pt x="1311" y="135"/>
                  </a:moveTo>
                  <a:cubicBezTo>
                    <a:pt x="1308" y="134"/>
                    <a:pt x="1306" y="128"/>
                    <a:pt x="1303" y="130"/>
                  </a:cubicBezTo>
                  <a:cubicBezTo>
                    <a:pt x="1306" y="131"/>
                    <a:pt x="1308" y="138"/>
                    <a:pt x="1311" y="135"/>
                  </a:cubicBezTo>
                  <a:close/>
                  <a:moveTo>
                    <a:pt x="1414" y="226"/>
                  </a:moveTo>
                  <a:cubicBezTo>
                    <a:pt x="1414" y="223"/>
                    <a:pt x="1413" y="221"/>
                    <a:pt x="1410" y="221"/>
                  </a:cubicBezTo>
                  <a:cubicBezTo>
                    <a:pt x="1409" y="225"/>
                    <a:pt x="1413" y="224"/>
                    <a:pt x="1412" y="228"/>
                  </a:cubicBezTo>
                  <a:cubicBezTo>
                    <a:pt x="1406" y="237"/>
                    <a:pt x="1416" y="247"/>
                    <a:pt x="1421" y="252"/>
                  </a:cubicBezTo>
                  <a:cubicBezTo>
                    <a:pt x="1425" y="264"/>
                    <a:pt x="1425" y="274"/>
                    <a:pt x="1434" y="281"/>
                  </a:cubicBezTo>
                  <a:cubicBezTo>
                    <a:pt x="1434" y="279"/>
                    <a:pt x="1431" y="277"/>
                    <a:pt x="1434" y="276"/>
                  </a:cubicBezTo>
                  <a:cubicBezTo>
                    <a:pt x="1436" y="279"/>
                    <a:pt x="1439" y="282"/>
                    <a:pt x="1441" y="287"/>
                  </a:cubicBezTo>
                  <a:cubicBezTo>
                    <a:pt x="1444" y="288"/>
                    <a:pt x="1441" y="283"/>
                    <a:pt x="1444" y="284"/>
                  </a:cubicBezTo>
                  <a:cubicBezTo>
                    <a:pt x="1444" y="290"/>
                    <a:pt x="1454" y="291"/>
                    <a:pt x="1456" y="289"/>
                  </a:cubicBezTo>
                  <a:cubicBezTo>
                    <a:pt x="1458" y="291"/>
                    <a:pt x="1455" y="292"/>
                    <a:pt x="1456" y="295"/>
                  </a:cubicBezTo>
                  <a:cubicBezTo>
                    <a:pt x="1462" y="296"/>
                    <a:pt x="1461" y="304"/>
                    <a:pt x="1468" y="306"/>
                  </a:cubicBezTo>
                  <a:cubicBezTo>
                    <a:pt x="1472" y="301"/>
                    <a:pt x="1466" y="298"/>
                    <a:pt x="1467" y="295"/>
                  </a:cubicBezTo>
                  <a:cubicBezTo>
                    <a:pt x="1469" y="297"/>
                    <a:pt x="1469" y="295"/>
                    <a:pt x="1472" y="296"/>
                  </a:cubicBezTo>
                  <a:cubicBezTo>
                    <a:pt x="1472" y="298"/>
                    <a:pt x="1474" y="298"/>
                    <a:pt x="1473" y="301"/>
                  </a:cubicBezTo>
                  <a:cubicBezTo>
                    <a:pt x="1472" y="301"/>
                    <a:pt x="1472" y="300"/>
                    <a:pt x="1470" y="300"/>
                  </a:cubicBezTo>
                  <a:cubicBezTo>
                    <a:pt x="1470" y="306"/>
                    <a:pt x="1475" y="306"/>
                    <a:pt x="1476" y="311"/>
                  </a:cubicBezTo>
                  <a:cubicBezTo>
                    <a:pt x="1478" y="312"/>
                    <a:pt x="1478" y="310"/>
                    <a:pt x="1479" y="310"/>
                  </a:cubicBezTo>
                  <a:cubicBezTo>
                    <a:pt x="1484" y="311"/>
                    <a:pt x="1483" y="317"/>
                    <a:pt x="1488" y="318"/>
                  </a:cubicBezTo>
                  <a:cubicBezTo>
                    <a:pt x="1491" y="309"/>
                    <a:pt x="1477" y="305"/>
                    <a:pt x="1477" y="300"/>
                  </a:cubicBezTo>
                  <a:cubicBezTo>
                    <a:pt x="1483" y="304"/>
                    <a:pt x="1486" y="309"/>
                    <a:pt x="1494" y="311"/>
                  </a:cubicBezTo>
                  <a:cubicBezTo>
                    <a:pt x="1486" y="299"/>
                    <a:pt x="1477" y="287"/>
                    <a:pt x="1459" y="284"/>
                  </a:cubicBezTo>
                  <a:cubicBezTo>
                    <a:pt x="1456" y="276"/>
                    <a:pt x="1452" y="269"/>
                    <a:pt x="1446" y="263"/>
                  </a:cubicBezTo>
                  <a:cubicBezTo>
                    <a:pt x="1446" y="266"/>
                    <a:pt x="1450" y="268"/>
                    <a:pt x="1447" y="269"/>
                  </a:cubicBezTo>
                  <a:cubicBezTo>
                    <a:pt x="1438" y="262"/>
                    <a:pt x="1428" y="252"/>
                    <a:pt x="1423" y="240"/>
                  </a:cubicBezTo>
                  <a:cubicBezTo>
                    <a:pt x="1423" y="239"/>
                    <a:pt x="1424" y="237"/>
                    <a:pt x="1424" y="237"/>
                  </a:cubicBezTo>
                  <a:cubicBezTo>
                    <a:pt x="1423" y="232"/>
                    <a:pt x="1416" y="223"/>
                    <a:pt x="1414" y="226"/>
                  </a:cubicBezTo>
                  <a:close/>
                  <a:moveTo>
                    <a:pt x="1519" y="325"/>
                  </a:moveTo>
                  <a:cubicBezTo>
                    <a:pt x="1520" y="328"/>
                    <a:pt x="1521" y="329"/>
                    <a:pt x="1524" y="330"/>
                  </a:cubicBezTo>
                  <a:cubicBezTo>
                    <a:pt x="1524" y="326"/>
                    <a:pt x="1521" y="326"/>
                    <a:pt x="1519" y="325"/>
                  </a:cubicBezTo>
                  <a:close/>
                  <a:moveTo>
                    <a:pt x="928" y="336"/>
                  </a:moveTo>
                  <a:cubicBezTo>
                    <a:pt x="928" y="340"/>
                    <a:pt x="935" y="341"/>
                    <a:pt x="934" y="335"/>
                  </a:cubicBezTo>
                  <a:cubicBezTo>
                    <a:pt x="931" y="335"/>
                    <a:pt x="929" y="335"/>
                    <a:pt x="928" y="336"/>
                  </a:cubicBezTo>
                  <a:close/>
                  <a:moveTo>
                    <a:pt x="913" y="346"/>
                  </a:moveTo>
                  <a:cubicBezTo>
                    <a:pt x="916" y="348"/>
                    <a:pt x="922" y="346"/>
                    <a:pt x="922" y="341"/>
                  </a:cubicBezTo>
                  <a:cubicBezTo>
                    <a:pt x="920" y="333"/>
                    <a:pt x="913" y="340"/>
                    <a:pt x="913" y="346"/>
                  </a:cubicBezTo>
                  <a:close/>
                  <a:moveTo>
                    <a:pt x="901" y="344"/>
                  </a:moveTo>
                  <a:cubicBezTo>
                    <a:pt x="904" y="350"/>
                    <a:pt x="894" y="346"/>
                    <a:pt x="893" y="351"/>
                  </a:cubicBezTo>
                  <a:cubicBezTo>
                    <a:pt x="898" y="355"/>
                    <a:pt x="903" y="351"/>
                    <a:pt x="908" y="349"/>
                  </a:cubicBezTo>
                  <a:cubicBezTo>
                    <a:pt x="908" y="345"/>
                    <a:pt x="903" y="346"/>
                    <a:pt x="901" y="344"/>
                  </a:cubicBezTo>
                  <a:close/>
                  <a:moveTo>
                    <a:pt x="901" y="357"/>
                  </a:moveTo>
                  <a:cubicBezTo>
                    <a:pt x="896" y="354"/>
                    <a:pt x="890" y="358"/>
                    <a:pt x="884" y="357"/>
                  </a:cubicBezTo>
                  <a:cubicBezTo>
                    <a:pt x="875" y="364"/>
                    <a:pt x="895" y="369"/>
                    <a:pt x="901" y="364"/>
                  </a:cubicBezTo>
                  <a:cubicBezTo>
                    <a:pt x="899" y="360"/>
                    <a:pt x="897" y="360"/>
                    <a:pt x="901" y="357"/>
                  </a:cubicBezTo>
                  <a:close/>
                  <a:moveTo>
                    <a:pt x="138" y="415"/>
                  </a:moveTo>
                  <a:cubicBezTo>
                    <a:pt x="134" y="415"/>
                    <a:pt x="133" y="417"/>
                    <a:pt x="132" y="420"/>
                  </a:cubicBezTo>
                  <a:cubicBezTo>
                    <a:pt x="136" y="421"/>
                    <a:pt x="137" y="417"/>
                    <a:pt x="138" y="415"/>
                  </a:cubicBezTo>
                  <a:close/>
                  <a:moveTo>
                    <a:pt x="130" y="417"/>
                  </a:moveTo>
                  <a:cubicBezTo>
                    <a:pt x="128" y="421"/>
                    <a:pt x="124" y="422"/>
                    <a:pt x="124" y="429"/>
                  </a:cubicBezTo>
                  <a:cubicBezTo>
                    <a:pt x="129" y="428"/>
                    <a:pt x="130" y="419"/>
                    <a:pt x="130" y="417"/>
                  </a:cubicBezTo>
                  <a:close/>
                  <a:moveTo>
                    <a:pt x="1576" y="428"/>
                  </a:moveTo>
                  <a:cubicBezTo>
                    <a:pt x="1578" y="441"/>
                    <a:pt x="1584" y="458"/>
                    <a:pt x="1592" y="468"/>
                  </a:cubicBezTo>
                  <a:cubicBezTo>
                    <a:pt x="1593" y="451"/>
                    <a:pt x="1585" y="437"/>
                    <a:pt x="1576" y="428"/>
                  </a:cubicBezTo>
                  <a:close/>
                  <a:moveTo>
                    <a:pt x="128" y="436"/>
                  </a:moveTo>
                  <a:cubicBezTo>
                    <a:pt x="127" y="439"/>
                    <a:pt x="123" y="443"/>
                    <a:pt x="124" y="446"/>
                  </a:cubicBezTo>
                  <a:cubicBezTo>
                    <a:pt x="126" y="443"/>
                    <a:pt x="132" y="441"/>
                    <a:pt x="128" y="436"/>
                  </a:cubicBezTo>
                  <a:close/>
                  <a:moveTo>
                    <a:pt x="118" y="437"/>
                  </a:moveTo>
                  <a:cubicBezTo>
                    <a:pt x="117" y="444"/>
                    <a:pt x="110" y="450"/>
                    <a:pt x="111" y="455"/>
                  </a:cubicBezTo>
                  <a:cubicBezTo>
                    <a:pt x="113" y="450"/>
                    <a:pt x="121" y="441"/>
                    <a:pt x="118" y="437"/>
                  </a:cubicBezTo>
                  <a:close/>
                  <a:moveTo>
                    <a:pt x="112" y="495"/>
                  </a:moveTo>
                  <a:cubicBezTo>
                    <a:pt x="113" y="473"/>
                    <a:pt x="139" y="464"/>
                    <a:pt x="146" y="448"/>
                  </a:cubicBezTo>
                  <a:cubicBezTo>
                    <a:pt x="150" y="447"/>
                    <a:pt x="157" y="446"/>
                    <a:pt x="163" y="444"/>
                  </a:cubicBezTo>
                  <a:cubicBezTo>
                    <a:pt x="154" y="432"/>
                    <a:pt x="144" y="446"/>
                    <a:pt x="135" y="450"/>
                  </a:cubicBezTo>
                  <a:cubicBezTo>
                    <a:pt x="128" y="463"/>
                    <a:pt x="116" y="465"/>
                    <a:pt x="111" y="481"/>
                  </a:cubicBezTo>
                  <a:cubicBezTo>
                    <a:pt x="102" y="487"/>
                    <a:pt x="98" y="497"/>
                    <a:pt x="92" y="505"/>
                  </a:cubicBezTo>
                  <a:cubicBezTo>
                    <a:pt x="103" y="506"/>
                    <a:pt x="103" y="496"/>
                    <a:pt x="112" y="495"/>
                  </a:cubicBezTo>
                  <a:close/>
                  <a:moveTo>
                    <a:pt x="146" y="459"/>
                  </a:moveTo>
                  <a:cubicBezTo>
                    <a:pt x="148" y="459"/>
                    <a:pt x="150" y="459"/>
                    <a:pt x="149" y="455"/>
                  </a:cubicBezTo>
                  <a:cubicBezTo>
                    <a:pt x="146" y="455"/>
                    <a:pt x="145" y="456"/>
                    <a:pt x="146" y="459"/>
                  </a:cubicBezTo>
                  <a:close/>
                  <a:moveTo>
                    <a:pt x="92" y="496"/>
                  </a:moveTo>
                  <a:cubicBezTo>
                    <a:pt x="88" y="495"/>
                    <a:pt x="89" y="499"/>
                    <a:pt x="88" y="502"/>
                  </a:cubicBezTo>
                  <a:cubicBezTo>
                    <a:pt x="91" y="502"/>
                    <a:pt x="92" y="499"/>
                    <a:pt x="92" y="496"/>
                  </a:cubicBezTo>
                  <a:close/>
                  <a:moveTo>
                    <a:pt x="1606" y="540"/>
                  </a:moveTo>
                  <a:cubicBezTo>
                    <a:pt x="1603" y="524"/>
                    <a:pt x="1602" y="509"/>
                    <a:pt x="1589" y="502"/>
                  </a:cubicBezTo>
                  <a:cubicBezTo>
                    <a:pt x="1587" y="522"/>
                    <a:pt x="1598" y="536"/>
                    <a:pt x="1598" y="554"/>
                  </a:cubicBezTo>
                  <a:cubicBezTo>
                    <a:pt x="1594" y="553"/>
                    <a:pt x="1591" y="549"/>
                    <a:pt x="1586" y="549"/>
                  </a:cubicBezTo>
                  <a:cubicBezTo>
                    <a:pt x="1582" y="552"/>
                    <a:pt x="1581" y="563"/>
                    <a:pt x="1588" y="564"/>
                  </a:cubicBezTo>
                  <a:cubicBezTo>
                    <a:pt x="1590" y="562"/>
                    <a:pt x="1589" y="557"/>
                    <a:pt x="1591" y="555"/>
                  </a:cubicBezTo>
                  <a:cubicBezTo>
                    <a:pt x="1593" y="557"/>
                    <a:pt x="1592" y="560"/>
                    <a:pt x="1593" y="561"/>
                  </a:cubicBezTo>
                  <a:cubicBezTo>
                    <a:pt x="1597" y="562"/>
                    <a:pt x="1596" y="559"/>
                    <a:pt x="1599" y="559"/>
                  </a:cubicBezTo>
                  <a:cubicBezTo>
                    <a:pt x="1606" y="564"/>
                    <a:pt x="1595" y="578"/>
                    <a:pt x="1604" y="582"/>
                  </a:cubicBezTo>
                  <a:cubicBezTo>
                    <a:pt x="1603" y="575"/>
                    <a:pt x="1609" y="569"/>
                    <a:pt x="1603" y="565"/>
                  </a:cubicBezTo>
                  <a:cubicBezTo>
                    <a:pt x="1607" y="560"/>
                    <a:pt x="1609" y="552"/>
                    <a:pt x="1610" y="543"/>
                  </a:cubicBezTo>
                  <a:cubicBezTo>
                    <a:pt x="1609" y="541"/>
                    <a:pt x="1607" y="541"/>
                    <a:pt x="1606" y="540"/>
                  </a:cubicBezTo>
                  <a:close/>
                  <a:moveTo>
                    <a:pt x="99" y="526"/>
                  </a:moveTo>
                  <a:cubicBezTo>
                    <a:pt x="103" y="523"/>
                    <a:pt x="110" y="519"/>
                    <a:pt x="112" y="511"/>
                  </a:cubicBezTo>
                  <a:cubicBezTo>
                    <a:pt x="106" y="513"/>
                    <a:pt x="98" y="519"/>
                    <a:pt x="99" y="526"/>
                  </a:cubicBezTo>
                  <a:close/>
                  <a:moveTo>
                    <a:pt x="73" y="545"/>
                  </a:moveTo>
                  <a:cubicBezTo>
                    <a:pt x="73" y="537"/>
                    <a:pt x="80" y="533"/>
                    <a:pt x="85" y="533"/>
                  </a:cubicBezTo>
                  <a:cubicBezTo>
                    <a:pt x="86" y="529"/>
                    <a:pt x="88" y="528"/>
                    <a:pt x="89" y="524"/>
                  </a:cubicBezTo>
                  <a:cubicBezTo>
                    <a:pt x="85" y="523"/>
                    <a:pt x="83" y="529"/>
                    <a:pt x="81" y="527"/>
                  </a:cubicBezTo>
                  <a:cubicBezTo>
                    <a:pt x="82" y="521"/>
                    <a:pt x="86" y="517"/>
                    <a:pt x="88" y="512"/>
                  </a:cubicBezTo>
                  <a:cubicBezTo>
                    <a:pt x="73" y="520"/>
                    <a:pt x="67" y="536"/>
                    <a:pt x="59" y="551"/>
                  </a:cubicBezTo>
                  <a:cubicBezTo>
                    <a:pt x="65" y="550"/>
                    <a:pt x="66" y="542"/>
                    <a:pt x="73" y="545"/>
                  </a:cubicBezTo>
                  <a:close/>
                  <a:moveTo>
                    <a:pt x="1658" y="557"/>
                  </a:moveTo>
                  <a:cubicBezTo>
                    <a:pt x="1659" y="547"/>
                    <a:pt x="1652" y="532"/>
                    <a:pt x="1645" y="530"/>
                  </a:cubicBezTo>
                  <a:cubicBezTo>
                    <a:pt x="1650" y="539"/>
                    <a:pt x="1650" y="552"/>
                    <a:pt x="1658" y="557"/>
                  </a:cubicBezTo>
                  <a:close/>
                  <a:moveTo>
                    <a:pt x="53" y="556"/>
                  </a:moveTo>
                  <a:cubicBezTo>
                    <a:pt x="53" y="562"/>
                    <a:pt x="47" y="562"/>
                    <a:pt x="47" y="569"/>
                  </a:cubicBezTo>
                  <a:cubicBezTo>
                    <a:pt x="50" y="570"/>
                    <a:pt x="56" y="561"/>
                    <a:pt x="53" y="556"/>
                  </a:cubicBezTo>
                  <a:close/>
                  <a:moveTo>
                    <a:pt x="1578" y="581"/>
                  </a:moveTo>
                  <a:cubicBezTo>
                    <a:pt x="1575" y="583"/>
                    <a:pt x="1573" y="586"/>
                    <a:pt x="1574" y="592"/>
                  </a:cubicBezTo>
                  <a:cubicBezTo>
                    <a:pt x="1579" y="593"/>
                    <a:pt x="1579" y="589"/>
                    <a:pt x="1582" y="588"/>
                  </a:cubicBezTo>
                  <a:cubicBezTo>
                    <a:pt x="1584" y="592"/>
                    <a:pt x="1583" y="598"/>
                    <a:pt x="1586" y="601"/>
                  </a:cubicBezTo>
                  <a:cubicBezTo>
                    <a:pt x="1586" y="598"/>
                    <a:pt x="1584" y="593"/>
                    <a:pt x="1587" y="592"/>
                  </a:cubicBezTo>
                  <a:cubicBezTo>
                    <a:pt x="1592" y="600"/>
                    <a:pt x="1584" y="615"/>
                    <a:pt x="1595" y="617"/>
                  </a:cubicBezTo>
                  <a:cubicBezTo>
                    <a:pt x="1597" y="608"/>
                    <a:pt x="1590" y="604"/>
                    <a:pt x="1593" y="597"/>
                  </a:cubicBezTo>
                  <a:cubicBezTo>
                    <a:pt x="1596" y="597"/>
                    <a:pt x="1596" y="601"/>
                    <a:pt x="1598" y="599"/>
                  </a:cubicBezTo>
                  <a:cubicBezTo>
                    <a:pt x="1598" y="592"/>
                    <a:pt x="1597" y="587"/>
                    <a:pt x="1596" y="582"/>
                  </a:cubicBezTo>
                  <a:cubicBezTo>
                    <a:pt x="1595" y="581"/>
                    <a:pt x="1592" y="583"/>
                    <a:pt x="1588" y="582"/>
                  </a:cubicBezTo>
                  <a:cubicBezTo>
                    <a:pt x="1587" y="586"/>
                    <a:pt x="1593" y="589"/>
                    <a:pt x="1589" y="592"/>
                  </a:cubicBezTo>
                  <a:cubicBezTo>
                    <a:pt x="1588" y="590"/>
                    <a:pt x="1586" y="581"/>
                    <a:pt x="1584" y="586"/>
                  </a:cubicBezTo>
                  <a:cubicBezTo>
                    <a:pt x="1582" y="581"/>
                    <a:pt x="1578" y="579"/>
                    <a:pt x="1577" y="574"/>
                  </a:cubicBezTo>
                  <a:cubicBezTo>
                    <a:pt x="1579" y="573"/>
                    <a:pt x="1581" y="572"/>
                    <a:pt x="1583" y="572"/>
                  </a:cubicBezTo>
                  <a:cubicBezTo>
                    <a:pt x="1579" y="549"/>
                    <a:pt x="1561" y="585"/>
                    <a:pt x="1578" y="581"/>
                  </a:cubicBezTo>
                  <a:close/>
                  <a:moveTo>
                    <a:pt x="1587" y="632"/>
                  </a:moveTo>
                  <a:cubicBezTo>
                    <a:pt x="1590" y="635"/>
                    <a:pt x="1593" y="642"/>
                    <a:pt x="1598" y="640"/>
                  </a:cubicBezTo>
                  <a:cubicBezTo>
                    <a:pt x="1597" y="631"/>
                    <a:pt x="1590" y="628"/>
                    <a:pt x="1588" y="620"/>
                  </a:cubicBezTo>
                  <a:cubicBezTo>
                    <a:pt x="1578" y="618"/>
                    <a:pt x="1579" y="606"/>
                    <a:pt x="1572" y="600"/>
                  </a:cubicBezTo>
                  <a:cubicBezTo>
                    <a:pt x="1573" y="599"/>
                    <a:pt x="1575" y="599"/>
                    <a:pt x="1574" y="596"/>
                  </a:cubicBezTo>
                  <a:cubicBezTo>
                    <a:pt x="1570" y="593"/>
                    <a:pt x="1569" y="599"/>
                    <a:pt x="1565" y="599"/>
                  </a:cubicBezTo>
                  <a:cubicBezTo>
                    <a:pt x="1568" y="613"/>
                    <a:pt x="1561" y="624"/>
                    <a:pt x="1568" y="633"/>
                  </a:cubicBezTo>
                  <a:cubicBezTo>
                    <a:pt x="1569" y="632"/>
                    <a:pt x="1569" y="630"/>
                    <a:pt x="1571" y="629"/>
                  </a:cubicBezTo>
                  <a:cubicBezTo>
                    <a:pt x="1574" y="635"/>
                    <a:pt x="1569" y="638"/>
                    <a:pt x="1570" y="645"/>
                  </a:cubicBezTo>
                  <a:cubicBezTo>
                    <a:pt x="1579" y="651"/>
                    <a:pt x="1586" y="643"/>
                    <a:pt x="1587" y="632"/>
                  </a:cubicBezTo>
                  <a:close/>
                  <a:moveTo>
                    <a:pt x="1579" y="595"/>
                  </a:moveTo>
                  <a:cubicBezTo>
                    <a:pt x="1580" y="597"/>
                    <a:pt x="1579" y="601"/>
                    <a:pt x="1583" y="600"/>
                  </a:cubicBezTo>
                  <a:cubicBezTo>
                    <a:pt x="1583" y="598"/>
                    <a:pt x="1583" y="596"/>
                    <a:pt x="1582" y="595"/>
                  </a:cubicBezTo>
                  <a:lnTo>
                    <a:pt x="1579" y="595"/>
                  </a:lnTo>
                  <a:close/>
                  <a:moveTo>
                    <a:pt x="1613" y="598"/>
                  </a:moveTo>
                  <a:cubicBezTo>
                    <a:pt x="1612" y="620"/>
                    <a:pt x="1625" y="632"/>
                    <a:pt x="1631" y="649"/>
                  </a:cubicBezTo>
                  <a:cubicBezTo>
                    <a:pt x="1629" y="634"/>
                    <a:pt x="1621" y="624"/>
                    <a:pt x="1616" y="612"/>
                  </a:cubicBezTo>
                  <a:cubicBezTo>
                    <a:pt x="1620" y="608"/>
                    <a:pt x="1616" y="600"/>
                    <a:pt x="1613" y="598"/>
                  </a:cubicBezTo>
                  <a:close/>
                  <a:moveTo>
                    <a:pt x="54" y="629"/>
                  </a:moveTo>
                  <a:cubicBezTo>
                    <a:pt x="55" y="628"/>
                    <a:pt x="58" y="623"/>
                    <a:pt x="55" y="621"/>
                  </a:cubicBezTo>
                  <a:cubicBezTo>
                    <a:pt x="55" y="623"/>
                    <a:pt x="52" y="627"/>
                    <a:pt x="54" y="629"/>
                  </a:cubicBezTo>
                  <a:close/>
                  <a:moveTo>
                    <a:pt x="1310" y="675"/>
                  </a:moveTo>
                  <a:cubicBezTo>
                    <a:pt x="1314" y="674"/>
                    <a:pt x="1312" y="666"/>
                    <a:pt x="1314" y="662"/>
                  </a:cubicBezTo>
                  <a:cubicBezTo>
                    <a:pt x="1323" y="662"/>
                    <a:pt x="1324" y="654"/>
                    <a:pt x="1334" y="655"/>
                  </a:cubicBezTo>
                  <a:cubicBezTo>
                    <a:pt x="1334" y="652"/>
                    <a:pt x="1334" y="648"/>
                    <a:pt x="1331" y="648"/>
                  </a:cubicBezTo>
                  <a:cubicBezTo>
                    <a:pt x="1324" y="656"/>
                    <a:pt x="1293" y="662"/>
                    <a:pt x="1310" y="675"/>
                  </a:cubicBezTo>
                  <a:close/>
                  <a:moveTo>
                    <a:pt x="1601" y="655"/>
                  </a:moveTo>
                  <a:cubicBezTo>
                    <a:pt x="1600" y="653"/>
                    <a:pt x="1601" y="649"/>
                    <a:pt x="1597" y="649"/>
                  </a:cubicBezTo>
                  <a:cubicBezTo>
                    <a:pt x="1595" y="651"/>
                    <a:pt x="1596" y="656"/>
                    <a:pt x="1598" y="657"/>
                  </a:cubicBezTo>
                  <a:cubicBezTo>
                    <a:pt x="1598" y="656"/>
                    <a:pt x="1600" y="656"/>
                    <a:pt x="1601" y="655"/>
                  </a:cubicBezTo>
                  <a:close/>
                  <a:moveTo>
                    <a:pt x="1561" y="650"/>
                  </a:moveTo>
                  <a:cubicBezTo>
                    <a:pt x="1560" y="654"/>
                    <a:pt x="1561" y="658"/>
                    <a:pt x="1564" y="659"/>
                  </a:cubicBezTo>
                  <a:cubicBezTo>
                    <a:pt x="1563" y="656"/>
                    <a:pt x="1565" y="650"/>
                    <a:pt x="1561" y="650"/>
                  </a:cubicBezTo>
                  <a:close/>
                  <a:moveTo>
                    <a:pt x="1376" y="658"/>
                  </a:moveTo>
                  <a:cubicBezTo>
                    <a:pt x="1375" y="655"/>
                    <a:pt x="1373" y="652"/>
                    <a:pt x="1369" y="652"/>
                  </a:cubicBezTo>
                  <a:cubicBezTo>
                    <a:pt x="1365" y="657"/>
                    <a:pt x="1372" y="661"/>
                    <a:pt x="1376" y="658"/>
                  </a:cubicBezTo>
                  <a:close/>
                  <a:moveTo>
                    <a:pt x="1573" y="656"/>
                  </a:moveTo>
                  <a:cubicBezTo>
                    <a:pt x="1573" y="659"/>
                    <a:pt x="1574" y="660"/>
                    <a:pt x="1575" y="661"/>
                  </a:cubicBezTo>
                  <a:cubicBezTo>
                    <a:pt x="1577" y="659"/>
                    <a:pt x="1576" y="655"/>
                    <a:pt x="1573" y="656"/>
                  </a:cubicBezTo>
                  <a:close/>
                  <a:moveTo>
                    <a:pt x="1606" y="656"/>
                  </a:moveTo>
                  <a:cubicBezTo>
                    <a:pt x="1606" y="659"/>
                    <a:pt x="1607" y="661"/>
                    <a:pt x="1609" y="663"/>
                  </a:cubicBezTo>
                  <a:cubicBezTo>
                    <a:pt x="1611" y="661"/>
                    <a:pt x="1608" y="659"/>
                    <a:pt x="1609" y="656"/>
                  </a:cubicBezTo>
                  <a:lnTo>
                    <a:pt x="1606" y="656"/>
                  </a:lnTo>
                  <a:close/>
                  <a:moveTo>
                    <a:pt x="1623" y="742"/>
                  </a:moveTo>
                  <a:cubicBezTo>
                    <a:pt x="1623" y="744"/>
                    <a:pt x="1619" y="741"/>
                    <a:pt x="1620" y="744"/>
                  </a:cubicBezTo>
                  <a:cubicBezTo>
                    <a:pt x="1621" y="755"/>
                    <a:pt x="1634" y="764"/>
                    <a:pt x="1624" y="774"/>
                  </a:cubicBezTo>
                  <a:cubicBezTo>
                    <a:pt x="1626" y="789"/>
                    <a:pt x="1627" y="807"/>
                    <a:pt x="1635" y="816"/>
                  </a:cubicBezTo>
                  <a:cubicBezTo>
                    <a:pt x="1634" y="813"/>
                    <a:pt x="1634" y="809"/>
                    <a:pt x="1636" y="806"/>
                  </a:cubicBezTo>
                  <a:cubicBezTo>
                    <a:pt x="1639" y="807"/>
                    <a:pt x="1640" y="812"/>
                    <a:pt x="1643" y="814"/>
                  </a:cubicBezTo>
                  <a:cubicBezTo>
                    <a:pt x="1644" y="812"/>
                    <a:pt x="1644" y="809"/>
                    <a:pt x="1646" y="810"/>
                  </a:cubicBezTo>
                  <a:cubicBezTo>
                    <a:pt x="1647" y="814"/>
                    <a:pt x="1649" y="818"/>
                    <a:pt x="1652" y="820"/>
                  </a:cubicBezTo>
                  <a:cubicBezTo>
                    <a:pt x="1652" y="817"/>
                    <a:pt x="1652" y="814"/>
                    <a:pt x="1654" y="813"/>
                  </a:cubicBezTo>
                  <a:cubicBezTo>
                    <a:pt x="1654" y="819"/>
                    <a:pt x="1656" y="822"/>
                    <a:pt x="1660" y="824"/>
                  </a:cubicBezTo>
                  <a:cubicBezTo>
                    <a:pt x="1662" y="802"/>
                    <a:pt x="1680" y="782"/>
                    <a:pt x="1666" y="762"/>
                  </a:cubicBezTo>
                  <a:cubicBezTo>
                    <a:pt x="1665" y="761"/>
                    <a:pt x="1661" y="763"/>
                    <a:pt x="1661" y="761"/>
                  </a:cubicBezTo>
                  <a:cubicBezTo>
                    <a:pt x="1665" y="735"/>
                    <a:pt x="1644" y="720"/>
                    <a:pt x="1644" y="691"/>
                  </a:cubicBezTo>
                  <a:cubicBezTo>
                    <a:pt x="1634" y="685"/>
                    <a:pt x="1638" y="666"/>
                    <a:pt x="1630" y="658"/>
                  </a:cubicBezTo>
                  <a:cubicBezTo>
                    <a:pt x="1627" y="666"/>
                    <a:pt x="1621" y="668"/>
                    <a:pt x="1614" y="671"/>
                  </a:cubicBezTo>
                  <a:cubicBezTo>
                    <a:pt x="1614" y="677"/>
                    <a:pt x="1618" y="677"/>
                    <a:pt x="1621" y="680"/>
                  </a:cubicBezTo>
                  <a:cubicBezTo>
                    <a:pt x="1622" y="684"/>
                    <a:pt x="1618" y="683"/>
                    <a:pt x="1619" y="687"/>
                  </a:cubicBezTo>
                  <a:cubicBezTo>
                    <a:pt x="1621" y="689"/>
                    <a:pt x="1624" y="689"/>
                    <a:pt x="1625" y="690"/>
                  </a:cubicBezTo>
                  <a:cubicBezTo>
                    <a:pt x="1623" y="696"/>
                    <a:pt x="1628" y="708"/>
                    <a:pt x="1620" y="710"/>
                  </a:cubicBezTo>
                  <a:cubicBezTo>
                    <a:pt x="1620" y="714"/>
                    <a:pt x="1621" y="715"/>
                    <a:pt x="1621" y="719"/>
                  </a:cubicBezTo>
                  <a:cubicBezTo>
                    <a:pt x="1618" y="721"/>
                    <a:pt x="1616" y="726"/>
                    <a:pt x="1614" y="731"/>
                  </a:cubicBezTo>
                  <a:cubicBezTo>
                    <a:pt x="1617" y="735"/>
                    <a:pt x="1623" y="735"/>
                    <a:pt x="1623" y="742"/>
                  </a:cubicBezTo>
                  <a:close/>
                  <a:moveTo>
                    <a:pt x="1548" y="668"/>
                  </a:moveTo>
                  <a:cubicBezTo>
                    <a:pt x="1547" y="667"/>
                    <a:pt x="1547" y="667"/>
                    <a:pt x="1547" y="666"/>
                  </a:cubicBezTo>
                  <a:cubicBezTo>
                    <a:pt x="1542" y="666"/>
                    <a:pt x="1542" y="666"/>
                    <a:pt x="1542" y="666"/>
                  </a:cubicBezTo>
                  <a:cubicBezTo>
                    <a:pt x="1542" y="668"/>
                    <a:pt x="1542" y="670"/>
                    <a:pt x="1543" y="671"/>
                  </a:cubicBezTo>
                  <a:cubicBezTo>
                    <a:pt x="1546" y="672"/>
                    <a:pt x="1548" y="670"/>
                    <a:pt x="1548" y="668"/>
                  </a:cubicBezTo>
                  <a:close/>
                  <a:moveTo>
                    <a:pt x="1350" y="702"/>
                  </a:moveTo>
                  <a:cubicBezTo>
                    <a:pt x="1351" y="700"/>
                    <a:pt x="1354" y="700"/>
                    <a:pt x="1353" y="697"/>
                  </a:cubicBezTo>
                  <a:cubicBezTo>
                    <a:pt x="1346" y="688"/>
                    <a:pt x="1330" y="688"/>
                    <a:pt x="1324" y="677"/>
                  </a:cubicBezTo>
                  <a:cubicBezTo>
                    <a:pt x="1325" y="675"/>
                    <a:pt x="1329" y="676"/>
                    <a:pt x="1328" y="672"/>
                  </a:cubicBezTo>
                  <a:cubicBezTo>
                    <a:pt x="1326" y="669"/>
                    <a:pt x="1324" y="666"/>
                    <a:pt x="1317" y="667"/>
                  </a:cubicBezTo>
                  <a:cubicBezTo>
                    <a:pt x="1310" y="689"/>
                    <a:pt x="1330" y="700"/>
                    <a:pt x="1350" y="702"/>
                  </a:cubicBezTo>
                  <a:close/>
                  <a:moveTo>
                    <a:pt x="1274" y="691"/>
                  </a:moveTo>
                  <a:cubicBezTo>
                    <a:pt x="1282" y="690"/>
                    <a:pt x="1291" y="682"/>
                    <a:pt x="1293" y="671"/>
                  </a:cubicBezTo>
                  <a:cubicBezTo>
                    <a:pt x="1287" y="669"/>
                    <a:pt x="1272" y="680"/>
                    <a:pt x="1274" y="691"/>
                  </a:cubicBezTo>
                  <a:close/>
                  <a:moveTo>
                    <a:pt x="1541" y="696"/>
                  </a:moveTo>
                  <a:cubicBezTo>
                    <a:pt x="1546" y="696"/>
                    <a:pt x="1547" y="698"/>
                    <a:pt x="1547" y="702"/>
                  </a:cubicBezTo>
                  <a:cubicBezTo>
                    <a:pt x="1547" y="705"/>
                    <a:pt x="1542" y="703"/>
                    <a:pt x="1542" y="707"/>
                  </a:cubicBezTo>
                  <a:cubicBezTo>
                    <a:pt x="1546" y="712"/>
                    <a:pt x="1552" y="706"/>
                    <a:pt x="1555" y="704"/>
                  </a:cubicBezTo>
                  <a:cubicBezTo>
                    <a:pt x="1558" y="695"/>
                    <a:pt x="1557" y="681"/>
                    <a:pt x="1550" y="672"/>
                  </a:cubicBezTo>
                  <a:cubicBezTo>
                    <a:pt x="1548" y="680"/>
                    <a:pt x="1553" y="687"/>
                    <a:pt x="1551" y="692"/>
                  </a:cubicBezTo>
                  <a:cubicBezTo>
                    <a:pt x="1546" y="691"/>
                    <a:pt x="1549" y="682"/>
                    <a:pt x="1541" y="684"/>
                  </a:cubicBezTo>
                  <a:cubicBezTo>
                    <a:pt x="1540" y="689"/>
                    <a:pt x="1542" y="692"/>
                    <a:pt x="1541" y="696"/>
                  </a:cubicBezTo>
                  <a:close/>
                  <a:moveTo>
                    <a:pt x="207" y="678"/>
                  </a:moveTo>
                  <a:cubicBezTo>
                    <a:pt x="204" y="678"/>
                    <a:pt x="204" y="678"/>
                    <a:pt x="204" y="678"/>
                  </a:cubicBezTo>
                  <a:cubicBezTo>
                    <a:pt x="204" y="683"/>
                    <a:pt x="201" y="684"/>
                    <a:pt x="198" y="684"/>
                  </a:cubicBezTo>
                  <a:cubicBezTo>
                    <a:pt x="198" y="688"/>
                    <a:pt x="198" y="688"/>
                    <a:pt x="198" y="688"/>
                  </a:cubicBezTo>
                  <a:cubicBezTo>
                    <a:pt x="203" y="686"/>
                    <a:pt x="200" y="692"/>
                    <a:pt x="202" y="694"/>
                  </a:cubicBezTo>
                  <a:cubicBezTo>
                    <a:pt x="204" y="694"/>
                    <a:pt x="206" y="693"/>
                    <a:pt x="207" y="693"/>
                  </a:cubicBezTo>
                  <a:cubicBezTo>
                    <a:pt x="208" y="689"/>
                    <a:pt x="206" y="687"/>
                    <a:pt x="205" y="686"/>
                  </a:cubicBezTo>
                  <a:cubicBezTo>
                    <a:pt x="212" y="685"/>
                    <a:pt x="204" y="681"/>
                    <a:pt x="207" y="678"/>
                  </a:cubicBezTo>
                  <a:close/>
                  <a:moveTo>
                    <a:pt x="1525" y="706"/>
                  </a:moveTo>
                  <a:cubicBezTo>
                    <a:pt x="1526" y="704"/>
                    <a:pt x="1528" y="703"/>
                    <a:pt x="1527" y="699"/>
                  </a:cubicBezTo>
                  <a:cubicBezTo>
                    <a:pt x="1525" y="697"/>
                    <a:pt x="1525" y="701"/>
                    <a:pt x="1522" y="700"/>
                  </a:cubicBezTo>
                  <a:cubicBezTo>
                    <a:pt x="1519" y="695"/>
                    <a:pt x="1516" y="689"/>
                    <a:pt x="1511" y="685"/>
                  </a:cubicBezTo>
                  <a:cubicBezTo>
                    <a:pt x="1506" y="687"/>
                    <a:pt x="1501" y="686"/>
                    <a:pt x="1497" y="687"/>
                  </a:cubicBezTo>
                  <a:cubicBezTo>
                    <a:pt x="1494" y="692"/>
                    <a:pt x="1496" y="701"/>
                    <a:pt x="1492" y="706"/>
                  </a:cubicBezTo>
                  <a:cubicBezTo>
                    <a:pt x="1491" y="706"/>
                    <a:pt x="1491" y="704"/>
                    <a:pt x="1490" y="704"/>
                  </a:cubicBezTo>
                  <a:cubicBezTo>
                    <a:pt x="1489" y="708"/>
                    <a:pt x="1489" y="710"/>
                    <a:pt x="1486" y="711"/>
                  </a:cubicBezTo>
                  <a:cubicBezTo>
                    <a:pt x="1479" y="708"/>
                    <a:pt x="1475" y="703"/>
                    <a:pt x="1476" y="694"/>
                  </a:cubicBezTo>
                  <a:cubicBezTo>
                    <a:pt x="1473" y="692"/>
                    <a:pt x="1469" y="691"/>
                    <a:pt x="1468" y="688"/>
                  </a:cubicBezTo>
                  <a:cubicBezTo>
                    <a:pt x="1471" y="685"/>
                    <a:pt x="1465" y="682"/>
                    <a:pt x="1465" y="680"/>
                  </a:cubicBezTo>
                  <a:cubicBezTo>
                    <a:pt x="1434" y="684"/>
                    <a:pt x="1406" y="677"/>
                    <a:pt x="1382" y="690"/>
                  </a:cubicBezTo>
                  <a:cubicBezTo>
                    <a:pt x="1382" y="694"/>
                    <a:pt x="1382" y="698"/>
                    <a:pt x="1379" y="699"/>
                  </a:cubicBezTo>
                  <a:cubicBezTo>
                    <a:pt x="1375" y="699"/>
                    <a:pt x="1366" y="699"/>
                    <a:pt x="1362" y="701"/>
                  </a:cubicBezTo>
                  <a:cubicBezTo>
                    <a:pt x="1361" y="708"/>
                    <a:pt x="1367" y="708"/>
                    <a:pt x="1368" y="714"/>
                  </a:cubicBezTo>
                  <a:cubicBezTo>
                    <a:pt x="1365" y="718"/>
                    <a:pt x="1361" y="719"/>
                    <a:pt x="1356" y="721"/>
                  </a:cubicBezTo>
                  <a:cubicBezTo>
                    <a:pt x="1355" y="729"/>
                    <a:pt x="1350" y="733"/>
                    <a:pt x="1343" y="729"/>
                  </a:cubicBezTo>
                  <a:cubicBezTo>
                    <a:pt x="1343" y="732"/>
                    <a:pt x="1343" y="735"/>
                    <a:pt x="1342" y="736"/>
                  </a:cubicBezTo>
                  <a:cubicBezTo>
                    <a:pt x="1334" y="737"/>
                    <a:pt x="1330" y="742"/>
                    <a:pt x="1328" y="749"/>
                  </a:cubicBezTo>
                  <a:cubicBezTo>
                    <a:pt x="1342" y="740"/>
                    <a:pt x="1361" y="759"/>
                    <a:pt x="1367" y="739"/>
                  </a:cubicBezTo>
                  <a:cubicBezTo>
                    <a:pt x="1372" y="739"/>
                    <a:pt x="1372" y="739"/>
                    <a:pt x="1372" y="739"/>
                  </a:cubicBezTo>
                  <a:cubicBezTo>
                    <a:pt x="1371" y="726"/>
                    <a:pt x="1388" y="734"/>
                    <a:pt x="1394" y="728"/>
                  </a:cubicBezTo>
                  <a:cubicBezTo>
                    <a:pt x="1395" y="733"/>
                    <a:pt x="1401" y="732"/>
                    <a:pt x="1400" y="740"/>
                  </a:cubicBezTo>
                  <a:cubicBezTo>
                    <a:pt x="1402" y="742"/>
                    <a:pt x="1408" y="741"/>
                    <a:pt x="1409" y="744"/>
                  </a:cubicBezTo>
                  <a:cubicBezTo>
                    <a:pt x="1407" y="746"/>
                    <a:pt x="1402" y="744"/>
                    <a:pt x="1402" y="748"/>
                  </a:cubicBezTo>
                  <a:cubicBezTo>
                    <a:pt x="1404" y="752"/>
                    <a:pt x="1406" y="754"/>
                    <a:pt x="1409" y="756"/>
                  </a:cubicBezTo>
                  <a:cubicBezTo>
                    <a:pt x="1415" y="753"/>
                    <a:pt x="1419" y="760"/>
                    <a:pt x="1424" y="760"/>
                  </a:cubicBezTo>
                  <a:cubicBezTo>
                    <a:pt x="1430" y="760"/>
                    <a:pt x="1432" y="755"/>
                    <a:pt x="1437" y="751"/>
                  </a:cubicBezTo>
                  <a:cubicBezTo>
                    <a:pt x="1442" y="756"/>
                    <a:pt x="1449" y="760"/>
                    <a:pt x="1456" y="763"/>
                  </a:cubicBezTo>
                  <a:cubicBezTo>
                    <a:pt x="1458" y="752"/>
                    <a:pt x="1452" y="749"/>
                    <a:pt x="1447" y="745"/>
                  </a:cubicBezTo>
                  <a:cubicBezTo>
                    <a:pt x="1450" y="740"/>
                    <a:pt x="1452" y="736"/>
                    <a:pt x="1454" y="728"/>
                  </a:cubicBezTo>
                  <a:cubicBezTo>
                    <a:pt x="1463" y="726"/>
                    <a:pt x="1476" y="721"/>
                    <a:pt x="1484" y="726"/>
                  </a:cubicBezTo>
                  <a:cubicBezTo>
                    <a:pt x="1488" y="722"/>
                    <a:pt x="1496" y="722"/>
                    <a:pt x="1499" y="719"/>
                  </a:cubicBezTo>
                  <a:cubicBezTo>
                    <a:pt x="1501" y="724"/>
                    <a:pt x="1500" y="731"/>
                    <a:pt x="1506" y="731"/>
                  </a:cubicBezTo>
                  <a:cubicBezTo>
                    <a:pt x="1506" y="722"/>
                    <a:pt x="1506" y="722"/>
                    <a:pt x="1506" y="722"/>
                  </a:cubicBezTo>
                  <a:cubicBezTo>
                    <a:pt x="1507" y="719"/>
                    <a:pt x="1514" y="722"/>
                    <a:pt x="1514" y="719"/>
                  </a:cubicBezTo>
                  <a:cubicBezTo>
                    <a:pt x="1510" y="713"/>
                    <a:pt x="1503" y="710"/>
                    <a:pt x="1497" y="705"/>
                  </a:cubicBezTo>
                  <a:cubicBezTo>
                    <a:pt x="1504" y="701"/>
                    <a:pt x="1507" y="712"/>
                    <a:pt x="1513" y="710"/>
                  </a:cubicBezTo>
                  <a:cubicBezTo>
                    <a:pt x="1515" y="710"/>
                    <a:pt x="1514" y="705"/>
                    <a:pt x="1516" y="704"/>
                  </a:cubicBezTo>
                  <a:cubicBezTo>
                    <a:pt x="1519" y="705"/>
                    <a:pt x="1521" y="707"/>
                    <a:pt x="1525" y="706"/>
                  </a:cubicBezTo>
                  <a:close/>
                  <a:moveTo>
                    <a:pt x="1262" y="683"/>
                  </a:moveTo>
                  <a:cubicBezTo>
                    <a:pt x="1262" y="689"/>
                    <a:pt x="1262" y="689"/>
                    <a:pt x="1262" y="689"/>
                  </a:cubicBezTo>
                  <a:cubicBezTo>
                    <a:pt x="1265" y="689"/>
                    <a:pt x="1267" y="687"/>
                    <a:pt x="1267" y="684"/>
                  </a:cubicBezTo>
                  <a:cubicBezTo>
                    <a:pt x="1266" y="683"/>
                    <a:pt x="1264" y="683"/>
                    <a:pt x="1262" y="683"/>
                  </a:cubicBezTo>
                  <a:close/>
                  <a:moveTo>
                    <a:pt x="1232" y="697"/>
                  </a:moveTo>
                  <a:cubicBezTo>
                    <a:pt x="1239" y="696"/>
                    <a:pt x="1246" y="694"/>
                    <a:pt x="1248" y="687"/>
                  </a:cubicBezTo>
                  <a:cubicBezTo>
                    <a:pt x="1241" y="688"/>
                    <a:pt x="1234" y="691"/>
                    <a:pt x="1232" y="697"/>
                  </a:cubicBezTo>
                  <a:close/>
                  <a:moveTo>
                    <a:pt x="196" y="694"/>
                  </a:moveTo>
                  <a:cubicBezTo>
                    <a:pt x="199" y="694"/>
                    <a:pt x="199" y="689"/>
                    <a:pt x="196" y="689"/>
                  </a:cubicBezTo>
                  <a:cubicBezTo>
                    <a:pt x="196" y="690"/>
                    <a:pt x="195" y="691"/>
                    <a:pt x="196" y="694"/>
                  </a:cubicBezTo>
                  <a:close/>
                  <a:moveTo>
                    <a:pt x="1222" y="693"/>
                  </a:moveTo>
                  <a:cubicBezTo>
                    <a:pt x="1217" y="695"/>
                    <a:pt x="1211" y="703"/>
                    <a:pt x="1214" y="706"/>
                  </a:cubicBezTo>
                  <a:cubicBezTo>
                    <a:pt x="1219" y="704"/>
                    <a:pt x="1226" y="700"/>
                    <a:pt x="1222" y="693"/>
                  </a:cubicBezTo>
                  <a:close/>
                  <a:moveTo>
                    <a:pt x="1604" y="812"/>
                  </a:moveTo>
                  <a:cubicBezTo>
                    <a:pt x="1609" y="805"/>
                    <a:pt x="1603" y="789"/>
                    <a:pt x="1609" y="781"/>
                  </a:cubicBezTo>
                  <a:cubicBezTo>
                    <a:pt x="1611" y="781"/>
                    <a:pt x="1609" y="785"/>
                    <a:pt x="1612" y="784"/>
                  </a:cubicBezTo>
                  <a:cubicBezTo>
                    <a:pt x="1615" y="776"/>
                    <a:pt x="1615" y="767"/>
                    <a:pt x="1611" y="762"/>
                  </a:cubicBezTo>
                  <a:cubicBezTo>
                    <a:pt x="1616" y="746"/>
                    <a:pt x="1609" y="726"/>
                    <a:pt x="1604" y="712"/>
                  </a:cubicBezTo>
                  <a:cubicBezTo>
                    <a:pt x="1594" y="717"/>
                    <a:pt x="1588" y="707"/>
                    <a:pt x="1581" y="704"/>
                  </a:cubicBezTo>
                  <a:cubicBezTo>
                    <a:pt x="1580" y="699"/>
                    <a:pt x="1575" y="693"/>
                    <a:pt x="1571" y="694"/>
                  </a:cubicBezTo>
                  <a:cubicBezTo>
                    <a:pt x="1574" y="703"/>
                    <a:pt x="1577" y="714"/>
                    <a:pt x="1587" y="718"/>
                  </a:cubicBezTo>
                  <a:cubicBezTo>
                    <a:pt x="1589" y="719"/>
                    <a:pt x="1592" y="716"/>
                    <a:pt x="1595" y="718"/>
                  </a:cubicBezTo>
                  <a:cubicBezTo>
                    <a:pt x="1597" y="718"/>
                    <a:pt x="1597" y="722"/>
                    <a:pt x="1598" y="723"/>
                  </a:cubicBezTo>
                  <a:cubicBezTo>
                    <a:pt x="1601" y="726"/>
                    <a:pt x="1604" y="724"/>
                    <a:pt x="1607" y="726"/>
                  </a:cubicBezTo>
                  <a:cubicBezTo>
                    <a:pt x="1607" y="731"/>
                    <a:pt x="1608" y="735"/>
                    <a:pt x="1608" y="741"/>
                  </a:cubicBezTo>
                  <a:cubicBezTo>
                    <a:pt x="1602" y="739"/>
                    <a:pt x="1602" y="743"/>
                    <a:pt x="1600" y="744"/>
                  </a:cubicBezTo>
                  <a:cubicBezTo>
                    <a:pt x="1598" y="736"/>
                    <a:pt x="1591" y="728"/>
                    <a:pt x="1586" y="726"/>
                  </a:cubicBezTo>
                  <a:cubicBezTo>
                    <a:pt x="1585" y="734"/>
                    <a:pt x="1593" y="741"/>
                    <a:pt x="1594" y="749"/>
                  </a:cubicBezTo>
                  <a:cubicBezTo>
                    <a:pt x="1592" y="748"/>
                    <a:pt x="1592" y="751"/>
                    <a:pt x="1589" y="750"/>
                  </a:cubicBezTo>
                  <a:cubicBezTo>
                    <a:pt x="1592" y="760"/>
                    <a:pt x="1582" y="760"/>
                    <a:pt x="1587" y="769"/>
                  </a:cubicBezTo>
                  <a:cubicBezTo>
                    <a:pt x="1583" y="774"/>
                    <a:pt x="1576" y="775"/>
                    <a:pt x="1578" y="785"/>
                  </a:cubicBezTo>
                  <a:cubicBezTo>
                    <a:pt x="1583" y="786"/>
                    <a:pt x="1581" y="791"/>
                    <a:pt x="1581" y="796"/>
                  </a:cubicBezTo>
                  <a:cubicBezTo>
                    <a:pt x="1583" y="797"/>
                    <a:pt x="1585" y="798"/>
                    <a:pt x="1587" y="799"/>
                  </a:cubicBezTo>
                  <a:cubicBezTo>
                    <a:pt x="1592" y="786"/>
                    <a:pt x="1596" y="772"/>
                    <a:pt x="1603" y="760"/>
                  </a:cubicBezTo>
                  <a:cubicBezTo>
                    <a:pt x="1603" y="772"/>
                    <a:pt x="1592" y="808"/>
                    <a:pt x="1604" y="812"/>
                  </a:cubicBezTo>
                  <a:close/>
                  <a:moveTo>
                    <a:pt x="187" y="697"/>
                  </a:moveTo>
                  <a:cubicBezTo>
                    <a:pt x="188" y="698"/>
                    <a:pt x="189" y="699"/>
                    <a:pt x="191" y="698"/>
                  </a:cubicBezTo>
                  <a:cubicBezTo>
                    <a:pt x="191" y="696"/>
                    <a:pt x="190" y="695"/>
                    <a:pt x="189" y="695"/>
                  </a:cubicBezTo>
                  <a:cubicBezTo>
                    <a:pt x="189" y="696"/>
                    <a:pt x="187" y="696"/>
                    <a:pt x="187" y="697"/>
                  </a:cubicBezTo>
                  <a:close/>
                  <a:moveTo>
                    <a:pt x="1253" y="697"/>
                  </a:moveTo>
                  <a:cubicBezTo>
                    <a:pt x="1252" y="701"/>
                    <a:pt x="1256" y="700"/>
                    <a:pt x="1255" y="703"/>
                  </a:cubicBezTo>
                  <a:cubicBezTo>
                    <a:pt x="1252" y="703"/>
                    <a:pt x="1251" y="704"/>
                    <a:pt x="1251" y="707"/>
                  </a:cubicBezTo>
                  <a:cubicBezTo>
                    <a:pt x="1258" y="709"/>
                    <a:pt x="1257" y="698"/>
                    <a:pt x="1266" y="700"/>
                  </a:cubicBezTo>
                  <a:cubicBezTo>
                    <a:pt x="1264" y="693"/>
                    <a:pt x="1259" y="700"/>
                    <a:pt x="1253" y="697"/>
                  </a:cubicBezTo>
                  <a:close/>
                  <a:moveTo>
                    <a:pt x="1692" y="805"/>
                  </a:moveTo>
                  <a:cubicBezTo>
                    <a:pt x="1700" y="797"/>
                    <a:pt x="1701" y="784"/>
                    <a:pt x="1703" y="769"/>
                  </a:cubicBezTo>
                  <a:cubicBezTo>
                    <a:pt x="1705" y="747"/>
                    <a:pt x="1704" y="720"/>
                    <a:pt x="1701" y="701"/>
                  </a:cubicBezTo>
                  <a:cubicBezTo>
                    <a:pt x="1701" y="715"/>
                    <a:pt x="1702" y="730"/>
                    <a:pt x="1700" y="742"/>
                  </a:cubicBezTo>
                  <a:cubicBezTo>
                    <a:pt x="1700" y="740"/>
                    <a:pt x="1700" y="739"/>
                    <a:pt x="1699" y="739"/>
                  </a:cubicBezTo>
                  <a:cubicBezTo>
                    <a:pt x="1700" y="744"/>
                    <a:pt x="1695" y="747"/>
                    <a:pt x="1694" y="752"/>
                  </a:cubicBezTo>
                  <a:cubicBezTo>
                    <a:pt x="1692" y="762"/>
                    <a:pt x="1695" y="773"/>
                    <a:pt x="1693" y="784"/>
                  </a:cubicBezTo>
                  <a:cubicBezTo>
                    <a:pt x="1691" y="792"/>
                    <a:pt x="1685" y="799"/>
                    <a:pt x="1692" y="805"/>
                  </a:cubicBezTo>
                  <a:close/>
                  <a:moveTo>
                    <a:pt x="1234" y="706"/>
                  </a:moveTo>
                  <a:cubicBezTo>
                    <a:pt x="1230" y="704"/>
                    <a:pt x="1222" y="705"/>
                    <a:pt x="1221" y="710"/>
                  </a:cubicBezTo>
                  <a:cubicBezTo>
                    <a:pt x="1223" y="714"/>
                    <a:pt x="1229" y="712"/>
                    <a:pt x="1233" y="711"/>
                  </a:cubicBezTo>
                  <a:cubicBezTo>
                    <a:pt x="1233" y="709"/>
                    <a:pt x="1235" y="709"/>
                    <a:pt x="1234" y="706"/>
                  </a:cubicBezTo>
                  <a:close/>
                  <a:moveTo>
                    <a:pt x="1204" y="718"/>
                  </a:moveTo>
                  <a:cubicBezTo>
                    <a:pt x="1206" y="723"/>
                    <a:pt x="1213" y="718"/>
                    <a:pt x="1213" y="714"/>
                  </a:cubicBezTo>
                  <a:cubicBezTo>
                    <a:pt x="1209" y="714"/>
                    <a:pt x="1205" y="714"/>
                    <a:pt x="1204" y="718"/>
                  </a:cubicBezTo>
                  <a:close/>
                  <a:moveTo>
                    <a:pt x="1531" y="737"/>
                  </a:moveTo>
                  <a:cubicBezTo>
                    <a:pt x="1532" y="736"/>
                    <a:pt x="1531" y="733"/>
                    <a:pt x="1533" y="733"/>
                  </a:cubicBezTo>
                  <a:cubicBezTo>
                    <a:pt x="1535" y="736"/>
                    <a:pt x="1540" y="738"/>
                    <a:pt x="1541" y="742"/>
                  </a:cubicBezTo>
                  <a:cubicBezTo>
                    <a:pt x="1542" y="739"/>
                    <a:pt x="1543" y="742"/>
                    <a:pt x="1545" y="742"/>
                  </a:cubicBezTo>
                  <a:cubicBezTo>
                    <a:pt x="1549" y="732"/>
                    <a:pt x="1537" y="730"/>
                    <a:pt x="1535" y="723"/>
                  </a:cubicBezTo>
                  <a:cubicBezTo>
                    <a:pt x="1536" y="722"/>
                    <a:pt x="1537" y="721"/>
                    <a:pt x="1537" y="718"/>
                  </a:cubicBezTo>
                  <a:cubicBezTo>
                    <a:pt x="1533" y="717"/>
                    <a:pt x="1532" y="715"/>
                    <a:pt x="1529" y="715"/>
                  </a:cubicBezTo>
                  <a:cubicBezTo>
                    <a:pt x="1528" y="720"/>
                    <a:pt x="1533" y="721"/>
                    <a:pt x="1533" y="725"/>
                  </a:cubicBezTo>
                  <a:cubicBezTo>
                    <a:pt x="1530" y="725"/>
                    <a:pt x="1527" y="726"/>
                    <a:pt x="1525" y="726"/>
                  </a:cubicBezTo>
                  <a:cubicBezTo>
                    <a:pt x="1526" y="731"/>
                    <a:pt x="1521" y="730"/>
                    <a:pt x="1522" y="736"/>
                  </a:cubicBezTo>
                  <a:cubicBezTo>
                    <a:pt x="1526" y="735"/>
                    <a:pt x="1528" y="735"/>
                    <a:pt x="1531" y="737"/>
                  </a:cubicBezTo>
                  <a:close/>
                  <a:moveTo>
                    <a:pt x="1564" y="733"/>
                  </a:moveTo>
                  <a:cubicBezTo>
                    <a:pt x="1568" y="735"/>
                    <a:pt x="1571" y="742"/>
                    <a:pt x="1577" y="739"/>
                  </a:cubicBezTo>
                  <a:cubicBezTo>
                    <a:pt x="1576" y="734"/>
                    <a:pt x="1567" y="732"/>
                    <a:pt x="1564" y="733"/>
                  </a:cubicBezTo>
                  <a:close/>
                  <a:moveTo>
                    <a:pt x="1586" y="743"/>
                  </a:moveTo>
                  <a:cubicBezTo>
                    <a:pt x="1588" y="741"/>
                    <a:pt x="1585" y="738"/>
                    <a:pt x="1583" y="738"/>
                  </a:cubicBezTo>
                  <a:cubicBezTo>
                    <a:pt x="1583" y="741"/>
                    <a:pt x="1582" y="744"/>
                    <a:pt x="1586" y="743"/>
                  </a:cubicBezTo>
                  <a:close/>
                  <a:moveTo>
                    <a:pt x="1490" y="759"/>
                  </a:moveTo>
                  <a:cubicBezTo>
                    <a:pt x="1492" y="752"/>
                    <a:pt x="1491" y="747"/>
                    <a:pt x="1489" y="741"/>
                  </a:cubicBezTo>
                  <a:cubicBezTo>
                    <a:pt x="1486" y="741"/>
                    <a:pt x="1486" y="741"/>
                    <a:pt x="1486" y="741"/>
                  </a:cubicBezTo>
                  <a:cubicBezTo>
                    <a:pt x="1490" y="746"/>
                    <a:pt x="1484" y="755"/>
                    <a:pt x="1490" y="759"/>
                  </a:cubicBezTo>
                  <a:close/>
                  <a:moveTo>
                    <a:pt x="1559" y="743"/>
                  </a:moveTo>
                  <a:cubicBezTo>
                    <a:pt x="1551" y="740"/>
                    <a:pt x="1551" y="749"/>
                    <a:pt x="1554" y="752"/>
                  </a:cubicBezTo>
                  <a:cubicBezTo>
                    <a:pt x="1556" y="752"/>
                    <a:pt x="1557" y="752"/>
                    <a:pt x="1559" y="752"/>
                  </a:cubicBezTo>
                  <a:cubicBezTo>
                    <a:pt x="1561" y="749"/>
                    <a:pt x="1560" y="747"/>
                    <a:pt x="1559" y="743"/>
                  </a:cubicBezTo>
                  <a:close/>
                  <a:moveTo>
                    <a:pt x="1676" y="743"/>
                  </a:moveTo>
                  <a:cubicBezTo>
                    <a:pt x="1676" y="746"/>
                    <a:pt x="1675" y="749"/>
                    <a:pt x="1678" y="749"/>
                  </a:cubicBezTo>
                  <a:cubicBezTo>
                    <a:pt x="1677" y="747"/>
                    <a:pt x="1679" y="743"/>
                    <a:pt x="1676" y="743"/>
                  </a:cubicBezTo>
                  <a:close/>
                  <a:moveTo>
                    <a:pt x="1012" y="752"/>
                  </a:moveTo>
                  <a:cubicBezTo>
                    <a:pt x="1012" y="761"/>
                    <a:pt x="1021" y="761"/>
                    <a:pt x="1029" y="763"/>
                  </a:cubicBezTo>
                  <a:cubicBezTo>
                    <a:pt x="1027" y="755"/>
                    <a:pt x="1019" y="754"/>
                    <a:pt x="1012" y="752"/>
                  </a:cubicBezTo>
                  <a:close/>
                  <a:moveTo>
                    <a:pt x="1031" y="767"/>
                  </a:moveTo>
                  <a:cubicBezTo>
                    <a:pt x="1025" y="778"/>
                    <a:pt x="1040" y="782"/>
                    <a:pt x="1046" y="776"/>
                  </a:cubicBezTo>
                  <a:cubicBezTo>
                    <a:pt x="1045" y="769"/>
                    <a:pt x="1039" y="767"/>
                    <a:pt x="1031" y="767"/>
                  </a:cubicBezTo>
                  <a:close/>
                  <a:moveTo>
                    <a:pt x="1581" y="1055"/>
                  </a:moveTo>
                  <a:cubicBezTo>
                    <a:pt x="1581" y="1036"/>
                    <a:pt x="1576" y="1014"/>
                    <a:pt x="1569" y="999"/>
                  </a:cubicBezTo>
                  <a:cubicBezTo>
                    <a:pt x="1556" y="993"/>
                    <a:pt x="1559" y="974"/>
                    <a:pt x="1555" y="960"/>
                  </a:cubicBezTo>
                  <a:cubicBezTo>
                    <a:pt x="1564" y="957"/>
                    <a:pt x="1561" y="938"/>
                    <a:pt x="1557" y="932"/>
                  </a:cubicBezTo>
                  <a:cubicBezTo>
                    <a:pt x="1555" y="935"/>
                    <a:pt x="1552" y="938"/>
                    <a:pt x="1550" y="941"/>
                  </a:cubicBezTo>
                  <a:cubicBezTo>
                    <a:pt x="1548" y="936"/>
                    <a:pt x="1554" y="933"/>
                    <a:pt x="1555" y="928"/>
                  </a:cubicBezTo>
                  <a:cubicBezTo>
                    <a:pt x="1552" y="925"/>
                    <a:pt x="1547" y="924"/>
                    <a:pt x="1546" y="919"/>
                  </a:cubicBezTo>
                  <a:cubicBezTo>
                    <a:pt x="1551" y="919"/>
                    <a:pt x="1548" y="912"/>
                    <a:pt x="1550" y="910"/>
                  </a:cubicBezTo>
                  <a:cubicBezTo>
                    <a:pt x="1549" y="908"/>
                    <a:pt x="1546" y="909"/>
                    <a:pt x="1546" y="908"/>
                  </a:cubicBezTo>
                  <a:cubicBezTo>
                    <a:pt x="1548" y="903"/>
                    <a:pt x="1547" y="896"/>
                    <a:pt x="1542" y="895"/>
                  </a:cubicBezTo>
                  <a:cubicBezTo>
                    <a:pt x="1544" y="888"/>
                    <a:pt x="1540" y="879"/>
                    <a:pt x="1537" y="874"/>
                  </a:cubicBezTo>
                  <a:cubicBezTo>
                    <a:pt x="1532" y="875"/>
                    <a:pt x="1535" y="884"/>
                    <a:pt x="1527" y="882"/>
                  </a:cubicBezTo>
                  <a:cubicBezTo>
                    <a:pt x="1524" y="885"/>
                    <a:pt x="1525" y="892"/>
                    <a:pt x="1523" y="896"/>
                  </a:cubicBezTo>
                  <a:cubicBezTo>
                    <a:pt x="1524" y="891"/>
                    <a:pt x="1522" y="889"/>
                    <a:pt x="1522" y="885"/>
                  </a:cubicBezTo>
                  <a:cubicBezTo>
                    <a:pt x="1517" y="887"/>
                    <a:pt x="1514" y="882"/>
                    <a:pt x="1512" y="879"/>
                  </a:cubicBezTo>
                  <a:cubicBezTo>
                    <a:pt x="1514" y="878"/>
                    <a:pt x="1517" y="878"/>
                    <a:pt x="1518" y="877"/>
                  </a:cubicBezTo>
                  <a:cubicBezTo>
                    <a:pt x="1521" y="869"/>
                    <a:pt x="1518" y="865"/>
                    <a:pt x="1515" y="860"/>
                  </a:cubicBezTo>
                  <a:cubicBezTo>
                    <a:pt x="1523" y="842"/>
                    <a:pt x="1502" y="838"/>
                    <a:pt x="1497" y="827"/>
                  </a:cubicBezTo>
                  <a:cubicBezTo>
                    <a:pt x="1500" y="828"/>
                    <a:pt x="1502" y="830"/>
                    <a:pt x="1507" y="829"/>
                  </a:cubicBezTo>
                  <a:cubicBezTo>
                    <a:pt x="1507" y="826"/>
                    <a:pt x="1507" y="824"/>
                    <a:pt x="1506" y="821"/>
                  </a:cubicBezTo>
                  <a:cubicBezTo>
                    <a:pt x="1502" y="822"/>
                    <a:pt x="1501" y="820"/>
                    <a:pt x="1498" y="819"/>
                  </a:cubicBezTo>
                  <a:cubicBezTo>
                    <a:pt x="1496" y="819"/>
                    <a:pt x="1497" y="823"/>
                    <a:pt x="1494" y="822"/>
                  </a:cubicBezTo>
                  <a:cubicBezTo>
                    <a:pt x="1484" y="819"/>
                    <a:pt x="1477" y="823"/>
                    <a:pt x="1469" y="817"/>
                  </a:cubicBezTo>
                  <a:cubicBezTo>
                    <a:pt x="1465" y="814"/>
                    <a:pt x="1464" y="808"/>
                    <a:pt x="1458" y="814"/>
                  </a:cubicBezTo>
                  <a:cubicBezTo>
                    <a:pt x="1457" y="820"/>
                    <a:pt x="1461" y="821"/>
                    <a:pt x="1460" y="828"/>
                  </a:cubicBezTo>
                  <a:cubicBezTo>
                    <a:pt x="1461" y="830"/>
                    <a:pt x="1466" y="829"/>
                    <a:pt x="1466" y="833"/>
                  </a:cubicBezTo>
                  <a:cubicBezTo>
                    <a:pt x="1462" y="840"/>
                    <a:pt x="1468" y="844"/>
                    <a:pt x="1466" y="854"/>
                  </a:cubicBezTo>
                  <a:cubicBezTo>
                    <a:pt x="1456" y="857"/>
                    <a:pt x="1451" y="864"/>
                    <a:pt x="1436" y="862"/>
                  </a:cubicBezTo>
                  <a:cubicBezTo>
                    <a:pt x="1433" y="864"/>
                    <a:pt x="1431" y="868"/>
                    <a:pt x="1426" y="869"/>
                  </a:cubicBezTo>
                  <a:cubicBezTo>
                    <a:pt x="1418" y="865"/>
                    <a:pt x="1419" y="861"/>
                    <a:pt x="1418" y="851"/>
                  </a:cubicBezTo>
                  <a:cubicBezTo>
                    <a:pt x="1415" y="830"/>
                    <a:pt x="1420" y="808"/>
                    <a:pt x="1416" y="790"/>
                  </a:cubicBezTo>
                  <a:cubicBezTo>
                    <a:pt x="1416" y="787"/>
                    <a:pt x="1418" y="786"/>
                    <a:pt x="1419" y="783"/>
                  </a:cubicBezTo>
                  <a:cubicBezTo>
                    <a:pt x="1416" y="778"/>
                    <a:pt x="1412" y="769"/>
                    <a:pt x="1405" y="776"/>
                  </a:cubicBezTo>
                  <a:cubicBezTo>
                    <a:pt x="1404" y="786"/>
                    <a:pt x="1396" y="797"/>
                    <a:pt x="1394" y="809"/>
                  </a:cubicBezTo>
                  <a:cubicBezTo>
                    <a:pt x="1391" y="804"/>
                    <a:pt x="1388" y="808"/>
                    <a:pt x="1382" y="808"/>
                  </a:cubicBezTo>
                  <a:cubicBezTo>
                    <a:pt x="1377" y="812"/>
                    <a:pt x="1380" y="819"/>
                    <a:pt x="1378" y="826"/>
                  </a:cubicBezTo>
                  <a:cubicBezTo>
                    <a:pt x="1377" y="832"/>
                    <a:pt x="1370" y="835"/>
                    <a:pt x="1369" y="840"/>
                  </a:cubicBezTo>
                  <a:cubicBezTo>
                    <a:pt x="1366" y="851"/>
                    <a:pt x="1369" y="858"/>
                    <a:pt x="1360" y="862"/>
                  </a:cubicBezTo>
                  <a:cubicBezTo>
                    <a:pt x="1353" y="864"/>
                    <a:pt x="1349" y="860"/>
                    <a:pt x="1342" y="866"/>
                  </a:cubicBezTo>
                  <a:cubicBezTo>
                    <a:pt x="1342" y="871"/>
                    <a:pt x="1340" y="871"/>
                    <a:pt x="1342" y="874"/>
                  </a:cubicBezTo>
                  <a:cubicBezTo>
                    <a:pt x="1340" y="876"/>
                    <a:pt x="1337" y="876"/>
                    <a:pt x="1335" y="877"/>
                  </a:cubicBezTo>
                  <a:cubicBezTo>
                    <a:pt x="1334" y="880"/>
                    <a:pt x="1334" y="884"/>
                    <a:pt x="1334" y="887"/>
                  </a:cubicBezTo>
                  <a:cubicBezTo>
                    <a:pt x="1331" y="881"/>
                    <a:pt x="1326" y="888"/>
                    <a:pt x="1322" y="888"/>
                  </a:cubicBezTo>
                  <a:cubicBezTo>
                    <a:pt x="1321" y="893"/>
                    <a:pt x="1324" y="894"/>
                    <a:pt x="1325" y="896"/>
                  </a:cubicBezTo>
                  <a:cubicBezTo>
                    <a:pt x="1319" y="898"/>
                    <a:pt x="1319" y="906"/>
                    <a:pt x="1311" y="907"/>
                  </a:cubicBezTo>
                  <a:cubicBezTo>
                    <a:pt x="1310" y="909"/>
                    <a:pt x="1309" y="912"/>
                    <a:pt x="1308" y="915"/>
                  </a:cubicBezTo>
                  <a:cubicBezTo>
                    <a:pt x="1305" y="915"/>
                    <a:pt x="1304" y="917"/>
                    <a:pt x="1302" y="917"/>
                  </a:cubicBezTo>
                  <a:cubicBezTo>
                    <a:pt x="1297" y="923"/>
                    <a:pt x="1300" y="933"/>
                    <a:pt x="1299" y="942"/>
                  </a:cubicBezTo>
                  <a:cubicBezTo>
                    <a:pt x="1298" y="946"/>
                    <a:pt x="1294" y="949"/>
                    <a:pt x="1294" y="953"/>
                  </a:cubicBezTo>
                  <a:cubicBezTo>
                    <a:pt x="1293" y="960"/>
                    <a:pt x="1297" y="971"/>
                    <a:pt x="1298" y="983"/>
                  </a:cubicBezTo>
                  <a:cubicBezTo>
                    <a:pt x="1298" y="992"/>
                    <a:pt x="1297" y="1002"/>
                    <a:pt x="1300" y="1008"/>
                  </a:cubicBezTo>
                  <a:cubicBezTo>
                    <a:pt x="1301" y="1011"/>
                    <a:pt x="1304" y="1012"/>
                    <a:pt x="1305" y="1014"/>
                  </a:cubicBezTo>
                  <a:cubicBezTo>
                    <a:pt x="1302" y="1024"/>
                    <a:pt x="1309" y="1029"/>
                    <a:pt x="1309" y="1038"/>
                  </a:cubicBezTo>
                  <a:cubicBezTo>
                    <a:pt x="1309" y="1039"/>
                    <a:pt x="1307" y="1042"/>
                    <a:pt x="1307" y="1043"/>
                  </a:cubicBezTo>
                  <a:cubicBezTo>
                    <a:pt x="1306" y="1051"/>
                    <a:pt x="1310" y="1059"/>
                    <a:pt x="1310" y="1066"/>
                  </a:cubicBezTo>
                  <a:cubicBezTo>
                    <a:pt x="1310" y="1071"/>
                    <a:pt x="1306" y="1075"/>
                    <a:pt x="1307" y="1080"/>
                  </a:cubicBezTo>
                  <a:cubicBezTo>
                    <a:pt x="1308" y="1085"/>
                    <a:pt x="1315" y="1089"/>
                    <a:pt x="1320" y="1089"/>
                  </a:cubicBezTo>
                  <a:cubicBezTo>
                    <a:pt x="1319" y="1099"/>
                    <a:pt x="1324" y="1104"/>
                    <a:pt x="1325" y="1112"/>
                  </a:cubicBezTo>
                  <a:cubicBezTo>
                    <a:pt x="1333" y="1111"/>
                    <a:pt x="1334" y="1105"/>
                    <a:pt x="1340" y="1103"/>
                  </a:cubicBezTo>
                  <a:cubicBezTo>
                    <a:pt x="1339" y="1107"/>
                    <a:pt x="1340" y="1114"/>
                    <a:pt x="1344" y="1119"/>
                  </a:cubicBezTo>
                  <a:cubicBezTo>
                    <a:pt x="1350" y="1118"/>
                    <a:pt x="1354" y="1117"/>
                    <a:pt x="1357" y="1122"/>
                  </a:cubicBezTo>
                  <a:cubicBezTo>
                    <a:pt x="1362" y="1119"/>
                    <a:pt x="1370" y="1120"/>
                    <a:pt x="1374" y="1116"/>
                  </a:cubicBezTo>
                  <a:cubicBezTo>
                    <a:pt x="1376" y="1113"/>
                    <a:pt x="1374" y="1110"/>
                    <a:pt x="1374" y="1105"/>
                  </a:cubicBezTo>
                  <a:cubicBezTo>
                    <a:pt x="1377" y="1102"/>
                    <a:pt x="1382" y="1100"/>
                    <a:pt x="1383" y="1095"/>
                  </a:cubicBezTo>
                  <a:cubicBezTo>
                    <a:pt x="1385" y="1095"/>
                    <a:pt x="1387" y="1096"/>
                    <a:pt x="1390" y="1096"/>
                  </a:cubicBezTo>
                  <a:cubicBezTo>
                    <a:pt x="1392" y="1092"/>
                    <a:pt x="1388" y="1082"/>
                    <a:pt x="1396" y="1083"/>
                  </a:cubicBezTo>
                  <a:cubicBezTo>
                    <a:pt x="1393" y="1089"/>
                    <a:pt x="1393" y="1098"/>
                    <a:pt x="1400" y="1098"/>
                  </a:cubicBezTo>
                  <a:cubicBezTo>
                    <a:pt x="1398" y="1083"/>
                    <a:pt x="1403" y="1071"/>
                    <a:pt x="1400" y="1061"/>
                  </a:cubicBezTo>
                  <a:cubicBezTo>
                    <a:pt x="1409" y="1068"/>
                    <a:pt x="1402" y="1082"/>
                    <a:pt x="1408" y="1092"/>
                  </a:cubicBezTo>
                  <a:cubicBezTo>
                    <a:pt x="1407" y="1095"/>
                    <a:pt x="1403" y="1097"/>
                    <a:pt x="1405" y="1101"/>
                  </a:cubicBezTo>
                  <a:cubicBezTo>
                    <a:pt x="1410" y="1101"/>
                    <a:pt x="1411" y="1101"/>
                    <a:pt x="1414" y="1099"/>
                  </a:cubicBezTo>
                  <a:cubicBezTo>
                    <a:pt x="1409" y="1091"/>
                    <a:pt x="1420" y="1086"/>
                    <a:pt x="1425" y="1085"/>
                  </a:cubicBezTo>
                  <a:cubicBezTo>
                    <a:pt x="1426" y="1082"/>
                    <a:pt x="1425" y="1079"/>
                    <a:pt x="1427" y="1076"/>
                  </a:cubicBezTo>
                  <a:cubicBezTo>
                    <a:pt x="1435" y="1075"/>
                    <a:pt x="1440" y="1076"/>
                    <a:pt x="1447" y="1075"/>
                  </a:cubicBezTo>
                  <a:cubicBezTo>
                    <a:pt x="1456" y="1082"/>
                    <a:pt x="1462" y="1092"/>
                    <a:pt x="1465" y="1105"/>
                  </a:cubicBezTo>
                  <a:cubicBezTo>
                    <a:pt x="1473" y="1104"/>
                    <a:pt x="1471" y="1113"/>
                    <a:pt x="1473" y="1118"/>
                  </a:cubicBezTo>
                  <a:cubicBezTo>
                    <a:pt x="1475" y="1122"/>
                    <a:pt x="1479" y="1122"/>
                    <a:pt x="1479" y="1126"/>
                  </a:cubicBezTo>
                  <a:cubicBezTo>
                    <a:pt x="1480" y="1132"/>
                    <a:pt x="1473" y="1139"/>
                    <a:pt x="1475" y="1146"/>
                  </a:cubicBezTo>
                  <a:cubicBezTo>
                    <a:pt x="1481" y="1150"/>
                    <a:pt x="1484" y="1156"/>
                    <a:pt x="1486" y="1164"/>
                  </a:cubicBezTo>
                  <a:cubicBezTo>
                    <a:pt x="1486" y="1166"/>
                    <a:pt x="1491" y="1164"/>
                    <a:pt x="1491" y="1167"/>
                  </a:cubicBezTo>
                  <a:cubicBezTo>
                    <a:pt x="1490" y="1178"/>
                    <a:pt x="1489" y="1185"/>
                    <a:pt x="1492" y="1195"/>
                  </a:cubicBezTo>
                  <a:cubicBezTo>
                    <a:pt x="1495" y="1195"/>
                    <a:pt x="1499" y="1197"/>
                    <a:pt x="1506" y="1198"/>
                  </a:cubicBezTo>
                  <a:cubicBezTo>
                    <a:pt x="1510" y="1193"/>
                    <a:pt x="1509" y="1192"/>
                    <a:pt x="1508" y="1185"/>
                  </a:cubicBezTo>
                  <a:cubicBezTo>
                    <a:pt x="1514" y="1178"/>
                    <a:pt x="1514" y="1168"/>
                    <a:pt x="1520" y="1161"/>
                  </a:cubicBezTo>
                  <a:cubicBezTo>
                    <a:pt x="1523" y="1159"/>
                    <a:pt x="1527" y="1158"/>
                    <a:pt x="1530" y="1155"/>
                  </a:cubicBezTo>
                  <a:cubicBezTo>
                    <a:pt x="1531" y="1154"/>
                    <a:pt x="1530" y="1152"/>
                    <a:pt x="1531" y="1150"/>
                  </a:cubicBezTo>
                  <a:cubicBezTo>
                    <a:pt x="1532" y="1148"/>
                    <a:pt x="1536" y="1145"/>
                    <a:pt x="1539" y="1142"/>
                  </a:cubicBezTo>
                  <a:cubicBezTo>
                    <a:pt x="1544" y="1134"/>
                    <a:pt x="1542" y="1131"/>
                    <a:pt x="1550" y="1129"/>
                  </a:cubicBezTo>
                  <a:cubicBezTo>
                    <a:pt x="1552" y="1117"/>
                    <a:pt x="1566" y="1116"/>
                    <a:pt x="1565" y="1102"/>
                  </a:cubicBezTo>
                  <a:cubicBezTo>
                    <a:pt x="1563" y="1101"/>
                    <a:pt x="1561" y="1105"/>
                    <a:pt x="1561" y="1103"/>
                  </a:cubicBezTo>
                  <a:cubicBezTo>
                    <a:pt x="1566" y="1095"/>
                    <a:pt x="1575" y="1091"/>
                    <a:pt x="1574" y="1078"/>
                  </a:cubicBezTo>
                  <a:cubicBezTo>
                    <a:pt x="1581" y="1073"/>
                    <a:pt x="1583" y="1059"/>
                    <a:pt x="1583" y="1051"/>
                  </a:cubicBezTo>
                  <a:cubicBezTo>
                    <a:pt x="1581" y="1051"/>
                    <a:pt x="1583" y="1054"/>
                    <a:pt x="1581" y="1055"/>
                  </a:cubicBezTo>
                  <a:close/>
                  <a:moveTo>
                    <a:pt x="1508" y="774"/>
                  </a:moveTo>
                  <a:cubicBezTo>
                    <a:pt x="1505" y="780"/>
                    <a:pt x="1512" y="784"/>
                    <a:pt x="1516" y="787"/>
                  </a:cubicBezTo>
                  <a:cubicBezTo>
                    <a:pt x="1516" y="780"/>
                    <a:pt x="1513" y="776"/>
                    <a:pt x="1508" y="774"/>
                  </a:cubicBezTo>
                  <a:close/>
                  <a:moveTo>
                    <a:pt x="1706" y="787"/>
                  </a:moveTo>
                  <a:cubicBezTo>
                    <a:pt x="1705" y="795"/>
                    <a:pt x="1703" y="802"/>
                    <a:pt x="1700" y="808"/>
                  </a:cubicBezTo>
                  <a:cubicBezTo>
                    <a:pt x="1697" y="806"/>
                    <a:pt x="1698" y="806"/>
                    <a:pt x="1696" y="803"/>
                  </a:cubicBezTo>
                  <a:cubicBezTo>
                    <a:pt x="1697" y="809"/>
                    <a:pt x="1694" y="820"/>
                    <a:pt x="1690" y="816"/>
                  </a:cubicBezTo>
                  <a:cubicBezTo>
                    <a:pt x="1691" y="824"/>
                    <a:pt x="1689" y="828"/>
                    <a:pt x="1689" y="835"/>
                  </a:cubicBezTo>
                  <a:cubicBezTo>
                    <a:pt x="1687" y="834"/>
                    <a:pt x="1687" y="832"/>
                    <a:pt x="1685" y="832"/>
                  </a:cubicBezTo>
                  <a:cubicBezTo>
                    <a:pt x="1684" y="835"/>
                    <a:pt x="1685" y="839"/>
                    <a:pt x="1683" y="840"/>
                  </a:cubicBezTo>
                  <a:cubicBezTo>
                    <a:pt x="1681" y="837"/>
                    <a:pt x="1683" y="829"/>
                    <a:pt x="1680" y="827"/>
                  </a:cubicBezTo>
                  <a:cubicBezTo>
                    <a:pt x="1677" y="832"/>
                    <a:pt x="1673" y="839"/>
                    <a:pt x="1675" y="845"/>
                  </a:cubicBezTo>
                  <a:cubicBezTo>
                    <a:pt x="1677" y="846"/>
                    <a:pt x="1678" y="842"/>
                    <a:pt x="1679" y="845"/>
                  </a:cubicBezTo>
                  <a:cubicBezTo>
                    <a:pt x="1674" y="855"/>
                    <a:pt x="1676" y="872"/>
                    <a:pt x="1671" y="885"/>
                  </a:cubicBezTo>
                  <a:cubicBezTo>
                    <a:pt x="1670" y="880"/>
                    <a:pt x="1664" y="879"/>
                    <a:pt x="1661" y="875"/>
                  </a:cubicBezTo>
                  <a:cubicBezTo>
                    <a:pt x="1660" y="877"/>
                    <a:pt x="1659" y="879"/>
                    <a:pt x="1657" y="880"/>
                  </a:cubicBezTo>
                  <a:cubicBezTo>
                    <a:pt x="1655" y="876"/>
                    <a:pt x="1652" y="874"/>
                    <a:pt x="1649" y="872"/>
                  </a:cubicBezTo>
                  <a:cubicBezTo>
                    <a:pt x="1649" y="869"/>
                    <a:pt x="1650" y="865"/>
                    <a:pt x="1648" y="863"/>
                  </a:cubicBezTo>
                  <a:cubicBezTo>
                    <a:pt x="1643" y="867"/>
                    <a:pt x="1642" y="863"/>
                    <a:pt x="1637" y="862"/>
                  </a:cubicBezTo>
                  <a:cubicBezTo>
                    <a:pt x="1635" y="865"/>
                    <a:pt x="1638" y="874"/>
                    <a:pt x="1633" y="874"/>
                  </a:cubicBezTo>
                  <a:cubicBezTo>
                    <a:pt x="1633" y="870"/>
                    <a:pt x="1633" y="871"/>
                    <a:pt x="1633" y="866"/>
                  </a:cubicBezTo>
                  <a:cubicBezTo>
                    <a:pt x="1629" y="865"/>
                    <a:pt x="1628" y="864"/>
                    <a:pt x="1625" y="867"/>
                  </a:cubicBezTo>
                  <a:cubicBezTo>
                    <a:pt x="1625" y="864"/>
                    <a:pt x="1623" y="863"/>
                    <a:pt x="1621" y="862"/>
                  </a:cubicBezTo>
                  <a:cubicBezTo>
                    <a:pt x="1620" y="864"/>
                    <a:pt x="1619" y="871"/>
                    <a:pt x="1621" y="873"/>
                  </a:cubicBezTo>
                  <a:cubicBezTo>
                    <a:pt x="1624" y="874"/>
                    <a:pt x="1623" y="871"/>
                    <a:pt x="1625" y="870"/>
                  </a:cubicBezTo>
                  <a:cubicBezTo>
                    <a:pt x="1627" y="874"/>
                    <a:pt x="1623" y="876"/>
                    <a:pt x="1623" y="880"/>
                  </a:cubicBezTo>
                  <a:cubicBezTo>
                    <a:pt x="1623" y="882"/>
                    <a:pt x="1626" y="882"/>
                    <a:pt x="1626" y="885"/>
                  </a:cubicBezTo>
                  <a:cubicBezTo>
                    <a:pt x="1629" y="884"/>
                    <a:pt x="1630" y="882"/>
                    <a:pt x="1634" y="882"/>
                  </a:cubicBezTo>
                  <a:cubicBezTo>
                    <a:pt x="1637" y="885"/>
                    <a:pt x="1639" y="889"/>
                    <a:pt x="1644" y="890"/>
                  </a:cubicBezTo>
                  <a:cubicBezTo>
                    <a:pt x="1648" y="891"/>
                    <a:pt x="1647" y="887"/>
                    <a:pt x="1650" y="887"/>
                  </a:cubicBezTo>
                  <a:cubicBezTo>
                    <a:pt x="1653" y="893"/>
                    <a:pt x="1658" y="898"/>
                    <a:pt x="1664" y="897"/>
                  </a:cubicBezTo>
                  <a:cubicBezTo>
                    <a:pt x="1665" y="899"/>
                    <a:pt x="1665" y="903"/>
                    <a:pt x="1667" y="904"/>
                  </a:cubicBezTo>
                  <a:cubicBezTo>
                    <a:pt x="1667" y="901"/>
                    <a:pt x="1668" y="899"/>
                    <a:pt x="1669" y="898"/>
                  </a:cubicBezTo>
                  <a:cubicBezTo>
                    <a:pt x="1669" y="900"/>
                    <a:pt x="1670" y="901"/>
                    <a:pt x="1671" y="902"/>
                  </a:cubicBezTo>
                  <a:cubicBezTo>
                    <a:pt x="1672" y="899"/>
                    <a:pt x="1669" y="888"/>
                    <a:pt x="1673" y="886"/>
                  </a:cubicBezTo>
                  <a:cubicBezTo>
                    <a:pt x="1673" y="890"/>
                    <a:pt x="1676" y="891"/>
                    <a:pt x="1677" y="894"/>
                  </a:cubicBezTo>
                  <a:cubicBezTo>
                    <a:pt x="1678" y="889"/>
                    <a:pt x="1683" y="887"/>
                    <a:pt x="1686" y="884"/>
                  </a:cubicBezTo>
                  <a:cubicBezTo>
                    <a:pt x="1692" y="874"/>
                    <a:pt x="1693" y="862"/>
                    <a:pt x="1697" y="850"/>
                  </a:cubicBezTo>
                  <a:cubicBezTo>
                    <a:pt x="1703" y="831"/>
                    <a:pt x="1713" y="807"/>
                    <a:pt x="1706" y="787"/>
                  </a:cubicBezTo>
                  <a:close/>
                  <a:moveTo>
                    <a:pt x="1682" y="843"/>
                  </a:moveTo>
                  <a:cubicBezTo>
                    <a:pt x="1680" y="843"/>
                    <a:pt x="1678" y="840"/>
                    <a:pt x="1680" y="839"/>
                  </a:cubicBezTo>
                  <a:cubicBezTo>
                    <a:pt x="1682" y="839"/>
                    <a:pt x="1682" y="841"/>
                    <a:pt x="1682" y="843"/>
                  </a:cubicBezTo>
                  <a:close/>
                  <a:moveTo>
                    <a:pt x="1550" y="804"/>
                  </a:moveTo>
                  <a:cubicBezTo>
                    <a:pt x="1553" y="805"/>
                    <a:pt x="1554" y="808"/>
                    <a:pt x="1557" y="810"/>
                  </a:cubicBezTo>
                  <a:cubicBezTo>
                    <a:pt x="1557" y="807"/>
                    <a:pt x="1557" y="804"/>
                    <a:pt x="1556" y="803"/>
                  </a:cubicBezTo>
                  <a:cubicBezTo>
                    <a:pt x="1554" y="804"/>
                    <a:pt x="1550" y="802"/>
                    <a:pt x="1550" y="804"/>
                  </a:cubicBezTo>
                  <a:close/>
                  <a:moveTo>
                    <a:pt x="1565" y="849"/>
                  </a:moveTo>
                  <a:cubicBezTo>
                    <a:pt x="1570" y="830"/>
                    <a:pt x="1554" y="815"/>
                    <a:pt x="1543" y="805"/>
                  </a:cubicBezTo>
                  <a:cubicBezTo>
                    <a:pt x="1542" y="811"/>
                    <a:pt x="1547" y="818"/>
                    <a:pt x="1548" y="824"/>
                  </a:cubicBezTo>
                  <a:cubicBezTo>
                    <a:pt x="1560" y="827"/>
                    <a:pt x="1556" y="844"/>
                    <a:pt x="1565" y="849"/>
                  </a:cubicBezTo>
                  <a:close/>
                  <a:moveTo>
                    <a:pt x="1596" y="815"/>
                  </a:moveTo>
                  <a:cubicBezTo>
                    <a:pt x="1596" y="812"/>
                    <a:pt x="1597" y="807"/>
                    <a:pt x="1594" y="807"/>
                  </a:cubicBezTo>
                  <a:cubicBezTo>
                    <a:pt x="1595" y="809"/>
                    <a:pt x="1592" y="815"/>
                    <a:pt x="1596" y="815"/>
                  </a:cubicBezTo>
                  <a:close/>
                  <a:moveTo>
                    <a:pt x="1686" y="817"/>
                  </a:moveTo>
                  <a:cubicBezTo>
                    <a:pt x="1687" y="815"/>
                    <a:pt x="1689" y="811"/>
                    <a:pt x="1685" y="811"/>
                  </a:cubicBezTo>
                  <a:cubicBezTo>
                    <a:pt x="1686" y="813"/>
                    <a:pt x="1684" y="817"/>
                    <a:pt x="1686" y="817"/>
                  </a:cubicBezTo>
                  <a:close/>
                  <a:moveTo>
                    <a:pt x="1584" y="835"/>
                  </a:moveTo>
                  <a:cubicBezTo>
                    <a:pt x="1582" y="832"/>
                    <a:pt x="1582" y="829"/>
                    <a:pt x="1577" y="830"/>
                  </a:cubicBezTo>
                  <a:cubicBezTo>
                    <a:pt x="1577" y="826"/>
                    <a:pt x="1575" y="823"/>
                    <a:pt x="1572" y="821"/>
                  </a:cubicBezTo>
                  <a:cubicBezTo>
                    <a:pt x="1571" y="837"/>
                    <a:pt x="1586" y="836"/>
                    <a:pt x="1589" y="848"/>
                  </a:cubicBezTo>
                  <a:cubicBezTo>
                    <a:pt x="1593" y="849"/>
                    <a:pt x="1592" y="849"/>
                    <a:pt x="1596" y="849"/>
                  </a:cubicBezTo>
                  <a:cubicBezTo>
                    <a:pt x="1593" y="844"/>
                    <a:pt x="1591" y="838"/>
                    <a:pt x="1588" y="833"/>
                  </a:cubicBezTo>
                  <a:cubicBezTo>
                    <a:pt x="1585" y="832"/>
                    <a:pt x="1586" y="834"/>
                    <a:pt x="1584" y="835"/>
                  </a:cubicBezTo>
                  <a:close/>
                  <a:moveTo>
                    <a:pt x="1190" y="823"/>
                  </a:moveTo>
                  <a:cubicBezTo>
                    <a:pt x="1178" y="826"/>
                    <a:pt x="1171" y="835"/>
                    <a:pt x="1162" y="841"/>
                  </a:cubicBezTo>
                  <a:cubicBezTo>
                    <a:pt x="1176" y="843"/>
                    <a:pt x="1186" y="834"/>
                    <a:pt x="1190" y="823"/>
                  </a:cubicBezTo>
                  <a:close/>
                  <a:moveTo>
                    <a:pt x="1513" y="836"/>
                  </a:moveTo>
                  <a:cubicBezTo>
                    <a:pt x="1515" y="833"/>
                    <a:pt x="1512" y="828"/>
                    <a:pt x="1510" y="827"/>
                  </a:cubicBezTo>
                  <a:cubicBezTo>
                    <a:pt x="1508" y="829"/>
                    <a:pt x="1509" y="835"/>
                    <a:pt x="1513" y="836"/>
                  </a:cubicBezTo>
                  <a:close/>
                  <a:moveTo>
                    <a:pt x="1669" y="831"/>
                  </a:moveTo>
                  <a:cubicBezTo>
                    <a:pt x="1667" y="834"/>
                    <a:pt x="1665" y="841"/>
                    <a:pt x="1671" y="841"/>
                  </a:cubicBezTo>
                  <a:cubicBezTo>
                    <a:pt x="1672" y="839"/>
                    <a:pt x="1674" y="830"/>
                    <a:pt x="1669" y="831"/>
                  </a:cubicBezTo>
                  <a:close/>
                  <a:moveTo>
                    <a:pt x="1704" y="836"/>
                  </a:moveTo>
                  <a:cubicBezTo>
                    <a:pt x="1705" y="840"/>
                    <a:pt x="1701" y="844"/>
                    <a:pt x="1704" y="847"/>
                  </a:cubicBezTo>
                  <a:cubicBezTo>
                    <a:pt x="1703" y="843"/>
                    <a:pt x="1708" y="837"/>
                    <a:pt x="1704" y="836"/>
                  </a:cubicBezTo>
                  <a:close/>
                  <a:moveTo>
                    <a:pt x="1607" y="846"/>
                  </a:moveTo>
                  <a:cubicBezTo>
                    <a:pt x="1604" y="845"/>
                    <a:pt x="1603" y="843"/>
                    <a:pt x="1600" y="842"/>
                  </a:cubicBezTo>
                  <a:cubicBezTo>
                    <a:pt x="1599" y="845"/>
                    <a:pt x="1598" y="851"/>
                    <a:pt x="1600" y="853"/>
                  </a:cubicBezTo>
                  <a:cubicBezTo>
                    <a:pt x="1604" y="853"/>
                    <a:pt x="1606" y="850"/>
                    <a:pt x="1607" y="846"/>
                  </a:cubicBezTo>
                  <a:close/>
                  <a:moveTo>
                    <a:pt x="1631" y="848"/>
                  </a:moveTo>
                  <a:cubicBezTo>
                    <a:pt x="1632" y="853"/>
                    <a:pt x="1632" y="858"/>
                    <a:pt x="1636" y="861"/>
                  </a:cubicBezTo>
                  <a:cubicBezTo>
                    <a:pt x="1638" y="856"/>
                    <a:pt x="1635" y="849"/>
                    <a:pt x="1631" y="848"/>
                  </a:cubicBezTo>
                  <a:close/>
                  <a:moveTo>
                    <a:pt x="1590" y="854"/>
                  </a:moveTo>
                  <a:cubicBezTo>
                    <a:pt x="1588" y="856"/>
                    <a:pt x="1585" y="858"/>
                    <a:pt x="1585" y="862"/>
                  </a:cubicBezTo>
                  <a:cubicBezTo>
                    <a:pt x="1586" y="863"/>
                    <a:pt x="1587" y="865"/>
                    <a:pt x="1589" y="865"/>
                  </a:cubicBezTo>
                  <a:cubicBezTo>
                    <a:pt x="1591" y="860"/>
                    <a:pt x="1592" y="864"/>
                    <a:pt x="1595" y="865"/>
                  </a:cubicBezTo>
                  <a:cubicBezTo>
                    <a:pt x="1597" y="865"/>
                    <a:pt x="1598" y="863"/>
                    <a:pt x="1598" y="861"/>
                  </a:cubicBezTo>
                  <a:cubicBezTo>
                    <a:pt x="1596" y="858"/>
                    <a:pt x="1593" y="856"/>
                    <a:pt x="1590" y="854"/>
                  </a:cubicBezTo>
                  <a:close/>
                  <a:moveTo>
                    <a:pt x="1604" y="854"/>
                  </a:moveTo>
                  <a:cubicBezTo>
                    <a:pt x="1600" y="860"/>
                    <a:pt x="1606" y="864"/>
                    <a:pt x="1609" y="867"/>
                  </a:cubicBezTo>
                  <a:cubicBezTo>
                    <a:pt x="1610" y="863"/>
                    <a:pt x="1612" y="867"/>
                    <a:pt x="1614" y="867"/>
                  </a:cubicBezTo>
                  <a:cubicBezTo>
                    <a:pt x="1614" y="863"/>
                    <a:pt x="1613" y="859"/>
                    <a:pt x="1612" y="856"/>
                  </a:cubicBezTo>
                  <a:cubicBezTo>
                    <a:pt x="1608" y="857"/>
                    <a:pt x="1608" y="855"/>
                    <a:pt x="1604" y="854"/>
                  </a:cubicBezTo>
                  <a:close/>
                  <a:moveTo>
                    <a:pt x="1616" y="858"/>
                  </a:moveTo>
                  <a:cubicBezTo>
                    <a:pt x="1615" y="860"/>
                    <a:pt x="1616" y="863"/>
                    <a:pt x="1619" y="863"/>
                  </a:cubicBezTo>
                  <a:cubicBezTo>
                    <a:pt x="1621" y="862"/>
                    <a:pt x="1620" y="857"/>
                    <a:pt x="1616" y="858"/>
                  </a:cubicBezTo>
                  <a:close/>
                  <a:moveTo>
                    <a:pt x="1693" y="877"/>
                  </a:moveTo>
                  <a:cubicBezTo>
                    <a:pt x="1694" y="880"/>
                    <a:pt x="1692" y="879"/>
                    <a:pt x="1692" y="882"/>
                  </a:cubicBezTo>
                  <a:cubicBezTo>
                    <a:pt x="1695" y="883"/>
                    <a:pt x="1697" y="876"/>
                    <a:pt x="1693" y="877"/>
                  </a:cubicBezTo>
                  <a:close/>
                  <a:moveTo>
                    <a:pt x="1121" y="1017"/>
                  </a:moveTo>
                  <a:cubicBezTo>
                    <a:pt x="1117" y="1003"/>
                    <a:pt x="1127" y="992"/>
                    <a:pt x="1132" y="979"/>
                  </a:cubicBezTo>
                  <a:cubicBezTo>
                    <a:pt x="1130" y="978"/>
                    <a:pt x="1130" y="977"/>
                    <a:pt x="1129" y="977"/>
                  </a:cubicBezTo>
                  <a:cubicBezTo>
                    <a:pt x="1125" y="984"/>
                    <a:pt x="1108" y="984"/>
                    <a:pt x="1116" y="998"/>
                  </a:cubicBezTo>
                  <a:cubicBezTo>
                    <a:pt x="1114" y="999"/>
                    <a:pt x="1113" y="1002"/>
                    <a:pt x="1111" y="1003"/>
                  </a:cubicBezTo>
                  <a:cubicBezTo>
                    <a:pt x="1111" y="999"/>
                    <a:pt x="1113" y="994"/>
                    <a:pt x="1108" y="995"/>
                  </a:cubicBezTo>
                  <a:cubicBezTo>
                    <a:pt x="1104" y="998"/>
                    <a:pt x="1111" y="1010"/>
                    <a:pt x="1105" y="1012"/>
                  </a:cubicBezTo>
                  <a:cubicBezTo>
                    <a:pt x="1099" y="1012"/>
                    <a:pt x="1095" y="1006"/>
                    <a:pt x="1089" y="1007"/>
                  </a:cubicBezTo>
                  <a:cubicBezTo>
                    <a:pt x="1089" y="1009"/>
                    <a:pt x="1089" y="1010"/>
                    <a:pt x="1088" y="1010"/>
                  </a:cubicBezTo>
                  <a:cubicBezTo>
                    <a:pt x="1089" y="1015"/>
                    <a:pt x="1096" y="1014"/>
                    <a:pt x="1094" y="1021"/>
                  </a:cubicBezTo>
                  <a:cubicBezTo>
                    <a:pt x="1101" y="1020"/>
                    <a:pt x="1097" y="1026"/>
                    <a:pt x="1099" y="1029"/>
                  </a:cubicBezTo>
                  <a:cubicBezTo>
                    <a:pt x="1103" y="1028"/>
                    <a:pt x="1107" y="1028"/>
                    <a:pt x="1108" y="1031"/>
                  </a:cubicBezTo>
                  <a:cubicBezTo>
                    <a:pt x="1109" y="1034"/>
                    <a:pt x="1107" y="1034"/>
                    <a:pt x="1108" y="1036"/>
                  </a:cubicBezTo>
                  <a:cubicBezTo>
                    <a:pt x="1109" y="1041"/>
                    <a:pt x="1115" y="1043"/>
                    <a:pt x="1119" y="1049"/>
                  </a:cubicBezTo>
                  <a:cubicBezTo>
                    <a:pt x="1122" y="1054"/>
                    <a:pt x="1123" y="1064"/>
                    <a:pt x="1132" y="1061"/>
                  </a:cubicBezTo>
                  <a:cubicBezTo>
                    <a:pt x="1134" y="1053"/>
                    <a:pt x="1126" y="1055"/>
                    <a:pt x="1126" y="1050"/>
                  </a:cubicBezTo>
                  <a:cubicBezTo>
                    <a:pt x="1126" y="1047"/>
                    <a:pt x="1126" y="1044"/>
                    <a:pt x="1129" y="1043"/>
                  </a:cubicBezTo>
                  <a:cubicBezTo>
                    <a:pt x="1135" y="1043"/>
                    <a:pt x="1135" y="1043"/>
                    <a:pt x="1135" y="1043"/>
                  </a:cubicBezTo>
                  <a:cubicBezTo>
                    <a:pt x="1137" y="1041"/>
                    <a:pt x="1138" y="1038"/>
                    <a:pt x="1138" y="1035"/>
                  </a:cubicBezTo>
                  <a:cubicBezTo>
                    <a:pt x="1132" y="1030"/>
                    <a:pt x="1127" y="1023"/>
                    <a:pt x="1121" y="1017"/>
                  </a:cubicBezTo>
                  <a:close/>
                  <a:moveTo>
                    <a:pt x="1194" y="1114"/>
                  </a:moveTo>
                  <a:cubicBezTo>
                    <a:pt x="1189" y="1106"/>
                    <a:pt x="1180" y="1101"/>
                    <a:pt x="1175" y="1094"/>
                  </a:cubicBezTo>
                  <a:cubicBezTo>
                    <a:pt x="1174" y="1092"/>
                    <a:pt x="1174" y="1090"/>
                    <a:pt x="1172" y="1087"/>
                  </a:cubicBezTo>
                  <a:cubicBezTo>
                    <a:pt x="1169" y="1083"/>
                    <a:pt x="1164" y="1082"/>
                    <a:pt x="1163" y="1079"/>
                  </a:cubicBezTo>
                  <a:cubicBezTo>
                    <a:pt x="1160" y="1069"/>
                    <a:pt x="1155" y="1062"/>
                    <a:pt x="1149" y="1055"/>
                  </a:cubicBezTo>
                  <a:cubicBezTo>
                    <a:pt x="1147" y="1057"/>
                    <a:pt x="1145" y="1058"/>
                    <a:pt x="1143" y="1060"/>
                  </a:cubicBezTo>
                  <a:cubicBezTo>
                    <a:pt x="1142" y="1059"/>
                    <a:pt x="1143" y="1057"/>
                    <a:pt x="1140" y="1057"/>
                  </a:cubicBezTo>
                  <a:cubicBezTo>
                    <a:pt x="1133" y="1073"/>
                    <a:pt x="1158" y="1081"/>
                    <a:pt x="1152" y="1096"/>
                  </a:cubicBezTo>
                  <a:cubicBezTo>
                    <a:pt x="1155" y="1097"/>
                    <a:pt x="1156" y="1097"/>
                    <a:pt x="1159" y="1097"/>
                  </a:cubicBezTo>
                  <a:cubicBezTo>
                    <a:pt x="1160" y="1103"/>
                    <a:pt x="1166" y="1106"/>
                    <a:pt x="1167" y="1111"/>
                  </a:cubicBezTo>
                  <a:cubicBezTo>
                    <a:pt x="1167" y="1112"/>
                    <a:pt x="1165" y="1113"/>
                    <a:pt x="1166" y="1114"/>
                  </a:cubicBezTo>
                  <a:cubicBezTo>
                    <a:pt x="1168" y="1117"/>
                    <a:pt x="1173" y="1119"/>
                    <a:pt x="1170" y="1125"/>
                  </a:cubicBezTo>
                  <a:cubicBezTo>
                    <a:pt x="1173" y="1127"/>
                    <a:pt x="1176" y="1130"/>
                    <a:pt x="1177" y="1135"/>
                  </a:cubicBezTo>
                  <a:cubicBezTo>
                    <a:pt x="1185" y="1138"/>
                    <a:pt x="1193" y="1135"/>
                    <a:pt x="1201" y="1139"/>
                  </a:cubicBezTo>
                  <a:cubicBezTo>
                    <a:pt x="1202" y="1136"/>
                    <a:pt x="1204" y="1135"/>
                    <a:pt x="1205" y="1133"/>
                  </a:cubicBezTo>
                  <a:cubicBezTo>
                    <a:pt x="1198" y="1129"/>
                    <a:pt x="1198" y="1121"/>
                    <a:pt x="1194" y="1114"/>
                  </a:cubicBezTo>
                  <a:close/>
                  <a:moveTo>
                    <a:pt x="1073" y="1080"/>
                  </a:moveTo>
                  <a:cubicBezTo>
                    <a:pt x="1077" y="1081"/>
                    <a:pt x="1078" y="1078"/>
                    <a:pt x="1079" y="1074"/>
                  </a:cubicBezTo>
                  <a:cubicBezTo>
                    <a:pt x="1077" y="1073"/>
                    <a:pt x="1076" y="1072"/>
                    <a:pt x="1074" y="1072"/>
                  </a:cubicBezTo>
                  <a:cubicBezTo>
                    <a:pt x="1073" y="1074"/>
                    <a:pt x="1071" y="1078"/>
                    <a:pt x="1073" y="1080"/>
                  </a:cubicBezTo>
                  <a:close/>
                  <a:moveTo>
                    <a:pt x="1399" y="1111"/>
                  </a:moveTo>
                  <a:cubicBezTo>
                    <a:pt x="1401" y="1111"/>
                    <a:pt x="1401" y="1110"/>
                    <a:pt x="1402" y="1110"/>
                  </a:cubicBezTo>
                  <a:cubicBezTo>
                    <a:pt x="1402" y="1109"/>
                    <a:pt x="1402" y="1107"/>
                    <a:pt x="1402" y="1105"/>
                  </a:cubicBezTo>
                  <a:cubicBezTo>
                    <a:pt x="1401" y="1103"/>
                    <a:pt x="1396" y="1104"/>
                    <a:pt x="1394" y="1103"/>
                  </a:cubicBezTo>
                  <a:cubicBezTo>
                    <a:pt x="1395" y="1106"/>
                    <a:pt x="1396" y="1110"/>
                    <a:pt x="1399" y="1111"/>
                  </a:cubicBezTo>
                  <a:close/>
                  <a:moveTo>
                    <a:pt x="1321" y="1124"/>
                  </a:moveTo>
                  <a:cubicBezTo>
                    <a:pt x="1324" y="1124"/>
                    <a:pt x="1324" y="1121"/>
                    <a:pt x="1324" y="1118"/>
                  </a:cubicBezTo>
                  <a:cubicBezTo>
                    <a:pt x="1321" y="1118"/>
                    <a:pt x="1319" y="1120"/>
                    <a:pt x="1319" y="1123"/>
                  </a:cubicBezTo>
                  <a:cubicBezTo>
                    <a:pt x="1319" y="1123"/>
                    <a:pt x="1321" y="1123"/>
                    <a:pt x="1321" y="1124"/>
                  </a:cubicBezTo>
                  <a:close/>
                  <a:moveTo>
                    <a:pt x="1318" y="1124"/>
                  </a:moveTo>
                  <a:cubicBezTo>
                    <a:pt x="1315" y="1123"/>
                    <a:pt x="1315" y="1125"/>
                    <a:pt x="1315" y="1127"/>
                  </a:cubicBezTo>
                  <a:cubicBezTo>
                    <a:pt x="1317" y="1128"/>
                    <a:pt x="1318" y="1126"/>
                    <a:pt x="1318" y="1124"/>
                  </a:cubicBezTo>
                  <a:close/>
                  <a:moveTo>
                    <a:pt x="1345" y="1125"/>
                  </a:moveTo>
                  <a:cubicBezTo>
                    <a:pt x="1345" y="1132"/>
                    <a:pt x="1345" y="1132"/>
                    <a:pt x="1345" y="1132"/>
                  </a:cubicBezTo>
                  <a:cubicBezTo>
                    <a:pt x="1349" y="1133"/>
                    <a:pt x="1349" y="1123"/>
                    <a:pt x="1345" y="1125"/>
                  </a:cubicBezTo>
                  <a:close/>
                  <a:moveTo>
                    <a:pt x="1341" y="1137"/>
                  </a:moveTo>
                  <a:cubicBezTo>
                    <a:pt x="1332" y="1139"/>
                    <a:pt x="1321" y="1137"/>
                    <a:pt x="1318" y="1129"/>
                  </a:cubicBezTo>
                  <a:cubicBezTo>
                    <a:pt x="1312" y="1142"/>
                    <a:pt x="1315" y="1151"/>
                    <a:pt x="1311" y="1163"/>
                  </a:cubicBezTo>
                  <a:cubicBezTo>
                    <a:pt x="1317" y="1161"/>
                    <a:pt x="1316" y="1168"/>
                    <a:pt x="1323" y="1170"/>
                  </a:cubicBezTo>
                  <a:cubicBezTo>
                    <a:pt x="1325" y="1164"/>
                    <a:pt x="1332" y="1162"/>
                    <a:pt x="1334" y="1155"/>
                  </a:cubicBezTo>
                  <a:cubicBezTo>
                    <a:pt x="1333" y="1154"/>
                    <a:pt x="1331" y="1155"/>
                    <a:pt x="1331" y="1152"/>
                  </a:cubicBezTo>
                  <a:cubicBezTo>
                    <a:pt x="1335" y="1148"/>
                    <a:pt x="1338" y="1143"/>
                    <a:pt x="1341" y="1137"/>
                  </a:cubicBezTo>
                  <a:close/>
                  <a:moveTo>
                    <a:pt x="1196" y="1143"/>
                  </a:moveTo>
                  <a:cubicBezTo>
                    <a:pt x="1192" y="1143"/>
                    <a:pt x="1192" y="1143"/>
                    <a:pt x="1192" y="1143"/>
                  </a:cubicBezTo>
                  <a:cubicBezTo>
                    <a:pt x="1191" y="1146"/>
                    <a:pt x="1191" y="1151"/>
                    <a:pt x="1195" y="1151"/>
                  </a:cubicBezTo>
                  <a:cubicBezTo>
                    <a:pt x="1194" y="1148"/>
                    <a:pt x="1197" y="1147"/>
                    <a:pt x="1196" y="1143"/>
                  </a:cubicBezTo>
                  <a:close/>
                  <a:moveTo>
                    <a:pt x="284" y="1289"/>
                  </a:moveTo>
                  <a:cubicBezTo>
                    <a:pt x="281" y="1281"/>
                    <a:pt x="276" y="1275"/>
                    <a:pt x="270" y="1271"/>
                  </a:cubicBezTo>
                  <a:cubicBezTo>
                    <a:pt x="272" y="1279"/>
                    <a:pt x="278" y="1284"/>
                    <a:pt x="284" y="1289"/>
                  </a:cubicBezTo>
                  <a:close/>
                  <a:moveTo>
                    <a:pt x="286" y="1293"/>
                  </a:moveTo>
                  <a:cubicBezTo>
                    <a:pt x="286" y="1295"/>
                    <a:pt x="287" y="1296"/>
                    <a:pt x="290" y="1296"/>
                  </a:cubicBezTo>
                  <a:cubicBezTo>
                    <a:pt x="290" y="1293"/>
                    <a:pt x="288" y="1293"/>
                    <a:pt x="286" y="1293"/>
                  </a:cubicBezTo>
                  <a:close/>
                  <a:moveTo>
                    <a:pt x="350" y="1358"/>
                  </a:moveTo>
                  <a:cubicBezTo>
                    <a:pt x="349" y="1355"/>
                    <a:pt x="347" y="1352"/>
                    <a:pt x="343" y="1351"/>
                  </a:cubicBezTo>
                  <a:cubicBezTo>
                    <a:pt x="344" y="1355"/>
                    <a:pt x="348" y="1356"/>
                    <a:pt x="350" y="1358"/>
                  </a:cubicBezTo>
                  <a:close/>
                  <a:moveTo>
                    <a:pt x="359" y="1369"/>
                  </a:moveTo>
                  <a:cubicBezTo>
                    <a:pt x="360" y="1371"/>
                    <a:pt x="361" y="1373"/>
                    <a:pt x="364" y="1374"/>
                  </a:cubicBezTo>
                  <a:cubicBezTo>
                    <a:pt x="363" y="1372"/>
                    <a:pt x="361" y="1367"/>
                    <a:pt x="359" y="1369"/>
                  </a:cubicBezTo>
                  <a:close/>
                  <a:moveTo>
                    <a:pt x="369" y="1383"/>
                  </a:moveTo>
                  <a:cubicBezTo>
                    <a:pt x="373" y="1382"/>
                    <a:pt x="369" y="1389"/>
                    <a:pt x="373" y="1388"/>
                  </a:cubicBezTo>
                  <a:cubicBezTo>
                    <a:pt x="374" y="1384"/>
                    <a:pt x="371" y="1380"/>
                    <a:pt x="369" y="1383"/>
                  </a:cubicBezTo>
                  <a:close/>
                  <a:moveTo>
                    <a:pt x="364" y="1432"/>
                  </a:moveTo>
                  <a:cubicBezTo>
                    <a:pt x="361" y="1431"/>
                    <a:pt x="359" y="1429"/>
                    <a:pt x="356" y="1428"/>
                  </a:cubicBezTo>
                  <a:cubicBezTo>
                    <a:pt x="358" y="1433"/>
                    <a:pt x="356" y="1436"/>
                    <a:pt x="360" y="1439"/>
                  </a:cubicBezTo>
                  <a:cubicBezTo>
                    <a:pt x="363" y="1440"/>
                    <a:pt x="365" y="1440"/>
                    <a:pt x="366" y="1438"/>
                  </a:cubicBezTo>
                  <a:cubicBezTo>
                    <a:pt x="363" y="1436"/>
                    <a:pt x="362" y="1435"/>
                    <a:pt x="364" y="1432"/>
                  </a:cubicBezTo>
                  <a:close/>
                  <a:moveTo>
                    <a:pt x="732" y="67"/>
                  </a:moveTo>
                  <a:cubicBezTo>
                    <a:pt x="718" y="64"/>
                    <a:pt x="703" y="59"/>
                    <a:pt x="689" y="58"/>
                  </a:cubicBezTo>
                  <a:cubicBezTo>
                    <a:pt x="682" y="54"/>
                    <a:pt x="675" y="54"/>
                    <a:pt x="668" y="48"/>
                  </a:cubicBezTo>
                  <a:cubicBezTo>
                    <a:pt x="680" y="51"/>
                    <a:pt x="684" y="46"/>
                    <a:pt x="696" y="47"/>
                  </a:cubicBezTo>
                  <a:cubicBezTo>
                    <a:pt x="697" y="42"/>
                    <a:pt x="691" y="44"/>
                    <a:pt x="691" y="41"/>
                  </a:cubicBezTo>
                  <a:cubicBezTo>
                    <a:pt x="694" y="41"/>
                    <a:pt x="697" y="42"/>
                    <a:pt x="701" y="42"/>
                  </a:cubicBezTo>
                  <a:cubicBezTo>
                    <a:pt x="702" y="40"/>
                    <a:pt x="703" y="39"/>
                    <a:pt x="704" y="37"/>
                  </a:cubicBezTo>
                  <a:cubicBezTo>
                    <a:pt x="702" y="34"/>
                    <a:pt x="698" y="39"/>
                    <a:pt x="697" y="36"/>
                  </a:cubicBezTo>
                  <a:cubicBezTo>
                    <a:pt x="700" y="35"/>
                    <a:pt x="702" y="35"/>
                    <a:pt x="703" y="32"/>
                  </a:cubicBezTo>
                  <a:cubicBezTo>
                    <a:pt x="693" y="28"/>
                    <a:pt x="680" y="24"/>
                    <a:pt x="665" y="25"/>
                  </a:cubicBezTo>
                  <a:cubicBezTo>
                    <a:pt x="664" y="22"/>
                    <a:pt x="665" y="22"/>
                    <a:pt x="661" y="21"/>
                  </a:cubicBezTo>
                  <a:cubicBezTo>
                    <a:pt x="670" y="20"/>
                    <a:pt x="687" y="24"/>
                    <a:pt x="692" y="14"/>
                  </a:cubicBezTo>
                  <a:cubicBezTo>
                    <a:pt x="678" y="11"/>
                    <a:pt x="670" y="15"/>
                    <a:pt x="657" y="14"/>
                  </a:cubicBezTo>
                  <a:cubicBezTo>
                    <a:pt x="662" y="10"/>
                    <a:pt x="670" y="9"/>
                    <a:pt x="675" y="5"/>
                  </a:cubicBezTo>
                  <a:cubicBezTo>
                    <a:pt x="669" y="3"/>
                    <a:pt x="658" y="6"/>
                    <a:pt x="655" y="0"/>
                  </a:cubicBezTo>
                  <a:cubicBezTo>
                    <a:pt x="626" y="0"/>
                    <a:pt x="595" y="8"/>
                    <a:pt x="569" y="17"/>
                  </a:cubicBezTo>
                  <a:cubicBezTo>
                    <a:pt x="555" y="11"/>
                    <a:pt x="540" y="23"/>
                    <a:pt x="526" y="24"/>
                  </a:cubicBezTo>
                  <a:cubicBezTo>
                    <a:pt x="527" y="24"/>
                    <a:pt x="527" y="23"/>
                    <a:pt x="525" y="23"/>
                  </a:cubicBezTo>
                  <a:cubicBezTo>
                    <a:pt x="524" y="25"/>
                    <a:pt x="522" y="24"/>
                    <a:pt x="524" y="26"/>
                  </a:cubicBezTo>
                  <a:cubicBezTo>
                    <a:pt x="515" y="28"/>
                    <a:pt x="507" y="32"/>
                    <a:pt x="499" y="35"/>
                  </a:cubicBezTo>
                  <a:cubicBezTo>
                    <a:pt x="460" y="51"/>
                    <a:pt x="419" y="76"/>
                    <a:pt x="386" y="98"/>
                  </a:cubicBezTo>
                  <a:cubicBezTo>
                    <a:pt x="324" y="140"/>
                    <a:pt x="261" y="193"/>
                    <a:pt x="212" y="249"/>
                  </a:cubicBezTo>
                  <a:cubicBezTo>
                    <a:pt x="191" y="272"/>
                    <a:pt x="179" y="300"/>
                    <a:pt x="165" y="324"/>
                  </a:cubicBezTo>
                  <a:cubicBezTo>
                    <a:pt x="168" y="328"/>
                    <a:pt x="160" y="331"/>
                    <a:pt x="163" y="334"/>
                  </a:cubicBezTo>
                  <a:cubicBezTo>
                    <a:pt x="165" y="330"/>
                    <a:pt x="166" y="337"/>
                    <a:pt x="164" y="337"/>
                  </a:cubicBezTo>
                  <a:cubicBezTo>
                    <a:pt x="166" y="338"/>
                    <a:pt x="167" y="335"/>
                    <a:pt x="168" y="337"/>
                  </a:cubicBezTo>
                  <a:cubicBezTo>
                    <a:pt x="166" y="341"/>
                    <a:pt x="165" y="346"/>
                    <a:pt x="170" y="347"/>
                  </a:cubicBezTo>
                  <a:cubicBezTo>
                    <a:pt x="168" y="379"/>
                    <a:pt x="140" y="395"/>
                    <a:pt x="144" y="426"/>
                  </a:cubicBezTo>
                  <a:cubicBezTo>
                    <a:pt x="152" y="412"/>
                    <a:pt x="160" y="398"/>
                    <a:pt x="167" y="384"/>
                  </a:cubicBezTo>
                  <a:cubicBezTo>
                    <a:pt x="167" y="372"/>
                    <a:pt x="176" y="369"/>
                    <a:pt x="181" y="360"/>
                  </a:cubicBezTo>
                  <a:cubicBezTo>
                    <a:pt x="183" y="361"/>
                    <a:pt x="182" y="364"/>
                    <a:pt x="185" y="363"/>
                  </a:cubicBezTo>
                  <a:cubicBezTo>
                    <a:pt x="191" y="353"/>
                    <a:pt x="203" y="345"/>
                    <a:pt x="215" y="346"/>
                  </a:cubicBezTo>
                  <a:cubicBezTo>
                    <a:pt x="213" y="351"/>
                    <a:pt x="211" y="355"/>
                    <a:pt x="208" y="359"/>
                  </a:cubicBezTo>
                  <a:cubicBezTo>
                    <a:pt x="211" y="358"/>
                    <a:pt x="213" y="355"/>
                    <a:pt x="216" y="354"/>
                  </a:cubicBezTo>
                  <a:cubicBezTo>
                    <a:pt x="216" y="354"/>
                    <a:pt x="214" y="356"/>
                    <a:pt x="215" y="356"/>
                  </a:cubicBezTo>
                  <a:cubicBezTo>
                    <a:pt x="221" y="356"/>
                    <a:pt x="223" y="349"/>
                    <a:pt x="231" y="343"/>
                  </a:cubicBezTo>
                  <a:cubicBezTo>
                    <a:pt x="233" y="343"/>
                    <a:pt x="232" y="346"/>
                    <a:pt x="234" y="345"/>
                  </a:cubicBezTo>
                  <a:cubicBezTo>
                    <a:pt x="237" y="341"/>
                    <a:pt x="241" y="339"/>
                    <a:pt x="245" y="337"/>
                  </a:cubicBezTo>
                  <a:cubicBezTo>
                    <a:pt x="245" y="340"/>
                    <a:pt x="245" y="340"/>
                    <a:pt x="245" y="340"/>
                  </a:cubicBezTo>
                  <a:cubicBezTo>
                    <a:pt x="250" y="342"/>
                    <a:pt x="251" y="335"/>
                    <a:pt x="253" y="337"/>
                  </a:cubicBezTo>
                  <a:cubicBezTo>
                    <a:pt x="252" y="340"/>
                    <a:pt x="251" y="342"/>
                    <a:pt x="252" y="345"/>
                  </a:cubicBezTo>
                  <a:cubicBezTo>
                    <a:pt x="256" y="348"/>
                    <a:pt x="261" y="345"/>
                    <a:pt x="263" y="345"/>
                  </a:cubicBezTo>
                  <a:cubicBezTo>
                    <a:pt x="265" y="350"/>
                    <a:pt x="267" y="353"/>
                    <a:pt x="269" y="356"/>
                  </a:cubicBezTo>
                  <a:cubicBezTo>
                    <a:pt x="267" y="362"/>
                    <a:pt x="262" y="369"/>
                    <a:pt x="263" y="376"/>
                  </a:cubicBezTo>
                  <a:cubicBezTo>
                    <a:pt x="264" y="376"/>
                    <a:pt x="266" y="375"/>
                    <a:pt x="267" y="377"/>
                  </a:cubicBezTo>
                  <a:cubicBezTo>
                    <a:pt x="267" y="409"/>
                    <a:pt x="253" y="443"/>
                    <a:pt x="230" y="460"/>
                  </a:cubicBezTo>
                  <a:cubicBezTo>
                    <a:pt x="223" y="457"/>
                    <a:pt x="211" y="460"/>
                    <a:pt x="206" y="465"/>
                  </a:cubicBezTo>
                  <a:cubicBezTo>
                    <a:pt x="208" y="459"/>
                    <a:pt x="203" y="460"/>
                    <a:pt x="201" y="457"/>
                  </a:cubicBezTo>
                  <a:cubicBezTo>
                    <a:pt x="199" y="450"/>
                    <a:pt x="204" y="445"/>
                    <a:pt x="201" y="438"/>
                  </a:cubicBezTo>
                  <a:cubicBezTo>
                    <a:pt x="190" y="438"/>
                    <a:pt x="182" y="442"/>
                    <a:pt x="174" y="446"/>
                  </a:cubicBezTo>
                  <a:cubicBezTo>
                    <a:pt x="173" y="457"/>
                    <a:pt x="179" y="464"/>
                    <a:pt x="176" y="479"/>
                  </a:cubicBezTo>
                  <a:cubicBezTo>
                    <a:pt x="179" y="479"/>
                    <a:pt x="178" y="476"/>
                    <a:pt x="181" y="477"/>
                  </a:cubicBezTo>
                  <a:cubicBezTo>
                    <a:pt x="176" y="481"/>
                    <a:pt x="181" y="491"/>
                    <a:pt x="178" y="499"/>
                  </a:cubicBezTo>
                  <a:cubicBezTo>
                    <a:pt x="179" y="500"/>
                    <a:pt x="183" y="499"/>
                    <a:pt x="182" y="503"/>
                  </a:cubicBezTo>
                  <a:cubicBezTo>
                    <a:pt x="175" y="505"/>
                    <a:pt x="172" y="508"/>
                    <a:pt x="165" y="512"/>
                  </a:cubicBezTo>
                  <a:cubicBezTo>
                    <a:pt x="153" y="509"/>
                    <a:pt x="145" y="524"/>
                    <a:pt x="138" y="532"/>
                  </a:cubicBezTo>
                  <a:cubicBezTo>
                    <a:pt x="139" y="542"/>
                    <a:pt x="138" y="555"/>
                    <a:pt x="141" y="565"/>
                  </a:cubicBezTo>
                  <a:cubicBezTo>
                    <a:pt x="140" y="581"/>
                    <a:pt x="132" y="593"/>
                    <a:pt x="128" y="608"/>
                  </a:cubicBezTo>
                  <a:cubicBezTo>
                    <a:pt x="123" y="608"/>
                    <a:pt x="123" y="614"/>
                    <a:pt x="119" y="615"/>
                  </a:cubicBezTo>
                  <a:cubicBezTo>
                    <a:pt x="116" y="611"/>
                    <a:pt x="111" y="615"/>
                    <a:pt x="109" y="611"/>
                  </a:cubicBezTo>
                  <a:cubicBezTo>
                    <a:pt x="101" y="617"/>
                    <a:pt x="97" y="627"/>
                    <a:pt x="92" y="636"/>
                  </a:cubicBezTo>
                  <a:cubicBezTo>
                    <a:pt x="89" y="634"/>
                    <a:pt x="87" y="631"/>
                    <a:pt x="84" y="629"/>
                  </a:cubicBezTo>
                  <a:cubicBezTo>
                    <a:pt x="84" y="624"/>
                    <a:pt x="85" y="617"/>
                    <a:pt x="82" y="615"/>
                  </a:cubicBezTo>
                  <a:cubicBezTo>
                    <a:pt x="78" y="614"/>
                    <a:pt x="79" y="617"/>
                    <a:pt x="76" y="617"/>
                  </a:cubicBezTo>
                  <a:cubicBezTo>
                    <a:pt x="76" y="616"/>
                    <a:pt x="77" y="614"/>
                    <a:pt x="76" y="614"/>
                  </a:cubicBezTo>
                  <a:cubicBezTo>
                    <a:pt x="75" y="615"/>
                    <a:pt x="74" y="617"/>
                    <a:pt x="72" y="617"/>
                  </a:cubicBezTo>
                  <a:cubicBezTo>
                    <a:pt x="71" y="614"/>
                    <a:pt x="70" y="614"/>
                    <a:pt x="67" y="615"/>
                  </a:cubicBezTo>
                  <a:cubicBezTo>
                    <a:pt x="67" y="612"/>
                    <a:pt x="67" y="610"/>
                    <a:pt x="65" y="610"/>
                  </a:cubicBezTo>
                  <a:cubicBezTo>
                    <a:pt x="63" y="612"/>
                    <a:pt x="60" y="614"/>
                    <a:pt x="60" y="619"/>
                  </a:cubicBezTo>
                  <a:cubicBezTo>
                    <a:pt x="60" y="621"/>
                    <a:pt x="64" y="620"/>
                    <a:pt x="64" y="623"/>
                  </a:cubicBezTo>
                  <a:cubicBezTo>
                    <a:pt x="61" y="625"/>
                    <a:pt x="63" y="631"/>
                    <a:pt x="60" y="633"/>
                  </a:cubicBezTo>
                  <a:cubicBezTo>
                    <a:pt x="60" y="630"/>
                    <a:pt x="55" y="632"/>
                    <a:pt x="53" y="630"/>
                  </a:cubicBezTo>
                  <a:cubicBezTo>
                    <a:pt x="46" y="635"/>
                    <a:pt x="49" y="645"/>
                    <a:pt x="45" y="651"/>
                  </a:cubicBezTo>
                  <a:cubicBezTo>
                    <a:pt x="43" y="654"/>
                    <a:pt x="39" y="655"/>
                    <a:pt x="37" y="657"/>
                  </a:cubicBezTo>
                  <a:cubicBezTo>
                    <a:pt x="34" y="661"/>
                    <a:pt x="36" y="668"/>
                    <a:pt x="31" y="671"/>
                  </a:cubicBezTo>
                  <a:cubicBezTo>
                    <a:pt x="30" y="671"/>
                    <a:pt x="29" y="670"/>
                    <a:pt x="27" y="671"/>
                  </a:cubicBezTo>
                  <a:cubicBezTo>
                    <a:pt x="21" y="675"/>
                    <a:pt x="25" y="682"/>
                    <a:pt x="22" y="689"/>
                  </a:cubicBezTo>
                  <a:cubicBezTo>
                    <a:pt x="20" y="687"/>
                    <a:pt x="23" y="681"/>
                    <a:pt x="19" y="681"/>
                  </a:cubicBezTo>
                  <a:cubicBezTo>
                    <a:pt x="21" y="694"/>
                    <a:pt x="15" y="700"/>
                    <a:pt x="19" y="711"/>
                  </a:cubicBezTo>
                  <a:cubicBezTo>
                    <a:pt x="16" y="710"/>
                    <a:pt x="18" y="714"/>
                    <a:pt x="15" y="714"/>
                  </a:cubicBezTo>
                  <a:cubicBezTo>
                    <a:pt x="8" y="753"/>
                    <a:pt x="0" y="800"/>
                    <a:pt x="3" y="845"/>
                  </a:cubicBezTo>
                  <a:cubicBezTo>
                    <a:pt x="4" y="874"/>
                    <a:pt x="7" y="900"/>
                    <a:pt x="10" y="925"/>
                  </a:cubicBezTo>
                  <a:cubicBezTo>
                    <a:pt x="22" y="1004"/>
                    <a:pt x="40" y="1074"/>
                    <a:pt x="66" y="1136"/>
                  </a:cubicBezTo>
                  <a:cubicBezTo>
                    <a:pt x="81" y="1172"/>
                    <a:pt x="97" y="1206"/>
                    <a:pt x="116" y="1234"/>
                  </a:cubicBezTo>
                  <a:cubicBezTo>
                    <a:pt x="115" y="1232"/>
                    <a:pt x="115" y="1229"/>
                    <a:pt x="117" y="1227"/>
                  </a:cubicBezTo>
                  <a:cubicBezTo>
                    <a:pt x="134" y="1241"/>
                    <a:pt x="145" y="1273"/>
                    <a:pt x="172" y="1283"/>
                  </a:cubicBezTo>
                  <a:cubicBezTo>
                    <a:pt x="177" y="1290"/>
                    <a:pt x="184" y="1296"/>
                    <a:pt x="193" y="1299"/>
                  </a:cubicBezTo>
                  <a:cubicBezTo>
                    <a:pt x="195" y="1290"/>
                    <a:pt x="188" y="1276"/>
                    <a:pt x="187" y="1270"/>
                  </a:cubicBezTo>
                  <a:cubicBezTo>
                    <a:pt x="197" y="1287"/>
                    <a:pt x="206" y="1311"/>
                    <a:pt x="224" y="1317"/>
                  </a:cubicBezTo>
                  <a:cubicBezTo>
                    <a:pt x="228" y="1313"/>
                    <a:pt x="231" y="1308"/>
                    <a:pt x="231" y="1303"/>
                  </a:cubicBezTo>
                  <a:cubicBezTo>
                    <a:pt x="238" y="1307"/>
                    <a:pt x="241" y="1316"/>
                    <a:pt x="248" y="1319"/>
                  </a:cubicBezTo>
                  <a:cubicBezTo>
                    <a:pt x="249" y="1319"/>
                    <a:pt x="249" y="1318"/>
                    <a:pt x="250" y="1319"/>
                  </a:cubicBezTo>
                  <a:cubicBezTo>
                    <a:pt x="251" y="1313"/>
                    <a:pt x="247" y="1308"/>
                    <a:pt x="248" y="1306"/>
                  </a:cubicBezTo>
                  <a:cubicBezTo>
                    <a:pt x="254" y="1312"/>
                    <a:pt x="261" y="1316"/>
                    <a:pt x="263" y="1325"/>
                  </a:cubicBezTo>
                  <a:cubicBezTo>
                    <a:pt x="261" y="1325"/>
                    <a:pt x="260" y="1324"/>
                    <a:pt x="259" y="1323"/>
                  </a:cubicBezTo>
                  <a:cubicBezTo>
                    <a:pt x="259" y="1328"/>
                    <a:pt x="262" y="1331"/>
                    <a:pt x="267" y="1332"/>
                  </a:cubicBezTo>
                  <a:cubicBezTo>
                    <a:pt x="266" y="1329"/>
                    <a:pt x="270" y="1330"/>
                    <a:pt x="271" y="1330"/>
                  </a:cubicBezTo>
                  <a:cubicBezTo>
                    <a:pt x="278" y="1334"/>
                    <a:pt x="279" y="1342"/>
                    <a:pt x="288" y="1343"/>
                  </a:cubicBezTo>
                  <a:cubicBezTo>
                    <a:pt x="307" y="1338"/>
                    <a:pt x="305" y="1369"/>
                    <a:pt x="319" y="1374"/>
                  </a:cubicBezTo>
                  <a:cubicBezTo>
                    <a:pt x="329" y="1373"/>
                    <a:pt x="332" y="1378"/>
                    <a:pt x="337" y="1382"/>
                  </a:cubicBezTo>
                  <a:cubicBezTo>
                    <a:pt x="352" y="1381"/>
                    <a:pt x="352" y="1394"/>
                    <a:pt x="361" y="1399"/>
                  </a:cubicBezTo>
                  <a:cubicBezTo>
                    <a:pt x="362" y="1395"/>
                    <a:pt x="375" y="1396"/>
                    <a:pt x="372" y="1400"/>
                  </a:cubicBezTo>
                  <a:cubicBezTo>
                    <a:pt x="371" y="1399"/>
                    <a:pt x="368" y="1399"/>
                    <a:pt x="365" y="1399"/>
                  </a:cubicBezTo>
                  <a:cubicBezTo>
                    <a:pt x="365" y="1407"/>
                    <a:pt x="373" y="1411"/>
                    <a:pt x="378" y="1416"/>
                  </a:cubicBezTo>
                  <a:cubicBezTo>
                    <a:pt x="383" y="1422"/>
                    <a:pt x="384" y="1431"/>
                    <a:pt x="391" y="1435"/>
                  </a:cubicBezTo>
                  <a:cubicBezTo>
                    <a:pt x="392" y="1431"/>
                    <a:pt x="391" y="1431"/>
                    <a:pt x="392" y="1429"/>
                  </a:cubicBezTo>
                  <a:cubicBezTo>
                    <a:pt x="393" y="1432"/>
                    <a:pt x="396" y="1428"/>
                    <a:pt x="397" y="1429"/>
                  </a:cubicBezTo>
                  <a:cubicBezTo>
                    <a:pt x="396" y="1422"/>
                    <a:pt x="390" y="1420"/>
                    <a:pt x="388" y="1414"/>
                  </a:cubicBezTo>
                  <a:cubicBezTo>
                    <a:pt x="390" y="1414"/>
                    <a:pt x="390" y="1416"/>
                    <a:pt x="392" y="1416"/>
                  </a:cubicBezTo>
                  <a:cubicBezTo>
                    <a:pt x="390" y="1411"/>
                    <a:pt x="387" y="1407"/>
                    <a:pt x="383" y="1404"/>
                  </a:cubicBezTo>
                  <a:cubicBezTo>
                    <a:pt x="383" y="1399"/>
                    <a:pt x="381" y="1394"/>
                    <a:pt x="375" y="1392"/>
                  </a:cubicBezTo>
                  <a:cubicBezTo>
                    <a:pt x="373" y="1393"/>
                    <a:pt x="370" y="1398"/>
                    <a:pt x="368" y="1393"/>
                  </a:cubicBezTo>
                  <a:cubicBezTo>
                    <a:pt x="370" y="1393"/>
                    <a:pt x="372" y="1393"/>
                    <a:pt x="373" y="1391"/>
                  </a:cubicBezTo>
                  <a:cubicBezTo>
                    <a:pt x="367" y="1388"/>
                    <a:pt x="368" y="1373"/>
                    <a:pt x="359" y="1376"/>
                  </a:cubicBezTo>
                  <a:cubicBezTo>
                    <a:pt x="362" y="1377"/>
                    <a:pt x="363" y="1378"/>
                    <a:pt x="362" y="1382"/>
                  </a:cubicBezTo>
                  <a:cubicBezTo>
                    <a:pt x="358" y="1381"/>
                    <a:pt x="356" y="1378"/>
                    <a:pt x="356" y="1374"/>
                  </a:cubicBezTo>
                  <a:cubicBezTo>
                    <a:pt x="357" y="1374"/>
                    <a:pt x="358" y="1376"/>
                    <a:pt x="358" y="1373"/>
                  </a:cubicBezTo>
                  <a:cubicBezTo>
                    <a:pt x="356" y="1370"/>
                    <a:pt x="351" y="1364"/>
                    <a:pt x="350" y="1363"/>
                  </a:cubicBezTo>
                  <a:cubicBezTo>
                    <a:pt x="352" y="1364"/>
                    <a:pt x="356" y="1368"/>
                    <a:pt x="359" y="1366"/>
                  </a:cubicBezTo>
                  <a:cubicBezTo>
                    <a:pt x="354" y="1361"/>
                    <a:pt x="347" y="1360"/>
                    <a:pt x="342" y="1354"/>
                  </a:cubicBezTo>
                  <a:cubicBezTo>
                    <a:pt x="342" y="1353"/>
                    <a:pt x="343" y="1350"/>
                    <a:pt x="342" y="1349"/>
                  </a:cubicBezTo>
                  <a:cubicBezTo>
                    <a:pt x="340" y="1344"/>
                    <a:pt x="329" y="1331"/>
                    <a:pt x="325" y="1332"/>
                  </a:cubicBezTo>
                  <a:cubicBezTo>
                    <a:pt x="324" y="1338"/>
                    <a:pt x="333" y="1340"/>
                    <a:pt x="332" y="1343"/>
                  </a:cubicBezTo>
                  <a:cubicBezTo>
                    <a:pt x="326" y="1344"/>
                    <a:pt x="328" y="1336"/>
                    <a:pt x="323" y="1336"/>
                  </a:cubicBezTo>
                  <a:cubicBezTo>
                    <a:pt x="322" y="1338"/>
                    <a:pt x="326" y="1339"/>
                    <a:pt x="323" y="1340"/>
                  </a:cubicBezTo>
                  <a:cubicBezTo>
                    <a:pt x="320" y="1338"/>
                    <a:pt x="321" y="1332"/>
                    <a:pt x="320" y="1329"/>
                  </a:cubicBezTo>
                  <a:cubicBezTo>
                    <a:pt x="314" y="1329"/>
                    <a:pt x="311" y="1319"/>
                    <a:pt x="316" y="1317"/>
                  </a:cubicBezTo>
                  <a:cubicBezTo>
                    <a:pt x="314" y="1313"/>
                    <a:pt x="309" y="1312"/>
                    <a:pt x="305" y="1310"/>
                  </a:cubicBezTo>
                  <a:cubicBezTo>
                    <a:pt x="303" y="1313"/>
                    <a:pt x="308" y="1317"/>
                    <a:pt x="309" y="1320"/>
                  </a:cubicBezTo>
                  <a:cubicBezTo>
                    <a:pt x="303" y="1316"/>
                    <a:pt x="299" y="1309"/>
                    <a:pt x="292" y="1307"/>
                  </a:cubicBezTo>
                  <a:cubicBezTo>
                    <a:pt x="297" y="1308"/>
                    <a:pt x="291" y="1304"/>
                    <a:pt x="295" y="1303"/>
                  </a:cubicBezTo>
                  <a:cubicBezTo>
                    <a:pt x="297" y="1306"/>
                    <a:pt x="299" y="1313"/>
                    <a:pt x="302" y="1310"/>
                  </a:cubicBezTo>
                  <a:cubicBezTo>
                    <a:pt x="299" y="1307"/>
                    <a:pt x="297" y="1303"/>
                    <a:pt x="293" y="1300"/>
                  </a:cubicBezTo>
                  <a:cubicBezTo>
                    <a:pt x="292" y="1301"/>
                    <a:pt x="293" y="1304"/>
                    <a:pt x="291" y="1303"/>
                  </a:cubicBezTo>
                  <a:cubicBezTo>
                    <a:pt x="285" y="1295"/>
                    <a:pt x="279" y="1286"/>
                    <a:pt x="269" y="1281"/>
                  </a:cubicBezTo>
                  <a:cubicBezTo>
                    <a:pt x="271" y="1275"/>
                    <a:pt x="265" y="1278"/>
                    <a:pt x="266" y="1272"/>
                  </a:cubicBezTo>
                  <a:cubicBezTo>
                    <a:pt x="268" y="1272"/>
                    <a:pt x="269" y="1275"/>
                    <a:pt x="268" y="1271"/>
                  </a:cubicBezTo>
                  <a:cubicBezTo>
                    <a:pt x="266" y="1260"/>
                    <a:pt x="254" y="1254"/>
                    <a:pt x="248" y="1245"/>
                  </a:cubicBezTo>
                  <a:cubicBezTo>
                    <a:pt x="244" y="1238"/>
                    <a:pt x="242" y="1230"/>
                    <a:pt x="237" y="1223"/>
                  </a:cubicBezTo>
                  <a:cubicBezTo>
                    <a:pt x="231" y="1216"/>
                    <a:pt x="220" y="1208"/>
                    <a:pt x="214" y="1202"/>
                  </a:cubicBezTo>
                  <a:cubicBezTo>
                    <a:pt x="209" y="1198"/>
                    <a:pt x="204" y="1191"/>
                    <a:pt x="201" y="1187"/>
                  </a:cubicBezTo>
                  <a:cubicBezTo>
                    <a:pt x="193" y="1176"/>
                    <a:pt x="191" y="1162"/>
                    <a:pt x="182" y="1150"/>
                  </a:cubicBezTo>
                  <a:cubicBezTo>
                    <a:pt x="180" y="1147"/>
                    <a:pt x="177" y="1146"/>
                    <a:pt x="175" y="1144"/>
                  </a:cubicBezTo>
                  <a:cubicBezTo>
                    <a:pt x="171" y="1137"/>
                    <a:pt x="170" y="1129"/>
                    <a:pt x="165" y="1122"/>
                  </a:cubicBezTo>
                  <a:cubicBezTo>
                    <a:pt x="155" y="1116"/>
                    <a:pt x="153" y="1102"/>
                    <a:pt x="146" y="1094"/>
                  </a:cubicBezTo>
                  <a:cubicBezTo>
                    <a:pt x="145" y="1085"/>
                    <a:pt x="139" y="1081"/>
                    <a:pt x="136" y="1075"/>
                  </a:cubicBezTo>
                  <a:cubicBezTo>
                    <a:pt x="137" y="1068"/>
                    <a:pt x="133" y="1067"/>
                    <a:pt x="130" y="1064"/>
                  </a:cubicBezTo>
                  <a:cubicBezTo>
                    <a:pt x="122" y="1042"/>
                    <a:pt x="108" y="1020"/>
                    <a:pt x="110" y="990"/>
                  </a:cubicBezTo>
                  <a:cubicBezTo>
                    <a:pt x="111" y="968"/>
                    <a:pt x="125" y="947"/>
                    <a:pt x="123" y="923"/>
                  </a:cubicBezTo>
                  <a:cubicBezTo>
                    <a:pt x="122" y="920"/>
                    <a:pt x="120" y="917"/>
                    <a:pt x="120" y="913"/>
                  </a:cubicBezTo>
                  <a:cubicBezTo>
                    <a:pt x="119" y="905"/>
                    <a:pt x="120" y="896"/>
                    <a:pt x="120" y="887"/>
                  </a:cubicBezTo>
                  <a:cubicBezTo>
                    <a:pt x="120" y="855"/>
                    <a:pt x="122" y="823"/>
                    <a:pt x="133" y="797"/>
                  </a:cubicBezTo>
                  <a:cubicBezTo>
                    <a:pt x="133" y="795"/>
                    <a:pt x="129" y="796"/>
                    <a:pt x="129" y="792"/>
                  </a:cubicBezTo>
                  <a:cubicBezTo>
                    <a:pt x="132" y="789"/>
                    <a:pt x="131" y="781"/>
                    <a:pt x="131" y="775"/>
                  </a:cubicBezTo>
                  <a:cubicBezTo>
                    <a:pt x="127" y="771"/>
                    <a:pt x="123" y="769"/>
                    <a:pt x="119" y="767"/>
                  </a:cubicBezTo>
                  <a:cubicBezTo>
                    <a:pt x="119" y="766"/>
                    <a:pt x="118" y="765"/>
                    <a:pt x="118" y="764"/>
                  </a:cubicBezTo>
                  <a:cubicBezTo>
                    <a:pt x="120" y="763"/>
                    <a:pt x="120" y="765"/>
                    <a:pt x="122" y="765"/>
                  </a:cubicBezTo>
                  <a:cubicBezTo>
                    <a:pt x="120" y="760"/>
                    <a:pt x="125" y="758"/>
                    <a:pt x="125" y="752"/>
                  </a:cubicBezTo>
                  <a:cubicBezTo>
                    <a:pt x="126" y="748"/>
                    <a:pt x="121" y="742"/>
                    <a:pt x="124" y="737"/>
                  </a:cubicBezTo>
                  <a:cubicBezTo>
                    <a:pt x="116" y="733"/>
                    <a:pt x="117" y="722"/>
                    <a:pt x="115" y="716"/>
                  </a:cubicBezTo>
                  <a:cubicBezTo>
                    <a:pt x="111" y="715"/>
                    <a:pt x="112" y="718"/>
                    <a:pt x="109" y="719"/>
                  </a:cubicBezTo>
                  <a:cubicBezTo>
                    <a:pt x="106" y="716"/>
                    <a:pt x="108" y="715"/>
                    <a:pt x="108" y="711"/>
                  </a:cubicBezTo>
                  <a:cubicBezTo>
                    <a:pt x="104" y="711"/>
                    <a:pt x="104" y="707"/>
                    <a:pt x="103" y="704"/>
                  </a:cubicBezTo>
                  <a:cubicBezTo>
                    <a:pt x="98" y="704"/>
                    <a:pt x="98" y="704"/>
                    <a:pt x="98" y="704"/>
                  </a:cubicBezTo>
                  <a:cubicBezTo>
                    <a:pt x="93" y="698"/>
                    <a:pt x="96" y="692"/>
                    <a:pt x="96" y="686"/>
                  </a:cubicBezTo>
                  <a:cubicBezTo>
                    <a:pt x="96" y="684"/>
                    <a:pt x="94" y="683"/>
                    <a:pt x="94" y="681"/>
                  </a:cubicBezTo>
                  <a:cubicBezTo>
                    <a:pt x="91" y="660"/>
                    <a:pt x="98" y="633"/>
                    <a:pt x="108" y="621"/>
                  </a:cubicBezTo>
                  <a:cubicBezTo>
                    <a:pt x="110" y="623"/>
                    <a:pt x="114" y="624"/>
                    <a:pt x="116" y="626"/>
                  </a:cubicBezTo>
                  <a:cubicBezTo>
                    <a:pt x="115" y="630"/>
                    <a:pt x="112" y="632"/>
                    <a:pt x="112" y="637"/>
                  </a:cubicBezTo>
                  <a:cubicBezTo>
                    <a:pt x="117" y="639"/>
                    <a:pt x="119" y="633"/>
                    <a:pt x="118" y="627"/>
                  </a:cubicBezTo>
                  <a:cubicBezTo>
                    <a:pt x="119" y="626"/>
                    <a:pt x="122" y="629"/>
                    <a:pt x="124" y="626"/>
                  </a:cubicBezTo>
                  <a:cubicBezTo>
                    <a:pt x="123" y="616"/>
                    <a:pt x="135" y="614"/>
                    <a:pt x="139" y="607"/>
                  </a:cubicBezTo>
                  <a:cubicBezTo>
                    <a:pt x="142" y="600"/>
                    <a:pt x="142" y="593"/>
                    <a:pt x="148" y="587"/>
                  </a:cubicBezTo>
                  <a:cubicBezTo>
                    <a:pt x="149" y="594"/>
                    <a:pt x="155" y="582"/>
                    <a:pt x="157" y="579"/>
                  </a:cubicBezTo>
                  <a:cubicBezTo>
                    <a:pt x="153" y="565"/>
                    <a:pt x="166" y="554"/>
                    <a:pt x="171" y="543"/>
                  </a:cubicBezTo>
                  <a:cubicBezTo>
                    <a:pt x="169" y="540"/>
                    <a:pt x="168" y="538"/>
                    <a:pt x="172" y="536"/>
                  </a:cubicBezTo>
                  <a:cubicBezTo>
                    <a:pt x="180" y="539"/>
                    <a:pt x="191" y="525"/>
                    <a:pt x="196" y="521"/>
                  </a:cubicBezTo>
                  <a:cubicBezTo>
                    <a:pt x="197" y="519"/>
                    <a:pt x="200" y="519"/>
                    <a:pt x="202" y="518"/>
                  </a:cubicBezTo>
                  <a:cubicBezTo>
                    <a:pt x="213" y="509"/>
                    <a:pt x="220" y="483"/>
                    <a:pt x="233" y="480"/>
                  </a:cubicBezTo>
                  <a:cubicBezTo>
                    <a:pt x="239" y="479"/>
                    <a:pt x="243" y="485"/>
                    <a:pt x="249" y="482"/>
                  </a:cubicBezTo>
                  <a:cubicBezTo>
                    <a:pt x="251" y="477"/>
                    <a:pt x="258" y="477"/>
                    <a:pt x="262" y="475"/>
                  </a:cubicBezTo>
                  <a:cubicBezTo>
                    <a:pt x="266" y="472"/>
                    <a:pt x="268" y="466"/>
                    <a:pt x="272" y="463"/>
                  </a:cubicBezTo>
                  <a:cubicBezTo>
                    <a:pt x="277" y="459"/>
                    <a:pt x="285" y="458"/>
                    <a:pt x="290" y="455"/>
                  </a:cubicBezTo>
                  <a:cubicBezTo>
                    <a:pt x="294" y="451"/>
                    <a:pt x="296" y="444"/>
                    <a:pt x="300" y="441"/>
                  </a:cubicBezTo>
                  <a:cubicBezTo>
                    <a:pt x="304" y="438"/>
                    <a:pt x="308" y="440"/>
                    <a:pt x="312" y="437"/>
                  </a:cubicBezTo>
                  <a:cubicBezTo>
                    <a:pt x="314" y="435"/>
                    <a:pt x="314" y="431"/>
                    <a:pt x="317" y="428"/>
                  </a:cubicBezTo>
                  <a:cubicBezTo>
                    <a:pt x="325" y="419"/>
                    <a:pt x="338" y="420"/>
                    <a:pt x="338" y="407"/>
                  </a:cubicBezTo>
                  <a:cubicBezTo>
                    <a:pt x="334" y="405"/>
                    <a:pt x="335" y="399"/>
                    <a:pt x="332" y="397"/>
                  </a:cubicBezTo>
                  <a:cubicBezTo>
                    <a:pt x="339" y="382"/>
                    <a:pt x="347" y="367"/>
                    <a:pt x="361" y="359"/>
                  </a:cubicBezTo>
                  <a:cubicBezTo>
                    <a:pt x="361" y="356"/>
                    <a:pt x="359" y="356"/>
                    <a:pt x="360" y="354"/>
                  </a:cubicBezTo>
                  <a:cubicBezTo>
                    <a:pt x="365" y="351"/>
                    <a:pt x="370" y="348"/>
                    <a:pt x="374" y="344"/>
                  </a:cubicBezTo>
                  <a:cubicBezTo>
                    <a:pt x="374" y="341"/>
                    <a:pt x="370" y="342"/>
                    <a:pt x="371" y="337"/>
                  </a:cubicBezTo>
                  <a:cubicBezTo>
                    <a:pt x="388" y="325"/>
                    <a:pt x="401" y="308"/>
                    <a:pt x="408" y="286"/>
                  </a:cubicBezTo>
                  <a:cubicBezTo>
                    <a:pt x="413" y="284"/>
                    <a:pt x="417" y="281"/>
                    <a:pt x="422" y="279"/>
                  </a:cubicBezTo>
                  <a:cubicBezTo>
                    <a:pt x="424" y="297"/>
                    <a:pt x="412" y="301"/>
                    <a:pt x="406" y="311"/>
                  </a:cubicBezTo>
                  <a:cubicBezTo>
                    <a:pt x="403" y="317"/>
                    <a:pt x="402" y="325"/>
                    <a:pt x="398" y="329"/>
                  </a:cubicBezTo>
                  <a:cubicBezTo>
                    <a:pt x="396" y="331"/>
                    <a:pt x="393" y="331"/>
                    <a:pt x="391" y="334"/>
                  </a:cubicBezTo>
                  <a:cubicBezTo>
                    <a:pt x="391" y="343"/>
                    <a:pt x="386" y="348"/>
                    <a:pt x="384" y="357"/>
                  </a:cubicBezTo>
                  <a:cubicBezTo>
                    <a:pt x="376" y="358"/>
                    <a:pt x="374" y="364"/>
                    <a:pt x="373" y="372"/>
                  </a:cubicBezTo>
                  <a:cubicBezTo>
                    <a:pt x="375" y="372"/>
                    <a:pt x="375" y="374"/>
                    <a:pt x="378" y="373"/>
                  </a:cubicBezTo>
                  <a:cubicBezTo>
                    <a:pt x="383" y="372"/>
                    <a:pt x="380" y="368"/>
                    <a:pt x="382" y="365"/>
                  </a:cubicBezTo>
                  <a:cubicBezTo>
                    <a:pt x="388" y="356"/>
                    <a:pt x="405" y="350"/>
                    <a:pt x="400" y="338"/>
                  </a:cubicBezTo>
                  <a:cubicBezTo>
                    <a:pt x="403" y="335"/>
                    <a:pt x="407" y="331"/>
                    <a:pt x="410" y="327"/>
                  </a:cubicBezTo>
                  <a:cubicBezTo>
                    <a:pt x="416" y="327"/>
                    <a:pt x="423" y="320"/>
                    <a:pt x="427" y="314"/>
                  </a:cubicBezTo>
                  <a:cubicBezTo>
                    <a:pt x="423" y="314"/>
                    <a:pt x="422" y="316"/>
                    <a:pt x="419" y="316"/>
                  </a:cubicBezTo>
                  <a:cubicBezTo>
                    <a:pt x="414" y="306"/>
                    <a:pt x="425" y="301"/>
                    <a:pt x="432" y="296"/>
                  </a:cubicBezTo>
                  <a:cubicBezTo>
                    <a:pt x="440" y="280"/>
                    <a:pt x="440" y="261"/>
                    <a:pt x="455" y="252"/>
                  </a:cubicBezTo>
                  <a:cubicBezTo>
                    <a:pt x="463" y="252"/>
                    <a:pt x="465" y="246"/>
                    <a:pt x="472" y="245"/>
                  </a:cubicBezTo>
                  <a:cubicBezTo>
                    <a:pt x="470" y="233"/>
                    <a:pt x="485" y="234"/>
                    <a:pt x="481" y="223"/>
                  </a:cubicBezTo>
                  <a:cubicBezTo>
                    <a:pt x="483" y="221"/>
                    <a:pt x="486" y="221"/>
                    <a:pt x="486" y="216"/>
                  </a:cubicBezTo>
                  <a:cubicBezTo>
                    <a:pt x="487" y="213"/>
                    <a:pt x="482" y="216"/>
                    <a:pt x="483" y="213"/>
                  </a:cubicBezTo>
                  <a:cubicBezTo>
                    <a:pt x="491" y="213"/>
                    <a:pt x="494" y="204"/>
                    <a:pt x="492" y="196"/>
                  </a:cubicBezTo>
                  <a:cubicBezTo>
                    <a:pt x="493" y="194"/>
                    <a:pt x="497" y="194"/>
                    <a:pt x="497" y="191"/>
                  </a:cubicBezTo>
                  <a:cubicBezTo>
                    <a:pt x="497" y="186"/>
                    <a:pt x="492" y="186"/>
                    <a:pt x="492" y="182"/>
                  </a:cubicBezTo>
                  <a:cubicBezTo>
                    <a:pt x="495" y="167"/>
                    <a:pt x="487" y="159"/>
                    <a:pt x="484" y="146"/>
                  </a:cubicBezTo>
                  <a:cubicBezTo>
                    <a:pt x="484" y="141"/>
                    <a:pt x="491" y="134"/>
                    <a:pt x="487" y="130"/>
                  </a:cubicBezTo>
                  <a:cubicBezTo>
                    <a:pt x="498" y="125"/>
                    <a:pt x="507" y="118"/>
                    <a:pt x="512" y="111"/>
                  </a:cubicBezTo>
                  <a:cubicBezTo>
                    <a:pt x="507" y="109"/>
                    <a:pt x="503" y="115"/>
                    <a:pt x="498" y="116"/>
                  </a:cubicBezTo>
                  <a:cubicBezTo>
                    <a:pt x="498" y="114"/>
                    <a:pt x="498" y="114"/>
                    <a:pt x="499" y="113"/>
                  </a:cubicBezTo>
                  <a:cubicBezTo>
                    <a:pt x="492" y="118"/>
                    <a:pt x="487" y="126"/>
                    <a:pt x="479" y="130"/>
                  </a:cubicBezTo>
                  <a:cubicBezTo>
                    <a:pt x="478" y="133"/>
                    <a:pt x="481" y="132"/>
                    <a:pt x="482" y="134"/>
                  </a:cubicBezTo>
                  <a:cubicBezTo>
                    <a:pt x="479" y="133"/>
                    <a:pt x="478" y="135"/>
                    <a:pt x="476" y="135"/>
                  </a:cubicBezTo>
                  <a:cubicBezTo>
                    <a:pt x="477" y="137"/>
                    <a:pt x="478" y="141"/>
                    <a:pt x="474" y="141"/>
                  </a:cubicBezTo>
                  <a:cubicBezTo>
                    <a:pt x="472" y="135"/>
                    <a:pt x="473" y="130"/>
                    <a:pt x="478" y="125"/>
                  </a:cubicBezTo>
                  <a:cubicBezTo>
                    <a:pt x="480" y="123"/>
                    <a:pt x="484" y="123"/>
                    <a:pt x="487" y="121"/>
                  </a:cubicBezTo>
                  <a:cubicBezTo>
                    <a:pt x="489" y="120"/>
                    <a:pt x="489" y="118"/>
                    <a:pt x="490" y="117"/>
                  </a:cubicBezTo>
                  <a:cubicBezTo>
                    <a:pt x="496" y="112"/>
                    <a:pt x="503" y="113"/>
                    <a:pt x="508" y="108"/>
                  </a:cubicBezTo>
                  <a:cubicBezTo>
                    <a:pt x="503" y="106"/>
                    <a:pt x="506" y="101"/>
                    <a:pt x="510" y="99"/>
                  </a:cubicBezTo>
                  <a:cubicBezTo>
                    <a:pt x="509" y="100"/>
                    <a:pt x="519" y="101"/>
                    <a:pt x="516" y="97"/>
                  </a:cubicBezTo>
                  <a:cubicBezTo>
                    <a:pt x="514" y="96"/>
                    <a:pt x="512" y="100"/>
                    <a:pt x="511" y="97"/>
                  </a:cubicBezTo>
                  <a:cubicBezTo>
                    <a:pt x="511" y="95"/>
                    <a:pt x="510" y="95"/>
                    <a:pt x="511" y="94"/>
                  </a:cubicBezTo>
                  <a:cubicBezTo>
                    <a:pt x="515" y="96"/>
                    <a:pt x="520" y="97"/>
                    <a:pt x="523" y="93"/>
                  </a:cubicBezTo>
                  <a:cubicBezTo>
                    <a:pt x="521" y="91"/>
                    <a:pt x="519" y="95"/>
                    <a:pt x="519" y="93"/>
                  </a:cubicBezTo>
                  <a:cubicBezTo>
                    <a:pt x="517" y="87"/>
                    <a:pt x="525" y="87"/>
                    <a:pt x="529" y="82"/>
                  </a:cubicBezTo>
                  <a:cubicBezTo>
                    <a:pt x="531" y="78"/>
                    <a:pt x="530" y="72"/>
                    <a:pt x="534" y="71"/>
                  </a:cubicBezTo>
                  <a:cubicBezTo>
                    <a:pt x="535" y="71"/>
                    <a:pt x="538" y="78"/>
                    <a:pt x="539" y="73"/>
                  </a:cubicBezTo>
                  <a:cubicBezTo>
                    <a:pt x="539" y="69"/>
                    <a:pt x="537" y="71"/>
                    <a:pt x="537" y="66"/>
                  </a:cubicBezTo>
                  <a:cubicBezTo>
                    <a:pt x="540" y="66"/>
                    <a:pt x="539" y="64"/>
                    <a:pt x="541" y="64"/>
                  </a:cubicBezTo>
                  <a:cubicBezTo>
                    <a:pt x="541" y="67"/>
                    <a:pt x="538" y="68"/>
                    <a:pt x="540" y="70"/>
                  </a:cubicBezTo>
                  <a:cubicBezTo>
                    <a:pt x="543" y="70"/>
                    <a:pt x="542" y="67"/>
                    <a:pt x="545" y="68"/>
                  </a:cubicBezTo>
                  <a:cubicBezTo>
                    <a:pt x="543" y="69"/>
                    <a:pt x="541" y="74"/>
                    <a:pt x="545" y="74"/>
                  </a:cubicBezTo>
                  <a:cubicBezTo>
                    <a:pt x="549" y="70"/>
                    <a:pt x="548" y="67"/>
                    <a:pt x="551" y="63"/>
                  </a:cubicBezTo>
                  <a:cubicBezTo>
                    <a:pt x="547" y="63"/>
                    <a:pt x="544" y="67"/>
                    <a:pt x="542" y="63"/>
                  </a:cubicBezTo>
                  <a:cubicBezTo>
                    <a:pt x="547" y="61"/>
                    <a:pt x="548" y="62"/>
                    <a:pt x="554" y="59"/>
                  </a:cubicBezTo>
                  <a:cubicBezTo>
                    <a:pt x="553" y="60"/>
                    <a:pt x="552" y="61"/>
                    <a:pt x="554" y="62"/>
                  </a:cubicBezTo>
                  <a:cubicBezTo>
                    <a:pt x="568" y="51"/>
                    <a:pt x="591" y="49"/>
                    <a:pt x="609" y="42"/>
                  </a:cubicBezTo>
                  <a:cubicBezTo>
                    <a:pt x="609" y="43"/>
                    <a:pt x="611" y="43"/>
                    <a:pt x="612" y="43"/>
                  </a:cubicBezTo>
                  <a:cubicBezTo>
                    <a:pt x="611" y="44"/>
                    <a:pt x="611" y="45"/>
                    <a:pt x="612" y="47"/>
                  </a:cubicBezTo>
                  <a:cubicBezTo>
                    <a:pt x="622" y="44"/>
                    <a:pt x="628" y="50"/>
                    <a:pt x="635" y="48"/>
                  </a:cubicBezTo>
                  <a:cubicBezTo>
                    <a:pt x="635" y="45"/>
                    <a:pt x="631" y="48"/>
                    <a:pt x="633" y="44"/>
                  </a:cubicBezTo>
                  <a:cubicBezTo>
                    <a:pt x="637" y="45"/>
                    <a:pt x="640" y="47"/>
                    <a:pt x="645" y="47"/>
                  </a:cubicBezTo>
                  <a:cubicBezTo>
                    <a:pt x="646" y="48"/>
                    <a:pt x="646" y="49"/>
                    <a:pt x="645" y="50"/>
                  </a:cubicBezTo>
                  <a:cubicBezTo>
                    <a:pt x="649" y="50"/>
                    <a:pt x="651" y="52"/>
                    <a:pt x="653" y="54"/>
                  </a:cubicBezTo>
                  <a:cubicBezTo>
                    <a:pt x="648" y="58"/>
                    <a:pt x="643" y="48"/>
                    <a:pt x="639" y="54"/>
                  </a:cubicBezTo>
                  <a:cubicBezTo>
                    <a:pt x="646" y="57"/>
                    <a:pt x="652" y="62"/>
                    <a:pt x="661" y="59"/>
                  </a:cubicBezTo>
                  <a:cubicBezTo>
                    <a:pt x="661" y="52"/>
                    <a:pt x="653" y="59"/>
                    <a:pt x="652" y="55"/>
                  </a:cubicBezTo>
                  <a:cubicBezTo>
                    <a:pt x="672" y="52"/>
                    <a:pt x="695" y="70"/>
                    <a:pt x="717" y="64"/>
                  </a:cubicBezTo>
                  <a:cubicBezTo>
                    <a:pt x="725" y="68"/>
                    <a:pt x="736" y="69"/>
                    <a:pt x="747" y="71"/>
                  </a:cubicBezTo>
                  <a:cubicBezTo>
                    <a:pt x="744" y="64"/>
                    <a:pt x="738" y="68"/>
                    <a:pt x="732" y="67"/>
                  </a:cubicBezTo>
                  <a:close/>
                  <a:moveTo>
                    <a:pt x="60" y="652"/>
                  </a:moveTo>
                  <a:cubicBezTo>
                    <a:pt x="56" y="649"/>
                    <a:pt x="61" y="641"/>
                    <a:pt x="61" y="636"/>
                  </a:cubicBezTo>
                  <a:cubicBezTo>
                    <a:pt x="66" y="642"/>
                    <a:pt x="62" y="646"/>
                    <a:pt x="60" y="652"/>
                  </a:cubicBezTo>
                  <a:close/>
                  <a:moveTo>
                    <a:pt x="380" y="1401"/>
                  </a:moveTo>
                  <a:cubicBezTo>
                    <a:pt x="381" y="1407"/>
                    <a:pt x="388" y="1407"/>
                    <a:pt x="384" y="1414"/>
                  </a:cubicBezTo>
                  <a:cubicBezTo>
                    <a:pt x="381" y="1414"/>
                    <a:pt x="383" y="1410"/>
                    <a:pt x="381" y="1410"/>
                  </a:cubicBezTo>
                  <a:cubicBezTo>
                    <a:pt x="381" y="1409"/>
                    <a:pt x="383" y="1409"/>
                    <a:pt x="384" y="1409"/>
                  </a:cubicBezTo>
                  <a:cubicBezTo>
                    <a:pt x="382" y="1407"/>
                    <a:pt x="382" y="1405"/>
                    <a:pt x="379" y="1405"/>
                  </a:cubicBezTo>
                  <a:cubicBezTo>
                    <a:pt x="380" y="1407"/>
                    <a:pt x="373" y="1409"/>
                    <a:pt x="373" y="1404"/>
                  </a:cubicBezTo>
                  <a:cubicBezTo>
                    <a:pt x="377" y="1403"/>
                    <a:pt x="375" y="1402"/>
                    <a:pt x="380" y="1401"/>
                  </a:cubicBezTo>
                  <a:close/>
                  <a:moveTo>
                    <a:pt x="119" y="1239"/>
                  </a:moveTo>
                  <a:cubicBezTo>
                    <a:pt x="118" y="1237"/>
                    <a:pt x="117" y="1236"/>
                    <a:pt x="116" y="1234"/>
                  </a:cubicBezTo>
                  <a:cubicBezTo>
                    <a:pt x="116" y="1236"/>
                    <a:pt x="117" y="1238"/>
                    <a:pt x="119" y="1239"/>
                  </a:cubicBezTo>
                  <a:close/>
                  <a:moveTo>
                    <a:pt x="1279" y="110"/>
                  </a:moveTo>
                  <a:cubicBezTo>
                    <a:pt x="1291" y="112"/>
                    <a:pt x="1291" y="124"/>
                    <a:pt x="1301" y="127"/>
                  </a:cubicBezTo>
                  <a:cubicBezTo>
                    <a:pt x="1304" y="123"/>
                    <a:pt x="1297" y="119"/>
                    <a:pt x="1301" y="115"/>
                  </a:cubicBezTo>
                  <a:cubicBezTo>
                    <a:pt x="1292" y="82"/>
                    <a:pt x="1253" y="76"/>
                    <a:pt x="1235" y="55"/>
                  </a:cubicBezTo>
                  <a:cubicBezTo>
                    <a:pt x="1241" y="60"/>
                    <a:pt x="1248" y="64"/>
                    <a:pt x="1255" y="68"/>
                  </a:cubicBezTo>
                  <a:cubicBezTo>
                    <a:pt x="1256" y="65"/>
                    <a:pt x="1251" y="64"/>
                    <a:pt x="1254" y="63"/>
                  </a:cubicBezTo>
                  <a:cubicBezTo>
                    <a:pt x="1269" y="69"/>
                    <a:pt x="1280" y="82"/>
                    <a:pt x="1295" y="85"/>
                  </a:cubicBezTo>
                  <a:cubicBezTo>
                    <a:pt x="1294" y="85"/>
                    <a:pt x="1292" y="83"/>
                    <a:pt x="1294" y="83"/>
                  </a:cubicBezTo>
                  <a:cubicBezTo>
                    <a:pt x="1321" y="93"/>
                    <a:pt x="1341" y="109"/>
                    <a:pt x="1361" y="126"/>
                  </a:cubicBezTo>
                  <a:cubicBezTo>
                    <a:pt x="1363" y="128"/>
                    <a:pt x="1364" y="125"/>
                    <a:pt x="1366" y="127"/>
                  </a:cubicBezTo>
                  <a:cubicBezTo>
                    <a:pt x="1365" y="131"/>
                    <a:pt x="1368" y="130"/>
                    <a:pt x="1368" y="133"/>
                  </a:cubicBezTo>
                  <a:cubicBezTo>
                    <a:pt x="1365" y="131"/>
                    <a:pt x="1363" y="128"/>
                    <a:pt x="1359" y="127"/>
                  </a:cubicBezTo>
                  <a:cubicBezTo>
                    <a:pt x="1359" y="129"/>
                    <a:pt x="1359" y="131"/>
                    <a:pt x="1358" y="131"/>
                  </a:cubicBezTo>
                  <a:cubicBezTo>
                    <a:pt x="1355" y="128"/>
                    <a:pt x="1352" y="125"/>
                    <a:pt x="1348" y="122"/>
                  </a:cubicBezTo>
                  <a:cubicBezTo>
                    <a:pt x="1357" y="133"/>
                    <a:pt x="1366" y="147"/>
                    <a:pt x="1370" y="159"/>
                  </a:cubicBezTo>
                  <a:cubicBezTo>
                    <a:pt x="1370" y="158"/>
                    <a:pt x="1372" y="157"/>
                    <a:pt x="1373" y="157"/>
                  </a:cubicBezTo>
                  <a:cubicBezTo>
                    <a:pt x="1376" y="162"/>
                    <a:pt x="1381" y="165"/>
                    <a:pt x="1383" y="170"/>
                  </a:cubicBezTo>
                  <a:cubicBezTo>
                    <a:pt x="1383" y="175"/>
                    <a:pt x="1380" y="175"/>
                    <a:pt x="1383" y="179"/>
                  </a:cubicBezTo>
                  <a:cubicBezTo>
                    <a:pt x="1386" y="177"/>
                    <a:pt x="1390" y="179"/>
                    <a:pt x="1393" y="183"/>
                  </a:cubicBezTo>
                  <a:cubicBezTo>
                    <a:pt x="1386" y="167"/>
                    <a:pt x="1375" y="155"/>
                    <a:pt x="1367" y="141"/>
                  </a:cubicBezTo>
                  <a:cubicBezTo>
                    <a:pt x="1395" y="168"/>
                    <a:pt x="1421" y="203"/>
                    <a:pt x="1450" y="226"/>
                  </a:cubicBezTo>
                  <a:cubicBezTo>
                    <a:pt x="1454" y="228"/>
                    <a:pt x="1451" y="223"/>
                    <a:pt x="1453" y="223"/>
                  </a:cubicBezTo>
                  <a:cubicBezTo>
                    <a:pt x="1457" y="230"/>
                    <a:pt x="1464" y="234"/>
                    <a:pt x="1469" y="241"/>
                  </a:cubicBezTo>
                  <a:cubicBezTo>
                    <a:pt x="1476" y="250"/>
                    <a:pt x="1489" y="260"/>
                    <a:pt x="1492" y="268"/>
                  </a:cubicBezTo>
                  <a:cubicBezTo>
                    <a:pt x="1492" y="271"/>
                    <a:pt x="1493" y="277"/>
                    <a:pt x="1493" y="280"/>
                  </a:cubicBezTo>
                  <a:cubicBezTo>
                    <a:pt x="1495" y="288"/>
                    <a:pt x="1495" y="297"/>
                    <a:pt x="1499" y="303"/>
                  </a:cubicBezTo>
                  <a:cubicBezTo>
                    <a:pt x="1502" y="307"/>
                    <a:pt x="1509" y="308"/>
                    <a:pt x="1513" y="311"/>
                  </a:cubicBezTo>
                  <a:cubicBezTo>
                    <a:pt x="1515" y="313"/>
                    <a:pt x="1514" y="318"/>
                    <a:pt x="1518" y="316"/>
                  </a:cubicBezTo>
                  <a:cubicBezTo>
                    <a:pt x="1513" y="306"/>
                    <a:pt x="1511" y="297"/>
                    <a:pt x="1505" y="287"/>
                  </a:cubicBezTo>
                  <a:cubicBezTo>
                    <a:pt x="1508" y="285"/>
                    <a:pt x="1510" y="289"/>
                    <a:pt x="1511" y="287"/>
                  </a:cubicBezTo>
                  <a:cubicBezTo>
                    <a:pt x="1508" y="282"/>
                    <a:pt x="1502" y="276"/>
                    <a:pt x="1502" y="271"/>
                  </a:cubicBezTo>
                  <a:cubicBezTo>
                    <a:pt x="1509" y="270"/>
                    <a:pt x="1514" y="284"/>
                    <a:pt x="1519" y="285"/>
                  </a:cubicBezTo>
                  <a:cubicBezTo>
                    <a:pt x="1515" y="279"/>
                    <a:pt x="1511" y="273"/>
                    <a:pt x="1507" y="267"/>
                  </a:cubicBezTo>
                  <a:cubicBezTo>
                    <a:pt x="1517" y="278"/>
                    <a:pt x="1527" y="289"/>
                    <a:pt x="1536" y="301"/>
                  </a:cubicBezTo>
                  <a:cubicBezTo>
                    <a:pt x="1534" y="301"/>
                    <a:pt x="1533" y="299"/>
                    <a:pt x="1533" y="301"/>
                  </a:cubicBezTo>
                  <a:cubicBezTo>
                    <a:pt x="1534" y="303"/>
                    <a:pt x="1536" y="304"/>
                    <a:pt x="1537" y="308"/>
                  </a:cubicBezTo>
                  <a:cubicBezTo>
                    <a:pt x="1532" y="303"/>
                    <a:pt x="1529" y="298"/>
                    <a:pt x="1523" y="297"/>
                  </a:cubicBezTo>
                  <a:cubicBezTo>
                    <a:pt x="1532" y="309"/>
                    <a:pt x="1543" y="319"/>
                    <a:pt x="1550" y="333"/>
                  </a:cubicBezTo>
                  <a:cubicBezTo>
                    <a:pt x="1545" y="340"/>
                    <a:pt x="1555" y="346"/>
                    <a:pt x="1552" y="356"/>
                  </a:cubicBezTo>
                  <a:cubicBezTo>
                    <a:pt x="1553" y="358"/>
                    <a:pt x="1556" y="358"/>
                    <a:pt x="1558" y="359"/>
                  </a:cubicBezTo>
                  <a:cubicBezTo>
                    <a:pt x="1557" y="362"/>
                    <a:pt x="1554" y="361"/>
                    <a:pt x="1555" y="364"/>
                  </a:cubicBezTo>
                  <a:cubicBezTo>
                    <a:pt x="1557" y="367"/>
                    <a:pt x="1563" y="371"/>
                    <a:pt x="1562" y="374"/>
                  </a:cubicBezTo>
                  <a:cubicBezTo>
                    <a:pt x="1559" y="373"/>
                    <a:pt x="1558" y="369"/>
                    <a:pt x="1554" y="369"/>
                  </a:cubicBezTo>
                  <a:cubicBezTo>
                    <a:pt x="1555" y="375"/>
                    <a:pt x="1560" y="377"/>
                    <a:pt x="1561" y="383"/>
                  </a:cubicBezTo>
                  <a:cubicBezTo>
                    <a:pt x="1586" y="415"/>
                    <a:pt x="1596" y="460"/>
                    <a:pt x="1625" y="487"/>
                  </a:cubicBezTo>
                  <a:cubicBezTo>
                    <a:pt x="1625" y="486"/>
                    <a:pt x="1625" y="484"/>
                    <a:pt x="1626" y="484"/>
                  </a:cubicBezTo>
                  <a:cubicBezTo>
                    <a:pt x="1632" y="501"/>
                    <a:pt x="1644" y="510"/>
                    <a:pt x="1648" y="528"/>
                  </a:cubicBezTo>
                  <a:cubicBezTo>
                    <a:pt x="1651" y="524"/>
                    <a:pt x="1644" y="518"/>
                    <a:pt x="1647" y="514"/>
                  </a:cubicBezTo>
                  <a:cubicBezTo>
                    <a:pt x="1656" y="534"/>
                    <a:pt x="1671" y="555"/>
                    <a:pt x="1668" y="580"/>
                  </a:cubicBezTo>
                  <a:cubicBezTo>
                    <a:pt x="1668" y="585"/>
                    <a:pt x="1664" y="588"/>
                    <a:pt x="1663" y="592"/>
                  </a:cubicBezTo>
                  <a:cubicBezTo>
                    <a:pt x="1663" y="595"/>
                    <a:pt x="1665" y="598"/>
                    <a:pt x="1665" y="600"/>
                  </a:cubicBezTo>
                  <a:cubicBezTo>
                    <a:pt x="1668" y="621"/>
                    <a:pt x="1667" y="635"/>
                    <a:pt x="1672" y="650"/>
                  </a:cubicBezTo>
                  <a:cubicBezTo>
                    <a:pt x="1674" y="657"/>
                    <a:pt x="1679" y="663"/>
                    <a:pt x="1682" y="671"/>
                  </a:cubicBezTo>
                  <a:cubicBezTo>
                    <a:pt x="1684" y="682"/>
                    <a:pt x="1682" y="693"/>
                    <a:pt x="1689" y="701"/>
                  </a:cubicBezTo>
                  <a:cubicBezTo>
                    <a:pt x="1689" y="678"/>
                    <a:pt x="1689" y="678"/>
                    <a:pt x="1689" y="678"/>
                  </a:cubicBezTo>
                  <a:cubicBezTo>
                    <a:pt x="1695" y="680"/>
                    <a:pt x="1688" y="666"/>
                    <a:pt x="1693" y="663"/>
                  </a:cubicBezTo>
                  <a:cubicBezTo>
                    <a:pt x="1698" y="672"/>
                    <a:pt x="1697" y="688"/>
                    <a:pt x="1701" y="699"/>
                  </a:cubicBezTo>
                  <a:cubicBezTo>
                    <a:pt x="1696" y="644"/>
                    <a:pt x="1684" y="595"/>
                    <a:pt x="1668" y="548"/>
                  </a:cubicBezTo>
                  <a:cubicBezTo>
                    <a:pt x="1631" y="438"/>
                    <a:pt x="1580" y="350"/>
                    <a:pt x="1516" y="270"/>
                  </a:cubicBezTo>
                  <a:cubicBezTo>
                    <a:pt x="1452" y="190"/>
                    <a:pt x="1375" y="128"/>
                    <a:pt x="1285" y="73"/>
                  </a:cubicBezTo>
                  <a:cubicBezTo>
                    <a:pt x="1257" y="57"/>
                    <a:pt x="1214" y="32"/>
                    <a:pt x="1183" y="25"/>
                  </a:cubicBezTo>
                  <a:cubicBezTo>
                    <a:pt x="1172" y="14"/>
                    <a:pt x="1152" y="22"/>
                    <a:pt x="1135" y="23"/>
                  </a:cubicBezTo>
                  <a:cubicBezTo>
                    <a:pt x="1140" y="27"/>
                    <a:pt x="1147" y="29"/>
                    <a:pt x="1150" y="34"/>
                  </a:cubicBezTo>
                  <a:cubicBezTo>
                    <a:pt x="1155" y="30"/>
                    <a:pt x="1165" y="32"/>
                    <a:pt x="1168" y="29"/>
                  </a:cubicBezTo>
                  <a:cubicBezTo>
                    <a:pt x="1169" y="36"/>
                    <a:pt x="1178" y="35"/>
                    <a:pt x="1182" y="38"/>
                  </a:cubicBezTo>
                  <a:cubicBezTo>
                    <a:pt x="1178" y="38"/>
                    <a:pt x="1181" y="41"/>
                    <a:pt x="1178" y="44"/>
                  </a:cubicBezTo>
                  <a:cubicBezTo>
                    <a:pt x="1195" y="45"/>
                    <a:pt x="1207" y="59"/>
                    <a:pt x="1222" y="63"/>
                  </a:cubicBezTo>
                  <a:cubicBezTo>
                    <a:pt x="1223" y="63"/>
                    <a:pt x="1226" y="62"/>
                    <a:pt x="1227" y="62"/>
                  </a:cubicBezTo>
                  <a:cubicBezTo>
                    <a:pt x="1230" y="62"/>
                    <a:pt x="1233" y="65"/>
                    <a:pt x="1237" y="67"/>
                  </a:cubicBezTo>
                  <a:cubicBezTo>
                    <a:pt x="1237" y="67"/>
                    <a:pt x="1237" y="64"/>
                    <a:pt x="1238" y="65"/>
                  </a:cubicBezTo>
                  <a:cubicBezTo>
                    <a:pt x="1246" y="68"/>
                    <a:pt x="1253" y="73"/>
                    <a:pt x="1259" y="80"/>
                  </a:cubicBezTo>
                  <a:cubicBezTo>
                    <a:pt x="1257" y="81"/>
                    <a:pt x="1255" y="77"/>
                    <a:pt x="1254" y="80"/>
                  </a:cubicBezTo>
                  <a:cubicBezTo>
                    <a:pt x="1259" y="82"/>
                    <a:pt x="1257" y="86"/>
                    <a:pt x="1258" y="89"/>
                  </a:cubicBezTo>
                  <a:cubicBezTo>
                    <a:pt x="1264" y="90"/>
                    <a:pt x="1267" y="93"/>
                    <a:pt x="1268" y="99"/>
                  </a:cubicBezTo>
                  <a:cubicBezTo>
                    <a:pt x="1272" y="101"/>
                    <a:pt x="1276" y="102"/>
                    <a:pt x="1278" y="104"/>
                  </a:cubicBezTo>
                  <a:cubicBezTo>
                    <a:pt x="1278" y="107"/>
                    <a:pt x="1279" y="108"/>
                    <a:pt x="1279" y="110"/>
                  </a:cubicBezTo>
                  <a:close/>
                  <a:moveTo>
                    <a:pt x="1357" y="178"/>
                  </a:moveTo>
                  <a:cubicBezTo>
                    <a:pt x="1361" y="180"/>
                    <a:pt x="1366" y="187"/>
                    <a:pt x="1370" y="186"/>
                  </a:cubicBezTo>
                  <a:cubicBezTo>
                    <a:pt x="1366" y="183"/>
                    <a:pt x="1362" y="176"/>
                    <a:pt x="1357" y="178"/>
                  </a:cubicBezTo>
                  <a:close/>
                  <a:moveTo>
                    <a:pt x="1406" y="207"/>
                  </a:moveTo>
                  <a:cubicBezTo>
                    <a:pt x="1400" y="202"/>
                    <a:pt x="1401" y="190"/>
                    <a:pt x="1393" y="188"/>
                  </a:cubicBezTo>
                  <a:cubicBezTo>
                    <a:pt x="1392" y="190"/>
                    <a:pt x="1392" y="193"/>
                    <a:pt x="1391" y="194"/>
                  </a:cubicBezTo>
                  <a:cubicBezTo>
                    <a:pt x="1382" y="196"/>
                    <a:pt x="1379" y="193"/>
                    <a:pt x="1373" y="189"/>
                  </a:cubicBezTo>
                  <a:cubicBezTo>
                    <a:pt x="1375" y="193"/>
                    <a:pt x="1380" y="193"/>
                    <a:pt x="1382" y="195"/>
                  </a:cubicBezTo>
                  <a:cubicBezTo>
                    <a:pt x="1383" y="198"/>
                    <a:pt x="1381" y="198"/>
                    <a:pt x="1381" y="200"/>
                  </a:cubicBezTo>
                  <a:cubicBezTo>
                    <a:pt x="1389" y="204"/>
                    <a:pt x="1394" y="209"/>
                    <a:pt x="1400" y="215"/>
                  </a:cubicBezTo>
                  <a:cubicBezTo>
                    <a:pt x="1404" y="211"/>
                    <a:pt x="1409" y="213"/>
                    <a:pt x="1413" y="215"/>
                  </a:cubicBezTo>
                  <a:cubicBezTo>
                    <a:pt x="1413" y="217"/>
                    <a:pt x="1411" y="217"/>
                    <a:pt x="1410" y="216"/>
                  </a:cubicBezTo>
                  <a:cubicBezTo>
                    <a:pt x="1411" y="221"/>
                    <a:pt x="1415" y="222"/>
                    <a:pt x="1419" y="224"/>
                  </a:cubicBezTo>
                  <a:cubicBezTo>
                    <a:pt x="1416" y="217"/>
                    <a:pt x="1415" y="208"/>
                    <a:pt x="1406" y="207"/>
                  </a:cubicBezTo>
                  <a:close/>
                  <a:moveTo>
                    <a:pt x="1504" y="338"/>
                  </a:moveTo>
                  <a:cubicBezTo>
                    <a:pt x="1504" y="338"/>
                    <a:pt x="1503" y="338"/>
                    <a:pt x="1503" y="337"/>
                  </a:cubicBezTo>
                  <a:cubicBezTo>
                    <a:pt x="1503" y="338"/>
                    <a:pt x="1503" y="339"/>
                    <a:pt x="1504" y="338"/>
                  </a:cubicBezTo>
                  <a:close/>
                  <a:moveTo>
                    <a:pt x="1506" y="326"/>
                  </a:moveTo>
                  <a:cubicBezTo>
                    <a:pt x="1504" y="318"/>
                    <a:pt x="1500" y="311"/>
                    <a:pt x="1492" y="313"/>
                  </a:cubicBezTo>
                  <a:cubicBezTo>
                    <a:pt x="1493" y="323"/>
                    <a:pt x="1498" y="333"/>
                    <a:pt x="1503" y="337"/>
                  </a:cubicBezTo>
                  <a:cubicBezTo>
                    <a:pt x="1503" y="336"/>
                    <a:pt x="1503" y="334"/>
                    <a:pt x="1504" y="335"/>
                  </a:cubicBezTo>
                  <a:cubicBezTo>
                    <a:pt x="1506" y="336"/>
                    <a:pt x="1505" y="340"/>
                    <a:pt x="1509" y="340"/>
                  </a:cubicBezTo>
                  <a:cubicBezTo>
                    <a:pt x="1508" y="331"/>
                    <a:pt x="1504" y="330"/>
                    <a:pt x="1502" y="323"/>
                  </a:cubicBezTo>
                  <a:cubicBezTo>
                    <a:pt x="1504" y="323"/>
                    <a:pt x="1504" y="326"/>
                    <a:pt x="1506" y="326"/>
                  </a:cubicBezTo>
                  <a:close/>
                  <a:moveTo>
                    <a:pt x="1696" y="874"/>
                  </a:moveTo>
                  <a:cubicBezTo>
                    <a:pt x="1696" y="872"/>
                    <a:pt x="1697" y="872"/>
                    <a:pt x="1698" y="873"/>
                  </a:cubicBezTo>
                  <a:cubicBezTo>
                    <a:pt x="1698" y="869"/>
                    <a:pt x="1702" y="864"/>
                    <a:pt x="1699" y="861"/>
                  </a:cubicBezTo>
                  <a:cubicBezTo>
                    <a:pt x="1699" y="866"/>
                    <a:pt x="1695" y="872"/>
                    <a:pt x="1696" y="874"/>
                  </a:cubicBezTo>
                  <a:close/>
                  <a:moveTo>
                    <a:pt x="824" y="1523"/>
                  </a:moveTo>
                  <a:cubicBezTo>
                    <a:pt x="826" y="1525"/>
                    <a:pt x="831" y="1524"/>
                    <a:pt x="833" y="1523"/>
                  </a:cubicBezTo>
                  <a:cubicBezTo>
                    <a:pt x="833" y="1525"/>
                    <a:pt x="833" y="1526"/>
                    <a:pt x="834" y="1527"/>
                  </a:cubicBezTo>
                  <a:cubicBezTo>
                    <a:pt x="832" y="1527"/>
                    <a:pt x="830" y="1528"/>
                    <a:pt x="829" y="1530"/>
                  </a:cubicBezTo>
                  <a:cubicBezTo>
                    <a:pt x="836" y="1537"/>
                    <a:pt x="841" y="1523"/>
                    <a:pt x="845" y="1528"/>
                  </a:cubicBezTo>
                  <a:cubicBezTo>
                    <a:pt x="847" y="1522"/>
                    <a:pt x="852" y="1519"/>
                    <a:pt x="855" y="1515"/>
                  </a:cubicBezTo>
                  <a:cubicBezTo>
                    <a:pt x="846" y="1516"/>
                    <a:pt x="829" y="1515"/>
                    <a:pt x="824" y="152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path path="shape">
                <a:fillToRect l="50000" t="50000" r="50000" b="50000"/>
              </a:path>
              <a:tileRect/>
            </a:gradFill>
            <a:ln w="12700" algn="ctr">
              <a:noFill/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88000" tIns="0" rIns="0" bIns="0" anchor="ctr"/>
            <a:lstStyle/>
            <a:p>
              <a:pPr defTabSz="801688" eaLnBrk="0" hangingPunct="0">
                <a:defRPr/>
              </a:pPr>
              <a:endParaRPr lang="en-GB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" name="Freeform 20" descr="© INSCALE GmbH, 26.05.2010&#10;http://www.presentationload.com/"/>
            <p:cNvSpPr>
              <a:spLocks noEditPoints="1"/>
            </p:cNvSpPr>
            <p:nvPr/>
          </p:nvSpPr>
          <p:spPr bwMode="gray">
            <a:xfrm>
              <a:off x="3568210" y="2727960"/>
              <a:ext cx="1991469" cy="1965960"/>
            </a:xfrm>
            <a:custGeom>
              <a:avLst/>
              <a:gdLst/>
              <a:ahLst/>
              <a:cxnLst>
                <a:cxn ang="0">
                  <a:pos x="1157" y="29"/>
                </a:cxn>
                <a:cxn ang="0">
                  <a:pos x="617" y="117"/>
                </a:cxn>
                <a:cxn ang="0">
                  <a:pos x="656" y="178"/>
                </a:cxn>
                <a:cxn ang="0">
                  <a:pos x="239" y="258"/>
                </a:cxn>
                <a:cxn ang="0">
                  <a:pos x="536" y="255"/>
                </a:cxn>
                <a:cxn ang="0">
                  <a:pos x="663" y="454"/>
                </a:cxn>
                <a:cxn ang="0">
                  <a:pos x="900" y="474"/>
                </a:cxn>
                <a:cxn ang="0">
                  <a:pos x="922" y="511"/>
                </a:cxn>
                <a:cxn ang="0">
                  <a:pos x="908" y="527"/>
                </a:cxn>
                <a:cxn ang="0">
                  <a:pos x="895" y="533"/>
                </a:cxn>
                <a:cxn ang="0">
                  <a:pos x="1040" y="559"/>
                </a:cxn>
                <a:cxn ang="0">
                  <a:pos x="1319" y="1342"/>
                </a:cxn>
                <a:cxn ang="0">
                  <a:pos x="1320" y="1379"/>
                </a:cxn>
                <a:cxn ang="0">
                  <a:pos x="576" y="31"/>
                </a:cxn>
                <a:cxn ang="0">
                  <a:pos x="469" y="123"/>
                </a:cxn>
                <a:cxn ang="0">
                  <a:pos x="676" y="54"/>
                </a:cxn>
                <a:cxn ang="0">
                  <a:pos x="618" y="4"/>
                </a:cxn>
                <a:cxn ang="0">
                  <a:pos x="595" y="5"/>
                </a:cxn>
                <a:cxn ang="0">
                  <a:pos x="513" y="46"/>
                </a:cxn>
                <a:cxn ang="0">
                  <a:pos x="422" y="75"/>
                </a:cxn>
                <a:cxn ang="0">
                  <a:pos x="459" y="67"/>
                </a:cxn>
                <a:cxn ang="0">
                  <a:pos x="1681" y="642"/>
                </a:cxn>
                <a:cxn ang="0">
                  <a:pos x="1077" y="36"/>
                </a:cxn>
                <a:cxn ang="0">
                  <a:pos x="1098" y="110"/>
                </a:cxn>
                <a:cxn ang="0">
                  <a:pos x="979" y="117"/>
                </a:cxn>
                <a:cxn ang="0">
                  <a:pos x="948" y="122"/>
                </a:cxn>
                <a:cxn ang="0">
                  <a:pos x="820" y="97"/>
                </a:cxn>
                <a:cxn ang="0">
                  <a:pos x="698" y="200"/>
                </a:cxn>
                <a:cxn ang="0">
                  <a:pos x="828" y="182"/>
                </a:cxn>
                <a:cxn ang="0">
                  <a:pos x="734" y="228"/>
                </a:cxn>
                <a:cxn ang="0">
                  <a:pos x="635" y="272"/>
                </a:cxn>
                <a:cxn ang="0">
                  <a:pos x="593" y="234"/>
                </a:cxn>
                <a:cxn ang="0">
                  <a:pos x="621" y="295"/>
                </a:cxn>
                <a:cxn ang="0">
                  <a:pos x="441" y="441"/>
                </a:cxn>
                <a:cxn ang="0">
                  <a:pos x="621" y="411"/>
                </a:cxn>
                <a:cxn ang="0">
                  <a:pos x="709" y="512"/>
                </a:cxn>
                <a:cxn ang="0">
                  <a:pos x="740" y="381"/>
                </a:cxn>
                <a:cxn ang="0">
                  <a:pos x="870" y="536"/>
                </a:cxn>
                <a:cxn ang="0">
                  <a:pos x="911" y="470"/>
                </a:cxn>
                <a:cxn ang="0">
                  <a:pos x="1059" y="616"/>
                </a:cxn>
                <a:cxn ang="0">
                  <a:pos x="834" y="603"/>
                </a:cxn>
                <a:cxn ang="0">
                  <a:pos x="677" y="539"/>
                </a:cxn>
                <a:cxn ang="0">
                  <a:pos x="369" y="587"/>
                </a:cxn>
                <a:cxn ang="0">
                  <a:pos x="215" y="834"/>
                </a:cxn>
                <a:cxn ang="0">
                  <a:pos x="317" y="1065"/>
                </a:cxn>
                <a:cxn ang="0">
                  <a:pos x="592" y="1115"/>
                </a:cxn>
                <a:cxn ang="0">
                  <a:pos x="681" y="1291"/>
                </a:cxn>
                <a:cxn ang="0">
                  <a:pos x="733" y="1503"/>
                </a:cxn>
                <a:cxn ang="0">
                  <a:pos x="1016" y="1556"/>
                </a:cxn>
                <a:cxn ang="0">
                  <a:pos x="1197" y="1373"/>
                </a:cxn>
                <a:cxn ang="0">
                  <a:pos x="1271" y="1154"/>
                </a:cxn>
                <a:cxn ang="0">
                  <a:pos x="1311" y="967"/>
                </a:cxn>
                <a:cxn ang="0">
                  <a:pos x="1135" y="797"/>
                </a:cxn>
                <a:cxn ang="0">
                  <a:pos x="1197" y="810"/>
                </a:cxn>
                <a:cxn ang="0">
                  <a:pos x="1447" y="788"/>
                </a:cxn>
                <a:cxn ang="0">
                  <a:pos x="1277" y="635"/>
                </a:cxn>
                <a:cxn ang="0">
                  <a:pos x="1531" y="652"/>
                </a:cxn>
                <a:cxn ang="0">
                  <a:pos x="1658" y="862"/>
                </a:cxn>
                <a:cxn ang="0">
                  <a:pos x="1038" y="440"/>
                </a:cxn>
                <a:cxn ang="0">
                  <a:pos x="991" y="389"/>
                </a:cxn>
                <a:cxn ang="0">
                  <a:pos x="1099" y="418"/>
                </a:cxn>
                <a:cxn ang="0">
                  <a:pos x="287" y="206"/>
                </a:cxn>
                <a:cxn ang="0">
                  <a:pos x="50" y="1063"/>
                </a:cxn>
              </a:cxnLst>
              <a:rect l="0" t="0" r="r" b="b"/>
              <a:pathLst>
                <a:path w="1683" h="1609">
                  <a:moveTo>
                    <a:pt x="1008" y="20"/>
                  </a:moveTo>
                  <a:cubicBezTo>
                    <a:pt x="1021" y="27"/>
                    <a:pt x="1028" y="27"/>
                    <a:pt x="1045" y="29"/>
                  </a:cubicBezTo>
                  <a:cubicBezTo>
                    <a:pt x="1035" y="22"/>
                    <a:pt x="1023" y="21"/>
                    <a:pt x="1008" y="20"/>
                  </a:cubicBezTo>
                  <a:close/>
                  <a:moveTo>
                    <a:pt x="1146" y="26"/>
                  </a:moveTo>
                  <a:cubicBezTo>
                    <a:pt x="1143" y="26"/>
                    <a:pt x="1143" y="22"/>
                    <a:pt x="1141" y="21"/>
                  </a:cubicBezTo>
                  <a:cubicBezTo>
                    <a:pt x="1142" y="21"/>
                    <a:pt x="1146" y="24"/>
                    <a:pt x="1147" y="21"/>
                  </a:cubicBezTo>
                  <a:cubicBezTo>
                    <a:pt x="1138" y="19"/>
                    <a:pt x="1136" y="20"/>
                    <a:pt x="1128" y="22"/>
                  </a:cubicBezTo>
                  <a:cubicBezTo>
                    <a:pt x="1134" y="24"/>
                    <a:pt x="1139" y="27"/>
                    <a:pt x="1146" y="26"/>
                  </a:cubicBezTo>
                  <a:close/>
                  <a:moveTo>
                    <a:pt x="1063" y="27"/>
                  </a:moveTo>
                  <a:cubicBezTo>
                    <a:pt x="1057" y="27"/>
                    <a:pt x="1049" y="23"/>
                    <a:pt x="1045" y="25"/>
                  </a:cubicBezTo>
                  <a:cubicBezTo>
                    <a:pt x="1050" y="26"/>
                    <a:pt x="1053" y="31"/>
                    <a:pt x="1059" y="32"/>
                  </a:cubicBezTo>
                  <a:cubicBezTo>
                    <a:pt x="1060" y="30"/>
                    <a:pt x="1063" y="30"/>
                    <a:pt x="1063" y="27"/>
                  </a:cubicBezTo>
                  <a:close/>
                  <a:moveTo>
                    <a:pt x="1157" y="29"/>
                  </a:moveTo>
                  <a:cubicBezTo>
                    <a:pt x="1159" y="30"/>
                    <a:pt x="1161" y="30"/>
                    <a:pt x="1163" y="31"/>
                  </a:cubicBezTo>
                  <a:cubicBezTo>
                    <a:pt x="1163" y="28"/>
                    <a:pt x="1158" y="27"/>
                    <a:pt x="1157" y="29"/>
                  </a:cubicBezTo>
                  <a:close/>
                  <a:moveTo>
                    <a:pt x="966" y="79"/>
                  </a:moveTo>
                  <a:cubicBezTo>
                    <a:pt x="979" y="79"/>
                    <a:pt x="987" y="91"/>
                    <a:pt x="1000" y="85"/>
                  </a:cubicBezTo>
                  <a:cubicBezTo>
                    <a:pt x="983" y="83"/>
                    <a:pt x="971" y="65"/>
                    <a:pt x="984" y="55"/>
                  </a:cubicBezTo>
                  <a:cubicBezTo>
                    <a:pt x="988" y="52"/>
                    <a:pt x="993" y="54"/>
                    <a:pt x="996" y="49"/>
                  </a:cubicBezTo>
                  <a:cubicBezTo>
                    <a:pt x="992" y="41"/>
                    <a:pt x="983" y="46"/>
                    <a:pt x="978" y="50"/>
                  </a:cubicBezTo>
                  <a:cubicBezTo>
                    <a:pt x="970" y="49"/>
                    <a:pt x="966" y="53"/>
                    <a:pt x="962" y="58"/>
                  </a:cubicBezTo>
                  <a:cubicBezTo>
                    <a:pt x="969" y="61"/>
                    <a:pt x="963" y="73"/>
                    <a:pt x="966" y="79"/>
                  </a:cubicBezTo>
                  <a:close/>
                  <a:moveTo>
                    <a:pt x="1026" y="63"/>
                  </a:moveTo>
                  <a:cubicBezTo>
                    <a:pt x="1029" y="64"/>
                    <a:pt x="1031" y="68"/>
                    <a:pt x="1033" y="64"/>
                  </a:cubicBezTo>
                  <a:cubicBezTo>
                    <a:pt x="1032" y="63"/>
                    <a:pt x="1028" y="61"/>
                    <a:pt x="1026" y="63"/>
                  </a:cubicBezTo>
                  <a:close/>
                  <a:moveTo>
                    <a:pt x="1025" y="92"/>
                  </a:moveTo>
                  <a:cubicBezTo>
                    <a:pt x="1021" y="90"/>
                    <a:pt x="1015" y="86"/>
                    <a:pt x="1011" y="88"/>
                  </a:cubicBezTo>
                  <a:cubicBezTo>
                    <a:pt x="1014" y="90"/>
                    <a:pt x="1020" y="94"/>
                    <a:pt x="1025" y="92"/>
                  </a:cubicBezTo>
                  <a:close/>
                  <a:moveTo>
                    <a:pt x="618" y="123"/>
                  </a:moveTo>
                  <a:cubicBezTo>
                    <a:pt x="612" y="123"/>
                    <a:pt x="617" y="119"/>
                    <a:pt x="617" y="117"/>
                  </a:cubicBezTo>
                  <a:cubicBezTo>
                    <a:pt x="614" y="117"/>
                    <a:pt x="614" y="116"/>
                    <a:pt x="614" y="114"/>
                  </a:cubicBezTo>
                  <a:cubicBezTo>
                    <a:pt x="605" y="120"/>
                    <a:pt x="599" y="113"/>
                    <a:pt x="590" y="118"/>
                  </a:cubicBezTo>
                  <a:cubicBezTo>
                    <a:pt x="590" y="117"/>
                    <a:pt x="590" y="115"/>
                    <a:pt x="589" y="115"/>
                  </a:cubicBezTo>
                  <a:cubicBezTo>
                    <a:pt x="588" y="118"/>
                    <a:pt x="582" y="120"/>
                    <a:pt x="580" y="119"/>
                  </a:cubicBezTo>
                  <a:cubicBezTo>
                    <a:pt x="582" y="117"/>
                    <a:pt x="585" y="116"/>
                    <a:pt x="584" y="111"/>
                  </a:cubicBezTo>
                  <a:cubicBezTo>
                    <a:pt x="577" y="113"/>
                    <a:pt x="569" y="115"/>
                    <a:pt x="565" y="119"/>
                  </a:cubicBezTo>
                  <a:cubicBezTo>
                    <a:pt x="568" y="121"/>
                    <a:pt x="572" y="116"/>
                    <a:pt x="574" y="119"/>
                  </a:cubicBezTo>
                  <a:cubicBezTo>
                    <a:pt x="573" y="125"/>
                    <a:pt x="562" y="121"/>
                    <a:pt x="559" y="125"/>
                  </a:cubicBezTo>
                  <a:cubicBezTo>
                    <a:pt x="563" y="124"/>
                    <a:pt x="564" y="126"/>
                    <a:pt x="566" y="129"/>
                  </a:cubicBezTo>
                  <a:cubicBezTo>
                    <a:pt x="563" y="133"/>
                    <a:pt x="556" y="128"/>
                    <a:pt x="555" y="134"/>
                  </a:cubicBezTo>
                  <a:cubicBezTo>
                    <a:pt x="559" y="135"/>
                    <a:pt x="561" y="134"/>
                    <a:pt x="564" y="133"/>
                  </a:cubicBezTo>
                  <a:cubicBezTo>
                    <a:pt x="564" y="137"/>
                    <a:pt x="567" y="137"/>
                    <a:pt x="568" y="140"/>
                  </a:cubicBezTo>
                  <a:cubicBezTo>
                    <a:pt x="584" y="136"/>
                    <a:pt x="608" y="137"/>
                    <a:pt x="618" y="123"/>
                  </a:cubicBezTo>
                  <a:close/>
                  <a:moveTo>
                    <a:pt x="651" y="184"/>
                  </a:moveTo>
                  <a:cubicBezTo>
                    <a:pt x="654" y="184"/>
                    <a:pt x="656" y="182"/>
                    <a:pt x="656" y="178"/>
                  </a:cubicBezTo>
                  <a:cubicBezTo>
                    <a:pt x="653" y="178"/>
                    <a:pt x="651" y="180"/>
                    <a:pt x="651" y="184"/>
                  </a:cubicBezTo>
                  <a:close/>
                  <a:moveTo>
                    <a:pt x="635" y="196"/>
                  </a:moveTo>
                  <a:cubicBezTo>
                    <a:pt x="634" y="194"/>
                    <a:pt x="634" y="192"/>
                    <a:pt x="633" y="191"/>
                  </a:cubicBezTo>
                  <a:cubicBezTo>
                    <a:pt x="631" y="192"/>
                    <a:pt x="631" y="196"/>
                    <a:pt x="635" y="196"/>
                  </a:cubicBezTo>
                  <a:close/>
                  <a:moveTo>
                    <a:pt x="604" y="197"/>
                  </a:moveTo>
                  <a:cubicBezTo>
                    <a:pt x="601" y="200"/>
                    <a:pt x="595" y="199"/>
                    <a:pt x="595" y="204"/>
                  </a:cubicBezTo>
                  <a:cubicBezTo>
                    <a:pt x="601" y="205"/>
                    <a:pt x="606" y="201"/>
                    <a:pt x="604" y="197"/>
                  </a:cubicBezTo>
                  <a:close/>
                  <a:moveTo>
                    <a:pt x="595" y="213"/>
                  </a:moveTo>
                  <a:cubicBezTo>
                    <a:pt x="599" y="213"/>
                    <a:pt x="599" y="210"/>
                    <a:pt x="599" y="207"/>
                  </a:cubicBezTo>
                  <a:cubicBezTo>
                    <a:pt x="595" y="207"/>
                    <a:pt x="593" y="211"/>
                    <a:pt x="595" y="213"/>
                  </a:cubicBezTo>
                  <a:close/>
                  <a:moveTo>
                    <a:pt x="280" y="210"/>
                  </a:moveTo>
                  <a:cubicBezTo>
                    <a:pt x="262" y="220"/>
                    <a:pt x="248" y="231"/>
                    <a:pt x="232" y="242"/>
                  </a:cubicBezTo>
                  <a:cubicBezTo>
                    <a:pt x="234" y="251"/>
                    <a:pt x="231" y="253"/>
                    <a:pt x="227" y="259"/>
                  </a:cubicBezTo>
                  <a:cubicBezTo>
                    <a:pt x="232" y="260"/>
                    <a:pt x="226" y="264"/>
                    <a:pt x="227" y="266"/>
                  </a:cubicBezTo>
                  <a:cubicBezTo>
                    <a:pt x="232" y="265"/>
                    <a:pt x="235" y="261"/>
                    <a:pt x="239" y="258"/>
                  </a:cubicBezTo>
                  <a:cubicBezTo>
                    <a:pt x="241" y="246"/>
                    <a:pt x="254" y="245"/>
                    <a:pt x="258" y="235"/>
                  </a:cubicBezTo>
                  <a:cubicBezTo>
                    <a:pt x="257" y="234"/>
                    <a:pt x="255" y="238"/>
                    <a:pt x="255" y="235"/>
                  </a:cubicBezTo>
                  <a:cubicBezTo>
                    <a:pt x="261" y="225"/>
                    <a:pt x="272" y="219"/>
                    <a:pt x="280" y="210"/>
                  </a:cubicBezTo>
                  <a:close/>
                  <a:moveTo>
                    <a:pt x="252" y="214"/>
                  </a:moveTo>
                  <a:cubicBezTo>
                    <a:pt x="250" y="216"/>
                    <a:pt x="245" y="220"/>
                    <a:pt x="248" y="224"/>
                  </a:cubicBezTo>
                  <a:cubicBezTo>
                    <a:pt x="250" y="221"/>
                    <a:pt x="254" y="217"/>
                    <a:pt x="252" y="214"/>
                  </a:cubicBezTo>
                  <a:close/>
                  <a:moveTo>
                    <a:pt x="520" y="272"/>
                  </a:moveTo>
                  <a:cubicBezTo>
                    <a:pt x="521" y="276"/>
                    <a:pt x="521" y="277"/>
                    <a:pt x="522" y="280"/>
                  </a:cubicBezTo>
                  <a:cubicBezTo>
                    <a:pt x="540" y="274"/>
                    <a:pt x="569" y="277"/>
                    <a:pt x="570" y="252"/>
                  </a:cubicBezTo>
                  <a:cubicBezTo>
                    <a:pt x="576" y="249"/>
                    <a:pt x="586" y="246"/>
                    <a:pt x="582" y="235"/>
                  </a:cubicBezTo>
                  <a:cubicBezTo>
                    <a:pt x="572" y="230"/>
                    <a:pt x="564" y="233"/>
                    <a:pt x="556" y="239"/>
                  </a:cubicBezTo>
                  <a:cubicBezTo>
                    <a:pt x="556" y="241"/>
                    <a:pt x="557" y="241"/>
                    <a:pt x="557" y="243"/>
                  </a:cubicBezTo>
                  <a:cubicBezTo>
                    <a:pt x="554" y="243"/>
                    <a:pt x="554" y="245"/>
                    <a:pt x="551" y="245"/>
                  </a:cubicBezTo>
                  <a:cubicBezTo>
                    <a:pt x="549" y="244"/>
                    <a:pt x="549" y="241"/>
                    <a:pt x="546" y="242"/>
                  </a:cubicBezTo>
                  <a:cubicBezTo>
                    <a:pt x="542" y="246"/>
                    <a:pt x="538" y="250"/>
                    <a:pt x="536" y="255"/>
                  </a:cubicBezTo>
                  <a:cubicBezTo>
                    <a:pt x="536" y="258"/>
                    <a:pt x="540" y="256"/>
                    <a:pt x="540" y="259"/>
                  </a:cubicBezTo>
                  <a:cubicBezTo>
                    <a:pt x="532" y="263"/>
                    <a:pt x="527" y="268"/>
                    <a:pt x="520" y="272"/>
                  </a:cubicBezTo>
                  <a:close/>
                  <a:moveTo>
                    <a:pt x="591" y="247"/>
                  </a:moveTo>
                  <a:cubicBezTo>
                    <a:pt x="588" y="244"/>
                    <a:pt x="585" y="248"/>
                    <a:pt x="585" y="251"/>
                  </a:cubicBezTo>
                  <a:cubicBezTo>
                    <a:pt x="588" y="251"/>
                    <a:pt x="589" y="249"/>
                    <a:pt x="591" y="247"/>
                  </a:cubicBezTo>
                  <a:close/>
                  <a:moveTo>
                    <a:pt x="212" y="259"/>
                  </a:moveTo>
                  <a:cubicBezTo>
                    <a:pt x="216" y="258"/>
                    <a:pt x="220" y="253"/>
                    <a:pt x="219" y="251"/>
                  </a:cubicBezTo>
                  <a:cubicBezTo>
                    <a:pt x="218" y="254"/>
                    <a:pt x="213" y="255"/>
                    <a:pt x="212" y="259"/>
                  </a:cubicBezTo>
                  <a:close/>
                  <a:moveTo>
                    <a:pt x="673" y="447"/>
                  </a:moveTo>
                  <a:cubicBezTo>
                    <a:pt x="678" y="442"/>
                    <a:pt x="685" y="428"/>
                    <a:pt x="678" y="420"/>
                  </a:cubicBezTo>
                  <a:cubicBezTo>
                    <a:pt x="670" y="427"/>
                    <a:pt x="664" y="431"/>
                    <a:pt x="666" y="444"/>
                  </a:cubicBezTo>
                  <a:cubicBezTo>
                    <a:pt x="669" y="445"/>
                    <a:pt x="669" y="448"/>
                    <a:pt x="673" y="447"/>
                  </a:cubicBezTo>
                  <a:close/>
                  <a:moveTo>
                    <a:pt x="654" y="488"/>
                  </a:moveTo>
                  <a:cubicBezTo>
                    <a:pt x="663" y="487"/>
                    <a:pt x="664" y="483"/>
                    <a:pt x="671" y="485"/>
                  </a:cubicBezTo>
                  <a:cubicBezTo>
                    <a:pt x="677" y="471"/>
                    <a:pt x="685" y="438"/>
                    <a:pt x="663" y="454"/>
                  </a:cubicBezTo>
                  <a:cubicBezTo>
                    <a:pt x="660" y="453"/>
                    <a:pt x="658" y="450"/>
                    <a:pt x="656" y="452"/>
                  </a:cubicBezTo>
                  <a:cubicBezTo>
                    <a:pt x="654" y="456"/>
                    <a:pt x="658" y="457"/>
                    <a:pt x="658" y="461"/>
                  </a:cubicBezTo>
                  <a:cubicBezTo>
                    <a:pt x="658" y="469"/>
                    <a:pt x="651" y="479"/>
                    <a:pt x="654" y="488"/>
                  </a:cubicBezTo>
                  <a:close/>
                  <a:moveTo>
                    <a:pt x="602" y="468"/>
                  </a:moveTo>
                  <a:cubicBezTo>
                    <a:pt x="603" y="464"/>
                    <a:pt x="597" y="462"/>
                    <a:pt x="594" y="465"/>
                  </a:cubicBezTo>
                  <a:cubicBezTo>
                    <a:pt x="595" y="468"/>
                    <a:pt x="599" y="471"/>
                    <a:pt x="602" y="468"/>
                  </a:cubicBezTo>
                  <a:close/>
                  <a:moveTo>
                    <a:pt x="590" y="468"/>
                  </a:moveTo>
                  <a:cubicBezTo>
                    <a:pt x="587" y="463"/>
                    <a:pt x="577" y="465"/>
                    <a:pt x="575" y="470"/>
                  </a:cubicBezTo>
                  <a:cubicBezTo>
                    <a:pt x="578" y="477"/>
                    <a:pt x="590" y="478"/>
                    <a:pt x="590" y="468"/>
                  </a:cubicBezTo>
                  <a:close/>
                  <a:moveTo>
                    <a:pt x="880" y="468"/>
                  </a:moveTo>
                  <a:cubicBezTo>
                    <a:pt x="879" y="472"/>
                    <a:pt x="883" y="470"/>
                    <a:pt x="884" y="470"/>
                  </a:cubicBezTo>
                  <a:cubicBezTo>
                    <a:pt x="885" y="468"/>
                    <a:pt x="881" y="467"/>
                    <a:pt x="880" y="468"/>
                  </a:cubicBezTo>
                  <a:close/>
                  <a:moveTo>
                    <a:pt x="900" y="474"/>
                  </a:moveTo>
                  <a:cubicBezTo>
                    <a:pt x="898" y="473"/>
                    <a:pt x="894" y="473"/>
                    <a:pt x="893" y="474"/>
                  </a:cubicBezTo>
                  <a:cubicBezTo>
                    <a:pt x="892" y="480"/>
                    <a:pt x="900" y="479"/>
                    <a:pt x="900" y="474"/>
                  </a:cubicBezTo>
                  <a:close/>
                  <a:moveTo>
                    <a:pt x="563" y="477"/>
                  </a:moveTo>
                  <a:cubicBezTo>
                    <a:pt x="561" y="477"/>
                    <a:pt x="560" y="477"/>
                    <a:pt x="559" y="476"/>
                  </a:cubicBezTo>
                  <a:cubicBezTo>
                    <a:pt x="558" y="478"/>
                    <a:pt x="555" y="480"/>
                    <a:pt x="557" y="483"/>
                  </a:cubicBezTo>
                  <a:cubicBezTo>
                    <a:pt x="560" y="482"/>
                    <a:pt x="563" y="481"/>
                    <a:pt x="563" y="477"/>
                  </a:cubicBezTo>
                  <a:close/>
                  <a:moveTo>
                    <a:pt x="826" y="506"/>
                  </a:moveTo>
                  <a:cubicBezTo>
                    <a:pt x="828" y="507"/>
                    <a:pt x="832" y="508"/>
                    <a:pt x="834" y="506"/>
                  </a:cubicBezTo>
                  <a:cubicBezTo>
                    <a:pt x="834" y="501"/>
                    <a:pt x="825" y="499"/>
                    <a:pt x="826" y="506"/>
                  </a:cubicBezTo>
                  <a:close/>
                  <a:moveTo>
                    <a:pt x="830" y="510"/>
                  </a:moveTo>
                  <a:cubicBezTo>
                    <a:pt x="830" y="515"/>
                    <a:pt x="830" y="515"/>
                    <a:pt x="830" y="515"/>
                  </a:cubicBezTo>
                  <a:cubicBezTo>
                    <a:pt x="835" y="519"/>
                    <a:pt x="836" y="510"/>
                    <a:pt x="832" y="509"/>
                  </a:cubicBezTo>
                  <a:cubicBezTo>
                    <a:pt x="831" y="510"/>
                    <a:pt x="831" y="510"/>
                    <a:pt x="830" y="510"/>
                  </a:cubicBezTo>
                  <a:close/>
                  <a:moveTo>
                    <a:pt x="892" y="511"/>
                  </a:moveTo>
                  <a:cubicBezTo>
                    <a:pt x="895" y="513"/>
                    <a:pt x="895" y="518"/>
                    <a:pt x="899" y="515"/>
                  </a:cubicBezTo>
                  <a:cubicBezTo>
                    <a:pt x="900" y="511"/>
                    <a:pt x="893" y="507"/>
                    <a:pt x="892" y="511"/>
                  </a:cubicBezTo>
                  <a:close/>
                  <a:moveTo>
                    <a:pt x="922" y="511"/>
                  </a:moveTo>
                  <a:cubicBezTo>
                    <a:pt x="922" y="512"/>
                    <a:pt x="920" y="513"/>
                    <a:pt x="921" y="515"/>
                  </a:cubicBezTo>
                  <a:cubicBezTo>
                    <a:pt x="922" y="516"/>
                    <a:pt x="925" y="516"/>
                    <a:pt x="927" y="515"/>
                  </a:cubicBezTo>
                  <a:cubicBezTo>
                    <a:pt x="926" y="512"/>
                    <a:pt x="925" y="510"/>
                    <a:pt x="922" y="511"/>
                  </a:cubicBezTo>
                  <a:close/>
                  <a:moveTo>
                    <a:pt x="915" y="515"/>
                  </a:moveTo>
                  <a:cubicBezTo>
                    <a:pt x="912" y="514"/>
                    <a:pt x="911" y="515"/>
                    <a:pt x="911" y="518"/>
                  </a:cubicBezTo>
                  <a:cubicBezTo>
                    <a:pt x="915" y="518"/>
                    <a:pt x="915" y="518"/>
                    <a:pt x="915" y="518"/>
                  </a:cubicBezTo>
                  <a:lnTo>
                    <a:pt x="915" y="515"/>
                  </a:lnTo>
                  <a:close/>
                  <a:moveTo>
                    <a:pt x="890" y="517"/>
                  </a:moveTo>
                  <a:cubicBezTo>
                    <a:pt x="889" y="516"/>
                    <a:pt x="886" y="514"/>
                    <a:pt x="884" y="516"/>
                  </a:cubicBezTo>
                  <a:cubicBezTo>
                    <a:pt x="884" y="518"/>
                    <a:pt x="885" y="519"/>
                    <a:pt x="885" y="519"/>
                  </a:cubicBezTo>
                  <a:cubicBezTo>
                    <a:pt x="888" y="519"/>
                    <a:pt x="889" y="519"/>
                    <a:pt x="890" y="517"/>
                  </a:cubicBezTo>
                  <a:close/>
                  <a:moveTo>
                    <a:pt x="923" y="522"/>
                  </a:moveTo>
                  <a:cubicBezTo>
                    <a:pt x="925" y="522"/>
                    <a:pt x="927" y="522"/>
                    <a:pt x="927" y="519"/>
                  </a:cubicBezTo>
                  <a:cubicBezTo>
                    <a:pt x="924" y="519"/>
                    <a:pt x="923" y="520"/>
                    <a:pt x="923" y="522"/>
                  </a:cubicBezTo>
                  <a:close/>
                  <a:moveTo>
                    <a:pt x="908" y="527"/>
                  </a:moveTo>
                  <a:cubicBezTo>
                    <a:pt x="910" y="522"/>
                    <a:pt x="906" y="522"/>
                    <a:pt x="903" y="521"/>
                  </a:cubicBezTo>
                  <a:cubicBezTo>
                    <a:pt x="901" y="523"/>
                    <a:pt x="902" y="526"/>
                    <a:pt x="903" y="528"/>
                  </a:cubicBezTo>
                  <a:cubicBezTo>
                    <a:pt x="905" y="528"/>
                    <a:pt x="907" y="528"/>
                    <a:pt x="908" y="527"/>
                  </a:cubicBezTo>
                  <a:close/>
                  <a:moveTo>
                    <a:pt x="929" y="531"/>
                  </a:moveTo>
                  <a:cubicBezTo>
                    <a:pt x="933" y="531"/>
                    <a:pt x="936" y="529"/>
                    <a:pt x="936" y="524"/>
                  </a:cubicBezTo>
                  <a:cubicBezTo>
                    <a:pt x="931" y="524"/>
                    <a:pt x="928" y="525"/>
                    <a:pt x="929" y="531"/>
                  </a:cubicBezTo>
                  <a:close/>
                  <a:moveTo>
                    <a:pt x="916" y="534"/>
                  </a:moveTo>
                  <a:cubicBezTo>
                    <a:pt x="920" y="537"/>
                    <a:pt x="926" y="533"/>
                    <a:pt x="920" y="531"/>
                  </a:cubicBezTo>
                  <a:cubicBezTo>
                    <a:pt x="920" y="533"/>
                    <a:pt x="916" y="531"/>
                    <a:pt x="916" y="534"/>
                  </a:cubicBezTo>
                  <a:close/>
                  <a:moveTo>
                    <a:pt x="898" y="536"/>
                  </a:moveTo>
                  <a:cubicBezTo>
                    <a:pt x="898" y="535"/>
                    <a:pt x="898" y="535"/>
                    <a:pt x="899" y="535"/>
                  </a:cubicBezTo>
                  <a:cubicBezTo>
                    <a:pt x="899" y="533"/>
                    <a:pt x="899" y="533"/>
                    <a:pt x="899" y="533"/>
                  </a:cubicBezTo>
                  <a:cubicBezTo>
                    <a:pt x="898" y="533"/>
                    <a:pt x="898" y="533"/>
                    <a:pt x="898" y="532"/>
                  </a:cubicBezTo>
                  <a:cubicBezTo>
                    <a:pt x="896" y="532"/>
                    <a:pt x="896" y="532"/>
                    <a:pt x="896" y="532"/>
                  </a:cubicBezTo>
                  <a:cubicBezTo>
                    <a:pt x="896" y="532"/>
                    <a:pt x="896" y="533"/>
                    <a:pt x="895" y="533"/>
                  </a:cubicBezTo>
                  <a:cubicBezTo>
                    <a:pt x="895" y="535"/>
                    <a:pt x="895" y="535"/>
                    <a:pt x="895" y="535"/>
                  </a:cubicBezTo>
                  <a:cubicBezTo>
                    <a:pt x="896" y="535"/>
                    <a:pt x="896" y="535"/>
                    <a:pt x="896" y="536"/>
                  </a:cubicBezTo>
                  <a:lnTo>
                    <a:pt x="898" y="536"/>
                  </a:lnTo>
                  <a:close/>
                  <a:moveTo>
                    <a:pt x="948" y="535"/>
                  </a:moveTo>
                  <a:cubicBezTo>
                    <a:pt x="942" y="531"/>
                    <a:pt x="937" y="543"/>
                    <a:pt x="943" y="545"/>
                  </a:cubicBezTo>
                  <a:cubicBezTo>
                    <a:pt x="945" y="542"/>
                    <a:pt x="948" y="540"/>
                    <a:pt x="948" y="535"/>
                  </a:cubicBezTo>
                  <a:close/>
                  <a:moveTo>
                    <a:pt x="738" y="546"/>
                  </a:moveTo>
                  <a:cubicBezTo>
                    <a:pt x="742" y="530"/>
                    <a:pt x="721" y="544"/>
                    <a:pt x="738" y="546"/>
                  </a:cubicBezTo>
                  <a:close/>
                  <a:moveTo>
                    <a:pt x="871" y="540"/>
                  </a:moveTo>
                  <a:cubicBezTo>
                    <a:pt x="870" y="538"/>
                    <a:pt x="866" y="538"/>
                    <a:pt x="864" y="539"/>
                  </a:cubicBezTo>
                  <a:cubicBezTo>
                    <a:pt x="863" y="543"/>
                    <a:pt x="871" y="543"/>
                    <a:pt x="871" y="540"/>
                  </a:cubicBezTo>
                  <a:close/>
                  <a:moveTo>
                    <a:pt x="931" y="546"/>
                  </a:moveTo>
                  <a:cubicBezTo>
                    <a:pt x="931" y="549"/>
                    <a:pt x="928" y="555"/>
                    <a:pt x="933" y="555"/>
                  </a:cubicBezTo>
                  <a:cubicBezTo>
                    <a:pt x="937" y="554"/>
                    <a:pt x="935" y="546"/>
                    <a:pt x="931" y="546"/>
                  </a:cubicBezTo>
                  <a:close/>
                  <a:moveTo>
                    <a:pt x="1040" y="559"/>
                  </a:moveTo>
                  <a:cubicBezTo>
                    <a:pt x="1041" y="555"/>
                    <a:pt x="1041" y="550"/>
                    <a:pt x="1043" y="546"/>
                  </a:cubicBezTo>
                  <a:cubicBezTo>
                    <a:pt x="1033" y="551"/>
                    <a:pt x="1019" y="551"/>
                    <a:pt x="1011" y="557"/>
                  </a:cubicBezTo>
                  <a:cubicBezTo>
                    <a:pt x="1017" y="570"/>
                    <a:pt x="1029" y="563"/>
                    <a:pt x="1040" y="559"/>
                  </a:cubicBezTo>
                  <a:close/>
                  <a:moveTo>
                    <a:pt x="879" y="557"/>
                  </a:moveTo>
                  <a:cubicBezTo>
                    <a:pt x="888" y="556"/>
                    <a:pt x="895" y="564"/>
                    <a:pt x="901" y="564"/>
                  </a:cubicBezTo>
                  <a:cubicBezTo>
                    <a:pt x="907" y="565"/>
                    <a:pt x="915" y="562"/>
                    <a:pt x="921" y="560"/>
                  </a:cubicBezTo>
                  <a:cubicBezTo>
                    <a:pt x="921" y="557"/>
                    <a:pt x="921" y="557"/>
                    <a:pt x="921" y="557"/>
                  </a:cubicBezTo>
                  <a:cubicBezTo>
                    <a:pt x="909" y="556"/>
                    <a:pt x="890" y="552"/>
                    <a:pt x="880" y="550"/>
                  </a:cubicBezTo>
                  <a:cubicBezTo>
                    <a:pt x="877" y="551"/>
                    <a:pt x="878" y="554"/>
                    <a:pt x="879" y="557"/>
                  </a:cubicBezTo>
                  <a:close/>
                  <a:moveTo>
                    <a:pt x="1674" y="879"/>
                  </a:moveTo>
                  <a:cubicBezTo>
                    <a:pt x="1683" y="865"/>
                    <a:pt x="1681" y="833"/>
                    <a:pt x="1670" y="822"/>
                  </a:cubicBezTo>
                  <a:cubicBezTo>
                    <a:pt x="1671" y="839"/>
                    <a:pt x="1667" y="864"/>
                    <a:pt x="1674" y="879"/>
                  </a:cubicBezTo>
                  <a:close/>
                  <a:moveTo>
                    <a:pt x="1346" y="1324"/>
                  </a:moveTo>
                  <a:cubicBezTo>
                    <a:pt x="1340" y="1316"/>
                    <a:pt x="1334" y="1319"/>
                    <a:pt x="1330" y="1326"/>
                  </a:cubicBezTo>
                  <a:cubicBezTo>
                    <a:pt x="1326" y="1332"/>
                    <a:pt x="1326" y="1337"/>
                    <a:pt x="1319" y="1342"/>
                  </a:cubicBezTo>
                  <a:cubicBezTo>
                    <a:pt x="1316" y="1344"/>
                    <a:pt x="1314" y="1344"/>
                    <a:pt x="1311" y="1347"/>
                  </a:cubicBezTo>
                  <a:cubicBezTo>
                    <a:pt x="1310" y="1350"/>
                    <a:pt x="1310" y="1355"/>
                    <a:pt x="1307" y="1357"/>
                  </a:cubicBezTo>
                  <a:cubicBezTo>
                    <a:pt x="1299" y="1352"/>
                    <a:pt x="1299" y="1365"/>
                    <a:pt x="1294" y="1369"/>
                  </a:cubicBezTo>
                  <a:cubicBezTo>
                    <a:pt x="1293" y="1369"/>
                    <a:pt x="1294" y="1366"/>
                    <a:pt x="1290" y="1367"/>
                  </a:cubicBezTo>
                  <a:cubicBezTo>
                    <a:pt x="1290" y="1370"/>
                    <a:pt x="1289" y="1373"/>
                    <a:pt x="1288" y="1375"/>
                  </a:cubicBezTo>
                  <a:cubicBezTo>
                    <a:pt x="1274" y="1380"/>
                    <a:pt x="1261" y="1387"/>
                    <a:pt x="1246" y="1392"/>
                  </a:cubicBezTo>
                  <a:cubicBezTo>
                    <a:pt x="1245" y="1399"/>
                    <a:pt x="1239" y="1403"/>
                    <a:pt x="1234" y="1406"/>
                  </a:cubicBezTo>
                  <a:cubicBezTo>
                    <a:pt x="1229" y="1419"/>
                    <a:pt x="1234" y="1431"/>
                    <a:pt x="1228" y="1440"/>
                  </a:cubicBezTo>
                  <a:cubicBezTo>
                    <a:pt x="1222" y="1449"/>
                    <a:pt x="1206" y="1451"/>
                    <a:pt x="1200" y="1461"/>
                  </a:cubicBezTo>
                  <a:cubicBezTo>
                    <a:pt x="1196" y="1468"/>
                    <a:pt x="1195" y="1479"/>
                    <a:pt x="1200" y="1486"/>
                  </a:cubicBezTo>
                  <a:cubicBezTo>
                    <a:pt x="1199" y="1488"/>
                    <a:pt x="1197" y="1489"/>
                    <a:pt x="1196" y="1492"/>
                  </a:cubicBezTo>
                  <a:cubicBezTo>
                    <a:pt x="1210" y="1500"/>
                    <a:pt x="1225" y="1491"/>
                    <a:pt x="1237" y="1484"/>
                  </a:cubicBezTo>
                  <a:cubicBezTo>
                    <a:pt x="1249" y="1477"/>
                    <a:pt x="1252" y="1470"/>
                    <a:pt x="1258" y="1461"/>
                  </a:cubicBezTo>
                  <a:cubicBezTo>
                    <a:pt x="1266" y="1449"/>
                    <a:pt x="1279" y="1438"/>
                    <a:pt x="1290" y="1426"/>
                  </a:cubicBezTo>
                  <a:cubicBezTo>
                    <a:pt x="1303" y="1412"/>
                    <a:pt x="1321" y="1396"/>
                    <a:pt x="1320" y="1379"/>
                  </a:cubicBezTo>
                  <a:cubicBezTo>
                    <a:pt x="1329" y="1372"/>
                    <a:pt x="1331" y="1358"/>
                    <a:pt x="1346" y="1357"/>
                  </a:cubicBezTo>
                  <a:cubicBezTo>
                    <a:pt x="1347" y="1353"/>
                    <a:pt x="1345" y="1350"/>
                    <a:pt x="1343" y="1348"/>
                  </a:cubicBezTo>
                  <a:cubicBezTo>
                    <a:pt x="1345" y="1344"/>
                    <a:pt x="1348" y="1342"/>
                    <a:pt x="1349" y="1337"/>
                  </a:cubicBezTo>
                  <a:cubicBezTo>
                    <a:pt x="1346" y="1333"/>
                    <a:pt x="1345" y="1330"/>
                    <a:pt x="1346" y="1324"/>
                  </a:cubicBezTo>
                  <a:close/>
                  <a:moveTo>
                    <a:pt x="543" y="30"/>
                  </a:moveTo>
                  <a:cubicBezTo>
                    <a:pt x="549" y="31"/>
                    <a:pt x="558" y="29"/>
                    <a:pt x="561" y="24"/>
                  </a:cubicBezTo>
                  <a:cubicBezTo>
                    <a:pt x="559" y="23"/>
                    <a:pt x="555" y="25"/>
                    <a:pt x="555" y="23"/>
                  </a:cubicBezTo>
                  <a:cubicBezTo>
                    <a:pt x="557" y="20"/>
                    <a:pt x="562" y="20"/>
                    <a:pt x="565" y="18"/>
                  </a:cubicBezTo>
                  <a:cubicBezTo>
                    <a:pt x="566" y="22"/>
                    <a:pt x="567" y="23"/>
                    <a:pt x="567" y="25"/>
                  </a:cubicBezTo>
                  <a:cubicBezTo>
                    <a:pt x="591" y="20"/>
                    <a:pt x="609" y="13"/>
                    <a:pt x="635" y="14"/>
                  </a:cubicBezTo>
                  <a:cubicBezTo>
                    <a:pt x="628" y="14"/>
                    <a:pt x="628" y="14"/>
                    <a:pt x="628" y="14"/>
                  </a:cubicBezTo>
                  <a:cubicBezTo>
                    <a:pt x="619" y="24"/>
                    <a:pt x="601" y="16"/>
                    <a:pt x="593" y="22"/>
                  </a:cubicBezTo>
                  <a:cubicBezTo>
                    <a:pt x="592" y="24"/>
                    <a:pt x="595" y="25"/>
                    <a:pt x="593" y="26"/>
                  </a:cubicBezTo>
                  <a:cubicBezTo>
                    <a:pt x="591" y="26"/>
                    <a:pt x="590" y="24"/>
                    <a:pt x="589" y="23"/>
                  </a:cubicBezTo>
                  <a:cubicBezTo>
                    <a:pt x="584" y="25"/>
                    <a:pt x="579" y="26"/>
                    <a:pt x="576" y="31"/>
                  </a:cubicBezTo>
                  <a:cubicBezTo>
                    <a:pt x="580" y="32"/>
                    <a:pt x="584" y="29"/>
                    <a:pt x="586" y="34"/>
                  </a:cubicBezTo>
                  <a:cubicBezTo>
                    <a:pt x="573" y="46"/>
                    <a:pt x="553" y="51"/>
                    <a:pt x="537" y="59"/>
                  </a:cubicBezTo>
                  <a:cubicBezTo>
                    <a:pt x="541" y="61"/>
                    <a:pt x="545" y="57"/>
                    <a:pt x="546" y="59"/>
                  </a:cubicBezTo>
                  <a:cubicBezTo>
                    <a:pt x="542" y="61"/>
                    <a:pt x="540" y="65"/>
                    <a:pt x="534" y="66"/>
                  </a:cubicBezTo>
                  <a:cubicBezTo>
                    <a:pt x="534" y="62"/>
                    <a:pt x="534" y="62"/>
                    <a:pt x="534" y="62"/>
                  </a:cubicBezTo>
                  <a:cubicBezTo>
                    <a:pt x="528" y="61"/>
                    <a:pt x="525" y="67"/>
                    <a:pt x="527" y="71"/>
                  </a:cubicBezTo>
                  <a:cubicBezTo>
                    <a:pt x="521" y="74"/>
                    <a:pt x="515" y="77"/>
                    <a:pt x="508" y="79"/>
                  </a:cubicBezTo>
                  <a:cubicBezTo>
                    <a:pt x="508" y="77"/>
                    <a:pt x="510" y="77"/>
                    <a:pt x="507" y="77"/>
                  </a:cubicBezTo>
                  <a:cubicBezTo>
                    <a:pt x="503" y="77"/>
                    <a:pt x="503" y="80"/>
                    <a:pt x="499" y="81"/>
                  </a:cubicBezTo>
                  <a:cubicBezTo>
                    <a:pt x="479" y="84"/>
                    <a:pt x="469" y="99"/>
                    <a:pt x="452" y="107"/>
                  </a:cubicBezTo>
                  <a:cubicBezTo>
                    <a:pt x="456" y="107"/>
                    <a:pt x="458" y="102"/>
                    <a:pt x="461" y="106"/>
                  </a:cubicBezTo>
                  <a:cubicBezTo>
                    <a:pt x="441" y="111"/>
                    <a:pt x="429" y="123"/>
                    <a:pt x="419" y="138"/>
                  </a:cubicBezTo>
                  <a:cubicBezTo>
                    <a:pt x="422" y="140"/>
                    <a:pt x="423" y="138"/>
                    <a:pt x="426" y="137"/>
                  </a:cubicBezTo>
                  <a:cubicBezTo>
                    <a:pt x="423" y="141"/>
                    <a:pt x="417" y="144"/>
                    <a:pt x="418" y="149"/>
                  </a:cubicBezTo>
                  <a:cubicBezTo>
                    <a:pt x="438" y="144"/>
                    <a:pt x="451" y="129"/>
                    <a:pt x="469" y="123"/>
                  </a:cubicBezTo>
                  <a:cubicBezTo>
                    <a:pt x="476" y="120"/>
                    <a:pt x="483" y="118"/>
                    <a:pt x="490" y="114"/>
                  </a:cubicBezTo>
                  <a:cubicBezTo>
                    <a:pt x="490" y="112"/>
                    <a:pt x="492" y="111"/>
                    <a:pt x="494" y="110"/>
                  </a:cubicBezTo>
                  <a:cubicBezTo>
                    <a:pt x="515" y="109"/>
                    <a:pt x="539" y="103"/>
                    <a:pt x="564" y="92"/>
                  </a:cubicBezTo>
                  <a:cubicBezTo>
                    <a:pt x="562" y="94"/>
                    <a:pt x="564" y="93"/>
                    <a:pt x="565" y="95"/>
                  </a:cubicBezTo>
                  <a:cubicBezTo>
                    <a:pt x="585" y="94"/>
                    <a:pt x="601" y="89"/>
                    <a:pt x="619" y="85"/>
                  </a:cubicBezTo>
                  <a:cubicBezTo>
                    <a:pt x="618" y="82"/>
                    <a:pt x="614" y="82"/>
                    <a:pt x="612" y="80"/>
                  </a:cubicBezTo>
                  <a:cubicBezTo>
                    <a:pt x="616" y="79"/>
                    <a:pt x="616" y="74"/>
                    <a:pt x="622" y="75"/>
                  </a:cubicBezTo>
                  <a:cubicBezTo>
                    <a:pt x="622" y="77"/>
                    <a:pt x="619" y="77"/>
                    <a:pt x="618" y="80"/>
                  </a:cubicBezTo>
                  <a:cubicBezTo>
                    <a:pt x="627" y="89"/>
                    <a:pt x="641" y="68"/>
                    <a:pt x="631" y="63"/>
                  </a:cubicBezTo>
                  <a:cubicBezTo>
                    <a:pt x="634" y="62"/>
                    <a:pt x="637" y="64"/>
                    <a:pt x="641" y="62"/>
                  </a:cubicBezTo>
                  <a:cubicBezTo>
                    <a:pt x="643" y="63"/>
                    <a:pt x="642" y="67"/>
                    <a:pt x="645" y="67"/>
                  </a:cubicBezTo>
                  <a:cubicBezTo>
                    <a:pt x="648" y="62"/>
                    <a:pt x="652" y="64"/>
                    <a:pt x="659" y="63"/>
                  </a:cubicBezTo>
                  <a:cubicBezTo>
                    <a:pt x="660" y="56"/>
                    <a:pt x="669" y="62"/>
                    <a:pt x="672" y="57"/>
                  </a:cubicBezTo>
                  <a:cubicBezTo>
                    <a:pt x="671" y="56"/>
                    <a:pt x="669" y="56"/>
                    <a:pt x="669" y="54"/>
                  </a:cubicBezTo>
                  <a:cubicBezTo>
                    <a:pt x="672" y="51"/>
                    <a:pt x="673" y="53"/>
                    <a:pt x="676" y="54"/>
                  </a:cubicBezTo>
                  <a:cubicBezTo>
                    <a:pt x="678" y="52"/>
                    <a:pt x="679" y="51"/>
                    <a:pt x="681" y="50"/>
                  </a:cubicBezTo>
                  <a:cubicBezTo>
                    <a:pt x="682" y="46"/>
                    <a:pt x="678" y="47"/>
                    <a:pt x="679" y="44"/>
                  </a:cubicBezTo>
                  <a:cubicBezTo>
                    <a:pt x="687" y="44"/>
                    <a:pt x="691" y="46"/>
                    <a:pt x="696" y="43"/>
                  </a:cubicBezTo>
                  <a:cubicBezTo>
                    <a:pt x="698" y="40"/>
                    <a:pt x="693" y="43"/>
                    <a:pt x="693" y="40"/>
                  </a:cubicBezTo>
                  <a:cubicBezTo>
                    <a:pt x="704" y="32"/>
                    <a:pt x="724" y="28"/>
                    <a:pt x="740" y="25"/>
                  </a:cubicBezTo>
                  <a:cubicBezTo>
                    <a:pt x="736" y="19"/>
                    <a:pt x="724" y="24"/>
                    <a:pt x="718" y="23"/>
                  </a:cubicBezTo>
                  <a:cubicBezTo>
                    <a:pt x="718" y="19"/>
                    <a:pt x="724" y="21"/>
                    <a:pt x="725" y="18"/>
                  </a:cubicBezTo>
                  <a:cubicBezTo>
                    <a:pt x="713" y="13"/>
                    <a:pt x="688" y="10"/>
                    <a:pt x="674" y="16"/>
                  </a:cubicBezTo>
                  <a:cubicBezTo>
                    <a:pt x="674" y="13"/>
                    <a:pt x="674" y="13"/>
                    <a:pt x="674" y="13"/>
                  </a:cubicBezTo>
                  <a:cubicBezTo>
                    <a:pt x="666" y="16"/>
                    <a:pt x="660" y="11"/>
                    <a:pt x="653" y="12"/>
                  </a:cubicBezTo>
                  <a:cubicBezTo>
                    <a:pt x="653" y="10"/>
                    <a:pt x="655" y="10"/>
                    <a:pt x="656" y="9"/>
                  </a:cubicBezTo>
                  <a:cubicBezTo>
                    <a:pt x="645" y="5"/>
                    <a:pt x="629" y="0"/>
                    <a:pt x="616" y="7"/>
                  </a:cubicBezTo>
                  <a:cubicBezTo>
                    <a:pt x="617" y="7"/>
                    <a:pt x="619" y="6"/>
                    <a:pt x="619" y="8"/>
                  </a:cubicBezTo>
                  <a:cubicBezTo>
                    <a:pt x="613" y="8"/>
                    <a:pt x="615" y="9"/>
                    <a:pt x="611" y="11"/>
                  </a:cubicBezTo>
                  <a:cubicBezTo>
                    <a:pt x="608" y="7"/>
                    <a:pt x="615" y="6"/>
                    <a:pt x="618" y="4"/>
                  </a:cubicBezTo>
                  <a:cubicBezTo>
                    <a:pt x="604" y="5"/>
                    <a:pt x="594" y="9"/>
                    <a:pt x="584" y="13"/>
                  </a:cubicBezTo>
                  <a:cubicBezTo>
                    <a:pt x="585" y="14"/>
                    <a:pt x="585" y="15"/>
                    <a:pt x="585" y="16"/>
                  </a:cubicBezTo>
                  <a:cubicBezTo>
                    <a:pt x="582" y="18"/>
                    <a:pt x="575" y="13"/>
                    <a:pt x="576" y="17"/>
                  </a:cubicBezTo>
                  <a:cubicBezTo>
                    <a:pt x="572" y="17"/>
                    <a:pt x="570" y="19"/>
                    <a:pt x="566" y="18"/>
                  </a:cubicBezTo>
                  <a:cubicBezTo>
                    <a:pt x="566" y="16"/>
                    <a:pt x="570" y="16"/>
                    <a:pt x="570" y="14"/>
                  </a:cubicBezTo>
                  <a:cubicBezTo>
                    <a:pt x="563" y="14"/>
                    <a:pt x="559" y="22"/>
                    <a:pt x="553" y="20"/>
                  </a:cubicBezTo>
                  <a:cubicBezTo>
                    <a:pt x="554" y="20"/>
                    <a:pt x="554" y="19"/>
                    <a:pt x="553" y="18"/>
                  </a:cubicBezTo>
                  <a:cubicBezTo>
                    <a:pt x="558" y="18"/>
                    <a:pt x="560" y="16"/>
                    <a:pt x="565" y="15"/>
                  </a:cubicBezTo>
                  <a:cubicBezTo>
                    <a:pt x="561" y="11"/>
                    <a:pt x="571" y="11"/>
                    <a:pt x="570" y="8"/>
                  </a:cubicBezTo>
                  <a:cubicBezTo>
                    <a:pt x="563" y="10"/>
                    <a:pt x="556" y="12"/>
                    <a:pt x="550" y="15"/>
                  </a:cubicBezTo>
                  <a:cubicBezTo>
                    <a:pt x="553" y="17"/>
                    <a:pt x="554" y="14"/>
                    <a:pt x="556" y="16"/>
                  </a:cubicBezTo>
                  <a:cubicBezTo>
                    <a:pt x="552" y="17"/>
                    <a:pt x="550" y="19"/>
                    <a:pt x="550" y="20"/>
                  </a:cubicBezTo>
                  <a:cubicBezTo>
                    <a:pt x="547" y="18"/>
                    <a:pt x="548" y="22"/>
                    <a:pt x="545" y="23"/>
                  </a:cubicBezTo>
                  <a:cubicBezTo>
                    <a:pt x="549" y="23"/>
                    <a:pt x="541" y="26"/>
                    <a:pt x="543" y="30"/>
                  </a:cubicBezTo>
                  <a:close/>
                  <a:moveTo>
                    <a:pt x="595" y="5"/>
                  </a:moveTo>
                  <a:cubicBezTo>
                    <a:pt x="588" y="5"/>
                    <a:pt x="580" y="11"/>
                    <a:pt x="577" y="13"/>
                  </a:cubicBezTo>
                  <a:cubicBezTo>
                    <a:pt x="580" y="13"/>
                    <a:pt x="582" y="12"/>
                    <a:pt x="586" y="11"/>
                  </a:cubicBezTo>
                  <a:cubicBezTo>
                    <a:pt x="585" y="7"/>
                    <a:pt x="592" y="9"/>
                    <a:pt x="595" y="5"/>
                  </a:cubicBezTo>
                  <a:close/>
                  <a:moveTo>
                    <a:pt x="397" y="110"/>
                  </a:moveTo>
                  <a:cubicBezTo>
                    <a:pt x="404" y="109"/>
                    <a:pt x="408" y="99"/>
                    <a:pt x="414" y="99"/>
                  </a:cubicBezTo>
                  <a:cubicBezTo>
                    <a:pt x="414" y="102"/>
                    <a:pt x="410" y="102"/>
                    <a:pt x="409" y="105"/>
                  </a:cubicBezTo>
                  <a:cubicBezTo>
                    <a:pt x="428" y="100"/>
                    <a:pt x="438" y="84"/>
                    <a:pt x="454" y="80"/>
                  </a:cubicBezTo>
                  <a:cubicBezTo>
                    <a:pt x="451" y="85"/>
                    <a:pt x="443" y="87"/>
                    <a:pt x="439" y="92"/>
                  </a:cubicBezTo>
                  <a:cubicBezTo>
                    <a:pt x="448" y="87"/>
                    <a:pt x="457" y="87"/>
                    <a:pt x="467" y="82"/>
                  </a:cubicBezTo>
                  <a:cubicBezTo>
                    <a:pt x="467" y="78"/>
                    <a:pt x="467" y="78"/>
                    <a:pt x="467" y="78"/>
                  </a:cubicBezTo>
                  <a:cubicBezTo>
                    <a:pt x="469" y="76"/>
                    <a:pt x="472" y="75"/>
                    <a:pt x="474" y="74"/>
                  </a:cubicBezTo>
                  <a:cubicBezTo>
                    <a:pt x="478" y="62"/>
                    <a:pt x="492" y="66"/>
                    <a:pt x="499" y="59"/>
                  </a:cubicBezTo>
                  <a:cubicBezTo>
                    <a:pt x="499" y="58"/>
                    <a:pt x="498" y="59"/>
                    <a:pt x="498" y="58"/>
                  </a:cubicBezTo>
                  <a:cubicBezTo>
                    <a:pt x="504" y="58"/>
                    <a:pt x="509" y="55"/>
                    <a:pt x="507" y="51"/>
                  </a:cubicBezTo>
                  <a:cubicBezTo>
                    <a:pt x="510" y="52"/>
                    <a:pt x="517" y="49"/>
                    <a:pt x="513" y="46"/>
                  </a:cubicBezTo>
                  <a:cubicBezTo>
                    <a:pt x="518" y="44"/>
                    <a:pt x="525" y="44"/>
                    <a:pt x="526" y="38"/>
                  </a:cubicBezTo>
                  <a:cubicBezTo>
                    <a:pt x="530" y="40"/>
                    <a:pt x="536" y="38"/>
                    <a:pt x="536" y="34"/>
                  </a:cubicBezTo>
                  <a:cubicBezTo>
                    <a:pt x="532" y="32"/>
                    <a:pt x="532" y="33"/>
                    <a:pt x="535" y="30"/>
                  </a:cubicBezTo>
                  <a:cubicBezTo>
                    <a:pt x="505" y="33"/>
                    <a:pt x="487" y="53"/>
                    <a:pt x="461" y="57"/>
                  </a:cubicBezTo>
                  <a:cubicBezTo>
                    <a:pt x="484" y="51"/>
                    <a:pt x="499" y="35"/>
                    <a:pt x="520" y="31"/>
                  </a:cubicBezTo>
                  <a:cubicBezTo>
                    <a:pt x="523" y="30"/>
                    <a:pt x="536" y="31"/>
                    <a:pt x="540" y="24"/>
                  </a:cubicBezTo>
                  <a:cubicBezTo>
                    <a:pt x="538" y="23"/>
                    <a:pt x="537" y="27"/>
                    <a:pt x="536" y="24"/>
                  </a:cubicBezTo>
                  <a:cubicBezTo>
                    <a:pt x="538" y="24"/>
                    <a:pt x="540" y="24"/>
                    <a:pt x="540" y="21"/>
                  </a:cubicBezTo>
                  <a:cubicBezTo>
                    <a:pt x="536" y="21"/>
                    <a:pt x="537" y="21"/>
                    <a:pt x="531" y="21"/>
                  </a:cubicBezTo>
                  <a:cubicBezTo>
                    <a:pt x="531" y="23"/>
                    <a:pt x="531" y="23"/>
                    <a:pt x="530" y="24"/>
                  </a:cubicBezTo>
                  <a:cubicBezTo>
                    <a:pt x="520" y="31"/>
                    <a:pt x="502" y="35"/>
                    <a:pt x="492" y="39"/>
                  </a:cubicBezTo>
                  <a:cubicBezTo>
                    <a:pt x="509" y="31"/>
                    <a:pt x="495" y="38"/>
                    <a:pt x="485" y="41"/>
                  </a:cubicBezTo>
                  <a:cubicBezTo>
                    <a:pt x="483" y="43"/>
                    <a:pt x="484" y="44"/>
                    <a:pt x="483" y="45"/>
                  </a:cubicBezTo>
                  <a:cubicBezTo>
                    <a:pt x="481" y="45"/>
                    <a:pt x="479" y="45"/>
                    <a:pt x="478" y="47"/>
                  </a:cubicBezTo>
                  <a:cubicBezTo>
                    <a:pt x="459" y="52"/>
                    <a:pt x="439" y="65"/>
                    <a:pt x="422" y="75"/>
                  </a:cubicBezTo>
                  <a:cubicBezTo>
                    <a:pt x="423" y="75"/>
                    <a:pt x="424" y="75"/>
                    <a:pt x="425" y="76"/>
                  </a:cubicBezTo>
                  <a:cubicBezTo>
                    <a:pt x="421" y="77"/>
                    <a:pt x="420" y="77"/>
                    <a:pt x="420" y="75"/>
                  </a:cubicBezTo>
                  <a:cubicBezTo>
                    <a:pt x="422" y="78"/>
                    <a:pt x="410" y="83"/>
                    <a:pt x="412" y="83"/>
                  </a:cubicBezTo>
                  <a:cubicBezTo>
                    <a:pt x="414" y="83"/>
                    <a:pt x="415" y="81"/>
                    <a:pt x="415" y="83"/>
                  </a:cubicBezTo>
                  <a:cubicBezTo>
                    <a:pt x="413" y="84"/>
                    <a:pt x="411" y="85"/>
                    <a:pt x="409" y="87"/>
                  </a:cubicBezTo>
                  <a:cubicBezTo>
                    <a:pt x="411" y="87"/>
                    <a:pt x="411" y="89"/>
                    <a:pt x="412" y="89"/>
                  </a:cubicBezTo>
                  <a:cubicBezTo>
                    <a:pt x="411" y="83"/>
                    <a:pt x="438" y="72"/>
                    <a:pt x="445" y="66"/>
                  </a:cubicBezTo>
                  <a:cubicBezTo>
                    <a:pt x="445" y="67"/>
                    <a:pt x="445" y="68"/>
                    <a:pt x="446" y="68"/>
                  </a:cubicBezTo>
                  <a:cubicBezTo>
                    <a:pt x="461" y="62"/>
                    <a:pt x="476" y="54"/>
                    <a:pt x="492" y="49"/>
                  </a:cubicBezTo>
                  <a:cubicBezTo>
                    <a:pt x="489" y="52"/>
                    <a:pt x="491" y="51"/>
                    <a:pt x="493" y="52"/>
                  </a:cubicBezTo>
                  <a:cubicBezTo>
                    <a:pt x="489" y="56"/>
                    <a:pt x="481" y="56"/>
                    <a:pt x="481" y="57"/>
                  </a:cubicBezTo>
                  <a:cubicBezTo>
                    <a:pt x="481" y="60"/>
                    <a:pt x="484" y="54"/>
                    <a:pt x="484" y="58"/>
                  </a:cubicBezTo>
                  <a:cubicBezTo>
                    <a:pt x="474" y="60"/>
                    <a:pt x="475" y="66"/>
                    <a:pt x="467" y="64"/>
                  </a:cubicBezTo>
                  <a:cubicBezTo>
                    <a:pt x="468" y="64"/>
                    <a:pt x="469" y="64"/>
                    <a:pt x="470" y="62"/>
                  </a:cubicBezTo>
                  <a:cubicBezTo>
                    <a:pt x="465" y="63"/>
                    <a:pt x="461" y="63"/>
                    <a:pt x="459" y="67"/>
                  </a:cubicBezTo>
                  <a:cubicBezTo>
                    <a:pt x="462" y="67"/>
                    <a:pt x="466" y="64"/>
                    <a:pt x="468" y="67"/>
                  </a:cubicBezTo>
                  <a:cubicBezTo>
                    <a:pt x="457" y="71"/>
                    <a:pt x="446" y="75"/>
                    <a:pt x="436" y="80"/>
                  </a:cubicBezTo>
                  <a:cubicBezTo>
                    <a:pt x="435" y="79"/>
                    <a:pt x="435" y="79"/>
                    <a:pt x="435" y="78"/>
                  </a:cubicBezTo>
                  <a:cubicBezTo>
                    <a:pt x="430" y="79"/>
                    <a:pt x="424" y="81"/>
                    <a:pt x="421" y="84"/>
                  </a:cubicBezTo>
                  <a:cubicBezTo>
                    <a:pt x="424" y="85"/>
                    <a:pt x="425" y="84"/>
                    <a:pt x="426" y="85"/>
                  </a:cubicBezTo>
                  <a:cubicBezTo>
                    <a:pt x="420" y="91"/>
                    <a:pt x="401" y="99"/>
                    <a:pt x="403" y="103"/>
                  </a:cubicBezTo>
                  <a:cubicBezTo>
                    <a:pt x="399" y="103"/>
                    <a:pt x="400" y="108"/>
                    <a:pt x="397" y="110"/>
                  </a:cubicBezTo>
                  <a:close/>
                  <a:moveTo>
                    <a:pt x="1664" y="783"/>
                  </a:moveTo>
                  <a:cubicBezTo>
                    <a:pt x="1662" y="757"/>
                    <a:pt x="1654" y="739"/>
                    <a:pt x="1657" y="715"/>
                  </a:cubicBezTo>
                  <a:cubicBezTo>
                    <a:pt x="1657" y="713"/>
                    <a:pt x="1660" y="711"/>
                    <a:pt x="1660" y="709"/>
                  </a:cubicBezTo>
                  <a:cubicBezTo>
                    <a:pt x="1661" y="704"/>
                    <a:pt x="1658" y="695"/>
                    <a:pt x="1659" y="688"/>
                  </a:cubicBezTo>
                  <a:cubicBezTo>
                    <a:pt x="1663" y="662"/>
                    <a:pt x="1657" y="631"/>
                    <a:pt x="1654" y="604"/>
                  </a:cubicBezTo>
                  <a:cubicBezTo>
                    <a:pt x="1657" y="604"/>
                    <a:pt x="1656" y="608"/>
                    <a:pt x="1658" y="609"/>
                  </a:cubicBezTo>
                  <a:cubicBezTo>
                    <a:pt x="1657" y="596"/>
                    <a:pt x="1656" y="594"/>
                    <a:pt x="1660" y="586"/>
                  </a:cubicBezTo>
                  <a:cubicBezTo>
                    <a:pt x="1665" y="605"/>
                    <a:pt x="1677" y="623"/>
                    <a:pt x="1681" y="642"/>
                  </a:cubicBezTo>
                  <a:cubicBezTo>
                    <a:pt x="1653" y="494"/>
                    <a:pt x="1586" y="373"/>
                    <a:pt x="1504" y="271"/>
                  </a:cubicBezTo>
                  <a:cubicBezTo>
                    <a:pt x="1433" y="183"/>
                    <a:pt x="1339" y="108"/>
                    <a:pt x="1233" y="55"/>
                  </a:cubicBezTo>
                  <a:cubicBezTo>
                    <a:pt x="1211" y="44"/>
                    <a:pt x="1193" y="32"/>
                    <a:pt x="1170" y="30"/>
                  </a:cubicBezTo>
                  <a:cubicBezTo>
                    <a:pt x="1169" y="38"/>
                    <a:pt x="1191" y="35"/>
                    <a:pt x="1181" y="42"/>
                  </a:cubicBezTo>
                  <a:cubicBezTo>
                    <a:pt x="1185" y="42"/>
                    <a:pt x="1187" y="44"/>
                    <a:pt x="1190" y="46"/>
                  </a:cubicBezTo>
                  <a:cubicBezTo>
                    <a:pt x="1176" y="44"/>
                    <a:pt x="1163" y="34"/>
                    <a:pt x="1149" y="38"/>
                  </a:cubicBezTo>
                  <a:cubicBezTo>
                    <a:pt x="1153" y="40"/>
                    <a:pt x="1156" y="40"/>
                    <a:pt x="1159" y="42"/>
                  </a:cubicBezTo>
                  <a:cubicBezTo>
                    <a:pt x="1149" y="43"/>
                    <a:pt x="1137" y="42"/>
                    <a:pt x="1133" y="43"/>
                  </a:cubicBezTo>
                  <a:cubicBezTo>
                    <a:pt x="1134" y="43"/>
                    <a:pt x="1134" y="43"/>
                    <a:pt x="1134" y="44"/>
                  </a:cubicBezTo>
                  <a:cubicBezTo>
                    <a:pt x="1129" y="45"/>
                    <a:pt x="1128" y="38"/>
                    <a:pt x="1123" y="41"/>
                  </a:cubicBezTo>
                  <a:cubicBezTo>
                    <a:pt x="1128" y="43"/>
                    <a:pt x="1130" y="44"/>
                    <a:pt x="1134" y="48"/>
                  </a:cubicBezTo>
                  <a:cubicBezTo>
                    <a:pt x="1134" y="49"/>
                    <a:pt x="1133" y="50"/>
                    <a:pt x="1132" y="51"/>
                  </a:cubicBezTo>
                  <a:cubicBezTo>
                    <a:pt x="1122" y="41"/>
                    <a:pt x="1110" y="28"/>
                    <a:pt x="1092" y="32"/>
                  </a:cubicBezTo>
                  <a:cubicBezTo>
                    <a:pt x="1084" y="33"/>
                    <a:pt x="1075" y="30"/>
                    <a:pt x="1069" y="33"/>
                  </a:cubicBezTo>
                  <a:cubicBezTo>
                    <a:pt x="1071" y="34"/>
                    <a:pt x="1075" y="34"/>
                    <a:pt x="1077" y="36"/>
                  </a:cubicBezTo>
                  <a:cubicBezTo>
                    <a:pt x="1073" y="36"/>
                    <a:pt x="1080" y="39"/>
                    <a:pt x="1076" y="41"/>
                  </a:cubicBezTo>
                  <a:cubicBezTo>
                    <a:pt x="1073" y="41"/>
                    <a:pt x="1073" y="39"/>
                    <a:pt x="1069" y="39"/>
                  </a:cubicBezTo>
                  <a:cubicBezTo>
                    <a:pt x="1069" y="44"/>
                    <a:pt x="1063" y="43"/>
                    <a:pt x="1064" y="47"/>
                  </a:cubicBezTo>
                  <a:cubicBezTo>
                    <a:pt x="1065" y="53"/>
                    <a:pt x="1072" y="50"/>
                    <a:pt x="1074" y="57"/>
                  </a:cubicBezTo>
                  <a:cubicBezTo>
                    <a:pt x="1068" y="57"/>
                    <a:pt x="1065" y="56"/>
                    <a:pt x="1062" y="59"/>
                  </a:cubicBezTo>
                  <a:cubicBezTo>
                    <a:pt x="1067" y="66"/>
                    <a:pt x="1081" y="64"/>
                    <a:pt x="1088" y="69"/>
                  </a:cubicBezTo>
                  <a:cubicBezTo>
                    <a:pt x="1080" y="69"/>
                    <a:pt x="1076" y="66"/>
                    <a:pt x="1068" y="66"/>
                  </a:cubicBezTo>
                  <a:cubicBezTo>
                    <a:pt x="1070" y="70"/>
                    <a:pt x="1066" y="68"/>
                    <a:pt x="1065" y="70"/>
                  </a:cubicBezTo>
                  <a:cubicBezTo>
                    <a:pt x="1066" y="72"/>
                    <a:pt x="1072" y="73"/>
                    <a:pt x="1070" y="74"/>
                  </a:cubicBezTo>
                  <a:cubicBezTo>
                    <a:pt x="1063" y="73"/>
                    <a:pt x="1059" y="64"/>
                    <a:pt x="1052" y="66"/>
                  </a:cubicBezTo>
                  <a:cubicBezTo>
                    <a:pt x="1056" y="67"/>
                    <a:pt x="1057" y="70"/>
                    <a:pt x="1058" y="74"/>
                  </a:cubicBezTo>
                  <a:cubicBezTo>
                    <a:pt x="1073" y="77"/>
                    <a:pt x="1082" y="94"/>
                    <a:pt x="1098" y="88"/>
                  </a:cubicBezTo>
                  <a:cubicBezTo>
                    <a:pt x="1098" y="91"/>
                    <a:pt x="1095" y="90"/>
                    <a:pt x="1096" y="93"/>
                  </a:cubicBezTo>
                  <a:cubicBezTo>
                    <a:pt x="1104" y="97"/>
                    <a:pt x="1113" y="103"/>
                    <a:pt x="1113" y="112"/>
                  </a:cubicBezTo>
                  <a:cubicBezTo>
                    <a:pt x="1108" y="111"/>
                    <a:pt x="1100" y="114"/>
                    <a:pt x="1098" y="110"/>
                  </a:cubicBezTo>
                  <a:cubicBezTo>
                    <a:pt x="1101" y="110"/>
                    <a:pt x="1103" y="108"/>
                    <a:pt x="1105" y="107"/>
                  </a:cubicBezTo>
                  <a:cubicBezTo>
                    <a:pt x="1101" y="101"/>
                    <a:pt x="1099" y="93"/>
                    <a:pt x="1087" y="94"/>
                  </a:cubicBezTo>
                  <a:cubicBezTo>
                    <a:pt x="1083" y="92"/>
                    <a:pt x="1081" y="89"/>
                    <a:pt x="1077" y="86"/>
                  </a:cubicBezTo>
                  <a:cubicBezTo>
                    <a:pt x="1071" y="83"/>
                    <a:pt x="1063" y="81"/>
                    <a:pt x="1057" y="77"/>
                  </a:cubicBezTo>
                  <a:cubicBezTo>
                    <a:pt x="1050" y="72"/>
                    <a:pt x="1045" y="64"/>
                    <a:pt x="1031" y="66"/>
                  </a:cubicBezTo>
                  <a:cubicBezTo>
                    <a:pt x="1031" y="71"/>
                    <a:pt x="1040" y="73"/>
                    <a:pt x="1038" y="81"/>
                  </a:cubicBezTo>
                  <a:cubicBezTo>
                    <a:pt x="1046" y="82"/>
                    <a:pt x="1050" y="87"/>
                    <a:pt x="1055" y="91"/>
                  </a:cubicBezTo>
                  <a:cubicBezTo>
                    <a:pt x="1061" y="91"/>
                    <a:pt x="1070" y="92"/>
                    <a:pt x="1073" y="98"/>
                  </a:cubicBezTo>
                  <a:cubicBezTo>
                    <a:pt x="1055" y="95"/>
                    <a:pt x="1045" y="90"/>
                    <a:pt x="1026" y="91"/>
                  </a:cubicBezTo>
                  <a:cubicBezTo>
                    <a:pt x="1025" y="96"/>
                    <a:pt x="1033" y="94"/>
                    <a:pt x="1033" y="99"/>
                  </a:cubicBezTo>
                  <a:cubicBezTo>
                    <a:pt x="1030" y="99"/>
                    <a:pt x="1036" y="102"/>
                    <a:pt x="1032" y="102"/>
                  </a:cubicBezTo>
                  <a:cubicBezTo>
                    <a:pt x="1028" y="102"/>
                    <a:pt x="1030" y="96"/>
                    <a:pt x="1025" y="97"/>
                  </a:cubicBezTo>
                  <a:cubicBezTo>
                    <a:pt x="1022" y="104"/>
                    <a:pt x="1011" y="98"/>
                    <a:pt x="1008" y="106"/>
                  </a:cubicBezTo>
                  <a:cubicBezTo>
                    <a:pt x="1001" y="107"/>
                    <a:pt x="1004" y="99"/>
                    <a:pt x="999" y="99"/>
                  </a:cubicBezTo>
                  <a:cubicBezTo>
                    <a:pt x="994" y="105"/>
                    <a:pt x="978" y="105"/>
                    <a:pt x="979" y="117"/>
                  </a:cubicBezTo>
                  <a:cubicBezTo>
                    <a:pt x="974" y="119"/>
                    <a:pt x="964" y="118"/>
                    <a:pt x="964" y="111"/>
                  </a:cubicBezTo>
                  <a:cubicBezTo>
                    <a:pt x="971" y="111"/>
                    <a:pt x="971" y="111"/>
                    <a:pt x="971" y="111"/>
                  </a:cubicBezTo>
                  <a:cubicBezTo>
                    <a:pt x="968" y="105"/>
                    <a:pt x="960" y="104"/>
                    <a:pt x="950" y="105"/>
                  </a:cubicBezTo>
                  <a:cubicBezTo>
                    <a:pt x="953" y="108"/>
                    <a:pt x="958" y="109"/>
                    <a:pt x="956" y="116"/>
                  </a:cubicBezTo>
                  <a:cubicBezTo>
                    <a:pt x="959" y="119"/>
                    <a:pt x="967" y="118"/>
                    <a:pt x="966" y="125"/>
                  </a:cubicBezTo>
                  <a:cubicBezTo>
                    <a:pt x="961" y="127"/>
                    <a:pt x="959" y="121"/>
                    <a:pt x="953" y="122"/>
                  </a:cubicBezTo>
                  <a:cubicBezTo>
                    <a:pt x="951" y="127"/>
                    <a:pt x="945" y="128"/>
                    <a:pt x="943" y="133"/>
                  </a:cubicBezTo>
                  <a:cubicBezTo>
                    <a:pt x="945" y="136"/>
                    <a:pt x="951" y="136"/>
                    <a:pt x="952" y="141"/>
                  </a:cubicBezTo>
                  <a:cubicBezTo>
                    <a:pt x="942" y="142"/>
                    <a:pt x="937" y="138"/>
                    <a:pt x="930" y="135"/>
                  </a:cubicBezTo>
                  <a:cubicBezTo>
                    <a:pt x="929" y="136"/>
                    <a:pt x="928" y="138"/>
                    <a:pt x="926" y="138"/>
                  </a:cubicBezTo>
                  <a:cubicBezTo>
                    <a:pt x="927" y="144"/>
                    <a:pt x="935" y="143"/>
                    <a:pt x="939" y="146"/>
                  </a:cubicBezTo>
                  <a:cubicBezTo>
                    <a:pt x="932" y="152"/>
                    <a:pt x="927" y="141"/>
                    <a:pt x="917" y="144"/>
                  </a:cubicBezTo>
                  <a:cubicBezTo>
                    <a:pt x="916" y="138"/>
                    <a:pt x="912" y="137"/>
                    <a:pt x="914" y="131"/>
                  </a:cubicBezTo>
                  <a:cubicBezTo>
                    <a:pt x="908" y="127"/>
                    <a:pt x="897" y="126"/>
                    <a:pt x="894" y="119"/>
                  </a:cubicBezTo>
                  <a:cubicBezTo>
                    <a:pt x="908" y="124"/>
                    <a:pt x="935" y="135"/>
                    <a:pt x="948" y="122"/>
                  </a:cubicBezTo>
                  <a:cubicBezTo>
                    <a:pt x="937" y="105"/>
                    <a:pt x="911" y="105"/>
                    <a:pt x="888" y="100"/>
                  </a:cubicBezTo>
                  <a:cubicBezTo>
                    <a:pt x="888" y="98"/>
                    <a:pt x="889" y="98"/>
                    <a:pt x="889" y="96"/>
                  </a:cubicBezTo>
                  <a:cubicBezTo>
                    <a:pt x="886" y="97"/>
                    <a:pt x="885" y="94"/>
                    <a:pt x="882" y="95"/>
                  </a:cubicBezTo>
                  <a:cubicBezTo>
                    <a:pt x="882" y="98"/>
                    <a:pt x="874" y="99"/>
                    <a:pt x="872" y="97"/>
                  </a:cubicBezTo>
                  <a:cubicBezTo>
                    <a:pt x="873" y="95"/>
                    <a:pt x="876" y="96"/>
                    <a:pt x="877" y="93"/>
                  </a:cubicBezTo>
                  <a:cubicBezTo>
                    <a:pt x="874" y="91"/>
                    <a:pt x="870" y="90"/>
                    <a:pt x="866" y="89"/>
                  </a:cubicBezTo>
                  <a:cubicBezTo>
                    <a:pt x="864" y="89"/>
                    <a:pt x="865" y="93"/>
                    <a:pt x="862" y="93"/>
                  </a:cubicBezTo>
                  <a:cubicBezTo>
                    <a:pt x="864" y="90"/>
                    <a:pt x="862" y="88"/>
                    <a:pt x="858" y="87"/>
                  </a:cubicBezTo>
                  <a:cubicBezTo>
                    <a:pt x="855" y="88"/>
                    <a:pt x="858" y="94"/>
                    <a:pt x="854" y="93"/>
                  </a:cubicBezTo>
                  <a:cubicBezTo>
                    <a:pt x="852" y="93"/>
                    <a:pt x="853" y="90"/>
                    <a:pt x="852" y="90"/>
                  </a:cubicBezTo>
                  <a:cubicBezTo>
                    <a:pt x="851" y="92"/>
                    <a:pt x="848" y="96"/>
                    <a:pt x="847" y="94"/>
                  </a:cubicBezTo>
                  <a:cubicBezTo>
                    <a:pt x="847" y="91"/>
                    <a:pt x="851" y="91"/>
                    <a:pt x="851" y="87"/>
                  </a:cubicBezTo>
                  <a:cubicBezTo>
                    <a:pt x="844" y="88"/>
                    <a:pt x="840" y="91"/>
                    <a:pt x="836" y="94"/>
                  </a:cubicBezTo>
                  <a:cubicBezTo>
                    <a:pt x="828" y="94"/>
                    <a:pt x="826" y="96"/>
                    <a:pt x="821" y="100"/>
                  </a:cubicBezTo>
                  <a:cubicBezTo>
                    <a:pt x="820" y="100"/>
                    <a:pt x="820" y="98"/>
                    <a:pt x="820" y="97"/>
                  </a:cubicBezTo>
                  <a:cubicBezTo>
                    <a:pt x="816" y="96"/>
                    <a:pt x="816" y="100"/>
                    <a:pt x="813" y="101"/>
                  </a:cubicBezTo>
                  <a:cubicBezTo>
                    <a:pt x="814" y="98"/>
                    <a:pt x="816" y="97"/>
                    <a:pt x="812" y="95"/>
                  </a:cubicBezTo>
                  <a:cubicBezTo>
                    <a:pt x="808" y="104"/>
                    <a:pt x="800" y="109"/>
                    <a:pt x="790" y="111"/>
                  </a:cubicBezTo>
                  <a:cubicBezTo>
                    <a:pt x="789" y="114"/>
                    <a:pt x="793" y="115"/>
                    <a:pt x="790" y="115"/>
                  </a:cubicBezTo>
                  <a:cubicBezTo>
                    <a:pt x="779" y="120"/>
                    <a:pt x="771" y="128"/>
                    <a:pt x="766" y="139"/>
                  </a:cubicBezTo>
                  <a:cubicBezTo>
                    <a:pt x="759" y="142"/>
                    <a:pt x="752" y="144"/>
                    <a:pt x="747" y="150"/>
                  </a:cubicBezTo>
                  <a:cubicBezTo>
                    <a:pt x="735" y="145"/>
                    <a:pt x="734" y="160"/>
                    <a:pt x="722" y="159"/>
                  </a:cubicBezTo>
                  <a:cubicBezTo>
                    <a:pt x="721" y="162"/>
                    <a:pt x="726" y="162"/>
                    <a:pt x="723" y="163"/>
                  </a:cubicBezTo>
                  <a:cubicBezTo>
                    <a:pt x="715" y="161"/>
                    <a:pt x="709" y="166"/>
                    <a:pt x="708" y="174"/>
                  </a:cubicBezTo>
                  <a:cubicBezTo>
                    <a:pt x="708" y="176"/>
                    <a:pt x="713" y="173"/>
                    <a:pt x="714" y="176"/>
                  </a:cubicBezTo>
                  <a:cubicBezTo>
                    <a:pt x="705" y="176"/>
                    <a:pt x="705" y="176"/>
                    <a:pt x="705" y="176"/>
                  </a:cubicBezTo>
                  <a:cubicBezTo>
                    <a:pt x="707" y="179"/>
                    <a:pt x="704" y="183"/>
                    <a:pt x="706" y="186"/>
                  </a:cubicBezTo>
                  <a:cubicBezTo>
                    <a:pt x="704" y="189"/>
                    <a:pt x="700" y="189"/>
                    <a:pt x="699" y="193"/>
                  </a:cubicBezTo>
                  <a:cubicBezTo>
                    <a:pt x="702" y="193"/>
                    <a:pt x="705" y="193"/>
                    <a:pt x="705" y="196"/>
                  </a:cubicBezTo>
                  <a:cubicBezTo>
                    <a:pt x="705" y="199"/>
                    <a:pt x="698" y="196"/>
                    <a:pt x="698" y="200"/>
                  </a:cubicBezTo>
                  <a:cubicBezTo>
                    <a:pt x="707" y="222"/>
                    <a:pt x="728" y="200"/>
                    <a:pt x="741" y="196"/>
                  </a:cubicBezTo>
                  <a:cubicBezTo>
                    <a:pt x="749" y="204"/>
                    <a:pt x="742" y="220"/>
                    <a:pt x="752" y="229"/>
                  </a:cubicBezTo>
                  <a:cubicBezTo>
                    <a:pt x="747" y="233"/>
                    <a:pt x="752" y="236"/>
                    <a:pt x="751" y="243"/>
                  </a:cubicBezTo>
                  <a:cubicBezTo>
                    <a:pt x="754" y="244"/>
                    <a:pt x="759" y="244"/>
                    <a:pt x="763" y="244"/>
                  </a:cubicBezTo>
                  <a:cubicBezTo>
                    <a:pt x="765" y="235"/>
                    <a:pt x="771" y="232"/>
                    <a:pt x="781" y="235"/>
                  </a:cubicBezTo>
                  <a:cubicBezTo>
                    <a:pt x="785" y="227"/>
                    <a:pt x="791" y="216"/>
                    <a:pt x="790" y="206"/>
                  </a:cubicBezTo>
                  <a:cubicBezTo>
                    <a:pt x="799" y="203"/>
                    <a:pt x="805" y="201"/>
                    <a:pt x="810" y="192"/>
                  </a:cubicBezTo>
                  <a:cubicBezTo>
                    <a:pt x="807" y="187"/>
                    <a:pt x="804" y="183"/>
                    <a:pt x="797" y="182"/>
                  </a:cubicBezTo>
                  <a:cubicBezTo>
                    <a:pt x="794" y="175"/>
                    <a:pt x="798" y="173"/>
                    <a:pt x="800" y="170"/>
                  </a:cubicBezTo>
                  <a:cubicBezTo>
                    <a:pt x="802" y="166"/>
                    <a:pt x="800" y="162"/>
                    <a:pt x="803" y="159"/>
                  </a:cubicBezTo>
                  <a:cubicBezTo>
                    <a:pt x="807" y="155"/>
                    <a:pt x="816" y="157"/>
                    <a:pt x="822" y="153"/>
                  </a:cubicBezTo>
                  <a:cubicBezTo>
                    <a:pt x="828" y="148"/>
                    <a:pt x="827" y="141"/>
                    <a:pt x="830" y="133"/>
                  </a:cubicBezTo>
                  <a:cubicBezTo>
                    <a:pt x="838" y="131"/>
                    <a:pt x="850" y="130"/>
                    <a:pt x="852" y="138"/>
                  </a:cubicBezTo>
                  <a:cubicBezTo>
                    <a:pt x="844" y="146"/>
                    <a:pt x="835" y="152"/>
                    <a:pt x="827" y="158"/>
                  </a:cubicBezTo>
                  <a:cubicBezTo>
                    <a:pt x="825" y="167"/>
                    <a:pt x="830" y="173"/>
                    <a:pt x="828" y="182"/>
                  </a:cubicBezTo>
                  <a:cubicBezTo>
                    <a:pt x="841" y="199"/>
                    <a:pt x="865" y="184"/>
                    <a:pt x="883" y="183"/>
                  </a:cubicBezTo>
                  <a:cubicBezTo>
                    <a:pt x="886" y="185"/>
                    <a:pt x="888" y="187"/>
                    <a:pt x="891" y="189"/>
                  </a:cubicBezTo>
                  <a:cubicBezTo>
                    <a:pt x="889" y="192"/>
                    <a:pt x="883" y="192"/>
                    <a:pt x="882" y="196"/>
                  </a:cubicBezTo>
                  <a:cubicBezTo>
                    <a:pt x="869" y="188"/>
                    <a:pt x="830" y="199"/>
                    <a:pt x="854" y="209"/>
                  </a:cubicBezTo>
                  <a:cubicBezTo>
                    <a:pt x="852" y="215"/>
                    <a:pt x="855" y="217"/>
                    <a:pt x="855" y="224"/>
                  </a:cubicBezTo>
                  <a:cubicBezTo>
                    <a:pt x="844" y="226"/>
                    <a:pt x="846" y="216"/>
                    <a:pt x="840" y="215"/>
                  </a:cubicBezTo>
                  <a:cubicBezTo>
                    <a:pt x="827" y="212"/>
                    <a:pt x="823" y="237"/>
                    <a:pt x="829" y="248"/>
                  </a:cubicBezTo>
                  <a:cubicBezTo>
                    <a:pt x="826" y="251"/>
                    <a:pt x="821" y="247"/>
                    <a:pt x="816" y="250"/>
                  </a:cubicBezTo>
                  <a:cubicBezTo>
                    <a:pt x="814" y="251"/>
                    <a:pt x="818" y="256"/>
                    <a:pt x="814" y="256"/>
                  </a:cubicBezTo>
                  <a:cubicBezTo>
                    <a:pt x="807" y="258"/>
                    <a:pt x="806" y="253"/>
                    <a:pt x="802" y="251"/>
                  </a:cubicBezTo>
                  <a:cubicBezTo>
                    <a:pt x="785" y="249"/>
                    <a:pt x="782" y="260"/>
                    <a:pt x="766" y="259"/>
                  </a:cubicBezTo>
                  <a:cubicBezTo>
                    <a:pt x="765" y="261"/>
                    <a:pt x="762" y="262"/>
                    <a:pt x="761" y="265"/>
                  </a:cubicBezTo>
                  <a:cubicBezTo>
                    <a:pt x="754" y="254"/>
                    <a:pt x="741" y="255"/>
                    <a:pt x="729" y="260"/>
                  </a:cubicBezTo>
                  <a:cubicBezTo>
                    <a:pt x="728" y="257"/>
                    <a:pt x="733" y="255"/>
                    <a:pt x="730" y="253"/>
                  </a:cubicBezTo>
                  <a:cubicBezTo>
                    <a:pt x="710" y="255"/>
                    <a:pt x="726" y="232"/>
                    <a:pt x="734" y="228"/>
                  </a:cubicBezTo>
                  <a:cubicBezTo>
                    <a:pt x="734" y="226"/>
                    <a:pt x="728" y="229"/>
                    <a:pt x="730" y="226"/>
                  </a:cubicBezTo>
                  <a:cubicBezTo>
                    <a:pt x="731" y="221"/>
                    <a:pt x="736" y="220"/>
                    <a:pt x="734" y="215"/>
                  </a:cubicBezTo>
                  <a:cubicBezTo>
                    <a:pt x="726" y="214"/>
                    <a:pt x="726" y="222"/>
                    <a:pt x="720" y="223"/>
                  </a:cubicBezTo>
                  <a:cubicBezTo>
                    <a:pt x="721" y="221"/>
                    <a:pt x="720" y="219"/>
                    <a:pt x="718" y="219"/>
                  </a:cubicBezTo>
                  <a:cubicBezTo>
                    <a:pt x="717" y="220"/>
                    <a:pt x="715" y="222"/>
                    <a:pt x="714" y="223"/>
                  </a:cubicBezTo>
                  <a:cubicBezTo>
                    <a:pt x="713" y="226"/>
                    <a:pt x="717" y="224"/>
                    <a:pt x="715" y="227"/>
                  </a:cubicBezTo>
                  <a:cubicBezTo>
                    <a:pt x="712" y="226"/>
                    <a:pt x="709" y="229"/>
                    <a:pt x="708" y="231"/>
                  </a:cubicBezTo>
                  <a:cubicBezTo>
                    <a:pt x="708" y="231"/>
                    <a:pt x="708" y="247"/>
                    <a:pt x="708" y="247"/>
                  </a:cubicBezTo>
                  <a:cubicBezTo>
                    <a:pt x="708" y="250"/>
                    <a:pt x="711" y="251"/>
                    <a:pt x="711" y="253"/>
                  </a:cubicBezTo>
                  <a:cubicBezTo>
                    <a:pt x="710" y="260"/>
                    <a:pt x="706" y="261"/>
                    <a:pt x="701" y="266"/>
                  </a:cubicBezTo>
                  <a:cubicBezTo>
                    <a:pt x="699" y="264"/>
                    <a:pt x="697" y="261"/>
                    <a:pt x="692" y="262"/>
                  </a:cubicBezTo>
                  <a:cubicBezTo>
                    <a:pt x="690" y="263"/>
                    <a:pt x="691" y="267"/>
                    <a:pt x="689" y="267"/>
                  </a:cubicBezTo>
                  <a:cubicBezTo>
                    <a:pt x="658" y="260"/>
                    <a:pt x="655" y="300"/>
                    <a:pt x="622" y="295"/>
                  </a:cubicBezTo>
                  <a:cubicBezTo>
                    <a:pt x="624" y="289"/>
                    <a:pt x="622" y="290"/>
                    <a:pt x="619" y="287"/>
                  </a:cubicBezTo>
                  <a:cubicBezTo>
                    <a:pt x="624" y="281"/>
                    <a:pt x="635" y="282"/>
                    <a:pt x="635" y="272"/>
                  </a:cubicBezTo>
                  <a:cubicBezTo>
                    <a:pt x="632" y="268"/>
                    <a:pt x="626" y="267"/>
                    <a:pt x="621" y="270"/>
                  </a:cubicBezTo>
                  <a:cubicBezTo>
                    <a:pt x="626" y="261"/>
                    <a:pt x="625" y="249"/>
                    <a:pt x="618" y="242"/>
                  </a:cubicBezTo>
                  <a:cubicBezTo>
                    <a:pt x="620" y="240"/>
                    <a:pt x="621" y="236"/>
                    <a:pt x="622" y="234"/>
                  </a:cubicBezTo>
                  <a:cubicBezTo>
                    <a:pt x="621" y="231"/>
                    <a:pt x="619" y="228"/>
                    <a:pt x="616" y="227"/>
                  </a:cubicBezTo>
                  <a:cubicBezTo>
                    <a:pt x="622" y="221"/>
                    <a:pt x="630" y="217"/>
                    <a:pt x="634" y="209"/>
                  </a:cubicBezTo>
                  <a:cubicBezTo>
                    <a:pt x="629" y="208"/>
                    <a:pt x="623" y="208"/>
                    <a:pt x="618" y="206"/>
                  </a:cubicBezTo>
                  <a:cubicBezTo>
                    <a:pt x="622" y="203"/>
                    <a:pt x="629" y="203"/>
                    <a:pt x="629" y="197"/>
                  </a:cubicBezTo>
                  <a:cubicBezTo>
                    <a:pt x="623" y="197"/>
                    <a:pt x="620" y="198"/>
                    <a:pt x="615" y="197"/>
                  </a:cubicBezTo>
                  <a:cubicBezTo>
                    <a:pt x="610" y="200"/>
                    <a:pt x="608" y="205"/>
                    <a:pt x="602" y="206"/>
                  </a:cubicBezTo>
                  <a:cubicBezTo>
                    <a:pt x="604" y="217"/>
                    <a:pt x="593" y="215"/>
                    <a:pt x="591" y="222"/>
                  </a:cubicBezTo>
                  <a:cubicBezTo>
                    <a:pt x="592" y="225"/>
                    <a:pt x="595" y="217"/>
                    <a:pt x="596" y="221"/>
                  </a:cubicBezTo>
                  <a:cubicBezTo>
                    <a:pt x="592" y="222"/>
                    <a:pt x="592" y="228"/>
                    <a:pt x="589" y="230"/>
                  </a:cubicBezTo>
                  <a:cubicBezTo>
                    <a:pt x="589" y="227"/>
                    <a:pt x="587" y="226"/>
                    <a:pt x="583" y="228"/>
                  </a:cubicBezTo>
                  <a:cubicBezTo>
                    <a:pt x="586" y="231"/>
                    <a:pt x="586" y="232"/>
                    <a:pt x="586" y="235"/>
                  </a:cubicBezTo>
                  <a:cubicBezTo>
                    <a:pt x="588" y="233"/>
                    <a:pt x="590" y="232"/>
                    <a:pt x="593" y="234"/>
                  </a:cubicBezTo>
                  <a:cubicBezTo>
                    <a:pt x="591" y="237"/>
                    <a:pt x="587" y="237"/>
                    <a:pt x="587" y="242"/>
                  </a:cubicBezTo>
                  <a:cubicBezTo>
                    <a:pt x="590" y="244"/>
                    <a:pt x="600" y="240"/>
                    <a:pt x="602" y="241"/>
                  </a:cubicBezTo>
                  <a:cubicBezTo>
                    <a:pt x="601" y="243"/>
                    <a:pt x="597" y="243"/>
                    <a:pt x="597" y="248"/>
                  </a:cubicBezTo>
                  <a:cubicBezTo>
                    <a:pt x="597" y="250"/>
                    <a:pt x="601" y="249"/>
                    <a:pt x="601" y="252"/>
                  </a:cubicBezTo>
                  <a:cubicBezTo>
                    <a:pt x="598" y="255"/>
                    <a:pt x="597" y="260"/>
                    <a:pt x="593" y="262"/>
                  </a:cubicBezTo>
                  <a:cubicBezTo>
                    <a:pt x="589" y="260"/>
                    <a:pt x="585" y="259"/>
                    <a:pt x="580" y="259"/>
                  </a:cubicBezTo>
                  <a:cubicBezTo>
                    <a:pt x="580" y="262"/>
                    <a:pt x="578" y="263"/>
                    <a:pt x="576" y="266"/>
                  </a:cubicBezTo>
                  <a:cubicBezTo>
                    <a:pt x="578" y="266"/>
                    <a:pt x="580" y="266"/>
                    <a:pt x="581" y="268"/>
                  </a:cubicBezTo>
                  <a:cubicBezTo>
                    <a:pt x="579" y="276"/>
                    <a:pt x="565" y="272"/>
                    <a:pt x="565" y="282"/>
                  </a:cubicBezTo>
                  <a:cubicBezTo>
                    <a:pt x="572" y="279"/>
                    <a:pt x="575" y="286"/>
                    <a:pt x="581" y="287"/>
                  </a:cubicBezTo>
                  <a:cubicBezTo>
                    <a:pt x="565" y="287"/>
                    <a:pt x="557" y="295"/>
                    <a:pt x="547" y="303"/>
                  </a:cubicBezTo>
                  <a:cubicBezTo>
                    <a:pt x="554" y="307"/>
                    <a:pt x="560" y="294"/>
                    <a:pt x="567" y="302"/>
                  </a:cubicBezTo>
                  <a:cubicBezTo>
                    <a:pt x="571" y="301"/>
                    <a:pt x="573" y="297"/>
                    <a:pt x="577" y="296"/>
                  </a:cubicBezTo>
                  <a:cubicBezTo>
                    <a:pt x="580" y="295"/>
                    <a:pt x="578" y="299"/>
                    <a:pt x="581" y="299"/>
                  </a:cubicBezTo>
                  <a:cubicBezTo>
                    <a:pt x="594" y="297"/>
                    <a:pt x="607" y="300"/>
                    <a:pt x="621" y="295"/>
                  </a:cubicBezTo>
                  <a:cubicBezTo>
                    <a:pt x="626" y="312"/>
                    <a:pt x="603" y="306"/>
                    <a:pt x="599" y="317"/>
                  </a:cubicBezTo>
                  <a:cubicBezTo>
                    <a:pt x="595" y="317"/>
                    <a:pt x="591" y="317"/>
                    <a:pt x="589" y="316"/>
                  </a:cubicBezTo>
                  <a:cubicBezTo>
                    <a:pt x="589" y="312"/>
                    <a:pt x="588" y="309"/>
                    <a:pt x="583" y="310"/>
                  </a:cubicBezTo>
                  <a:cubicBezTo>
                    <a:pt x="588" y="324"/>
                    <a:pt x="570" y="328"/>
                    <a:pt x="562" y="320"/>
                  </a:cubicBezTo>
                  <a:cubicBezTo>
                    <a:pt x="558" y="323"/>
                    <a:pt x="549" y="320"/>
                    <a:pt x="546" y="323"/>
                  </a:cubicBezTo>
                  <a:cubicBezTo>
                    <a:pt x="549" y="328"/>
                    <a:pt x="541" y="328"/>
                    <a:pt x="542" y="332"/>
                  </a:cubicBezTo>
                  <a:cubicBezTo>
                    <a:pt x="549" y="336"/>
                    <a:pt x="557" y="338"/>
                    <a:pt x="562" y="345"/>
                  </a:cubicBezTo>
                  <a:cubicBezTo>
                    <a:pt x="559" y="351"/>
                    <a:pt x="563" y="357"/>
                    <a:pt x="567" y="361"/>
                  </a:cubicBezTo>
                  <a:cubicBezTo>
                    <a:pt x="564" y="378"/>
                    <a:pt x="554" y="391"/>
                    <a:pt x="545" y="403"/>
                  </a:cubicBezTo>
                  <a:cubicBezTo>
                    <a:pt x="534" y="401"/>
                    <a:pt x="525" y="401"/>
                    <a:pt x="516" y="400"/>
                  </a:cubicBezTo>
                  <a:cubicBezTo>
                    <a:pt x="510" y="400"/>
                    <a:pt x="509" y="396"/>
                    <a:pt x="504" y="395"/>
                  </a:cubicBezTo>
                  <a:cubicBezTo>
                    <a:pt x="493" y="391"/>
                    <a:pt x="483" y="396"/>
                    <a:pt x="479" y="389"/>
                  </a:cubicBezTo>
                  <a:cubicBezTo>
                    <a:pt x="474" y="395"/>
                    <a:pt x="462" y="393"/>
                    <a:pt x="457" y="398"/>
                  </a:cubicBezTo>
                  <a:cubicBezTo>
                    <a:pt x="460" y="407"/>
                    <a:pt x="456" y="410"/>
                    <a:pt x="454" y="414"/>
                  </a:cubicBezTo>
                  <a:cubicBezTo>
                    <a:pt x="451" y="422"/>
                    <a:pt x="449" y="431"/>
                    <a:pt x="441" y="441"/>
                  </a:cubicBezTo>
                  <a:cubicBezTo>
                    <a:pt x="435" y="448"/>
                    <a:pt x="425" y="458"/>
                    <a:pt x="425" y="465"/>
                  </a:cubicBezTo>
                  <a:cubicBezTo>
                    <a:pt x="424" y="467"/>
                    <a:pt x="427" y="471"/>
                    <a:pt x="427" y="472"/>
                  </a:cubicBezTo>
                  <a:cubicBezTo>
                    <a:pt x="428" y="481"/>
                    <a:pt x="421" y="484"/>
                    <a:pt x="418" y="493"/>
                  </a:cubicBezTo>
                  <a:cubicBezTo>
                    <a:pt x="421" y="496"/>
                    <a:pt x="427" y="495"/>
                    <a:pt x="429" y="498"/>
                  </a:cubicBezTo>
                  <a:cubicBezTo>
                    <a:pt x="433" y="497"/>
                    <a:pt x="436" y="495"/>
                    <a:pt x="441" y="495"/>
                  </a:cubicBezTo>
                  <a:cubicBezTo>
                    <a:pt x="446" y="500"/>
                    <a:pt x="447" y="504"/>
                    <a:pt x="446" y="514"/>
                  </a:cubicBezTo>
                  <a:cubicBezTo>
                    <a:pt x="451" y="521"/>
                    <a:pt x="455" y="514"/>
                    <a:pt x="462" y="512"/>
                  </a:cubicBezTo>
                  <a:cubicBezTo>
                    <a:pt x="476" y="506"/>
                    <a:pt x="489" y="512"/>
                    <a:pt x="501" y="513"/>
                  </a:cubicBezTo>
                  <a:cubicBezTo>
                    <a:pt x="508" y="507"/>
                    <a:pt x="510" y="498"/>
                    <a:pt x="523" y="499"/>
                  </a:cubicBezTo>
                  <a:cubicBezTo>
                    <a:pt x="527" y="491"/>
                    <a:pt x="532" y="485"/>
                    <a:pt x="542" y="483"/>
                  </a:cubicBezTo>
                  <a:cubicBezTo>
                    <a:pt x="543" y="476"/>
                    <a:pt x="538" y="477"/>
                    <a:pt x="538" y="471"/>
                  </a:cubicBezTo>
                  <a:cubicBezTo>
                    <a:pt x="543" y="459"/>
                    <a:pt x="557" y="456"/>
                    <a:pt x="564" y="445"/>
                  </a:cubicBezTo>
                  <a:cubicBezTo>
                    <a:pt x="578" y="441"/>
                    <a:pt x="602" y="440"/>
                    <a:pt x="596" y="421"/>
                  </a:cubicBezTo>
                  <a:cubicBezTo>
                    <a:pt x="602" y="415"/>
                    <a:pt x="607" y="408"/>
                    <a:pt x="615" y="408"/>
                  </a:cubicBezTo>
                  <a:cubicBezTo>
                    <a:pt x="616" y="408"/>
                    <a:pt x="618" y="410"/>
                    <a:pt x="621" y="411"/>
                  </a:cubicBezTo>
                  <a:cubicBezTo>
                    <a:pt x="632" y="413"/>
                    <a:pt x="631" y="419"/>
                    <a:pt x="644" y="418"/>
                  </a:cubicBezTo>
                  <a:cubicBezTo>
                    <a:pt x="645" y="409"/>
                    <a:pt x="656" y="410"/>
                    <a:pt x="664" y="407"/>
                  </a:cubicBezTo>
                  <a:cubicBezTo>
                    <a:pt x="670" y="404"/>
                    <a:pt x="672" y="399"/>
                    <a:pt x="676" y="398"/>
                  </a:cubicBezTo>
                  <a:cubicBezTo>
                    <a:pt x="687" y="398"/>
                    <a:pt x="695" y="409"/>
                    <a:pt x="692" y="422"/>
                  </a:cubicBezTo>
                  <a:cubicBezTo>
                    <a:pt x="703" y="432"/>
                    <a:pt x="715" y="440"/>
                    <a:pt x="723" y="453"/>
                  </a:cubicBezTo>
                  <a:cubicBezTo>
                    <a:pt x="731" y="453"/>
                    <a:pt x="731" y="453"/>
                    <a:pt x="731" y="453"/>
                  </a:cubicBezTo>
                  <a:cubicBezTo>
                    <a:pt x="732" y="462"/>
                    <a:pt x="745" y="458"/>
                    <a:pt x="749" y="464"/>
                  </a:cubicBezTo>
                  <a:cubicBezTo>
                    <a:pt x="748" y="468"/>
                    <a:pt x="750" y="469"/>
                    <a:pt x="751" y="472"/>
                  </a:cubicBezTo>
                  <a:cubicBezTo>
                    <a:pt x="753" y="473"/>
                    <a:pt x="757" y="473"/>
                    <a:pt x="759" y="475"/>
                  </a:cubicBezTo>
                  <a:cubicBezTo>
                    <a:pt x="760" y="481"/>
                    <a:pt x="762" y="487"/>
                    <a:pt x="764" y="491"/>
                  </a:cubicBezTo>
                  <a:cubicBezTo>
                    <a:pt x="760" y="496"/>
                    <a:pt x="760" y="503"/>
                    <a:pt x="753" y="505"/>
                  </a:cubicBezTo>
                  <a:cubicBezTo>
                    <a:pt x="751" y="505"/>
                    <a:pt x="747" y="504"/>
                    <a:pt x="743" y="504"/>
                  </a:cubicBezTo>
                  <a:cubicBezTo>
                    <a:pt x="733" y="505"/>
                    <a:pt x="728" y="509"/>
                    <a:pt x="722" y="503"/>
                  </a:cubicBezTo>
                  <a:cubicBezTo>
                    <a:pt x="718" y="506"/>
                    <a:pt x="716" y="504"/>
                    <a:pt x="710" y="504"/>
                  </a:cubicBezTo>
                  <a:cubicBezTo>
                    <a:pt x="709" y="507"/>
                    <a:pt x="707" y="508"/>
                    <a:pt x="709" y="512"/>
                  </a:cubicBezTo>
                  <a:cubicBezTo>
                    <a:pt x="717" y="512"/>
                    <a:pt x="720" y="521"/>
                    <a:pt x="727" y="524"/>
                  </a:cubicBezTo>
                  <a:cubicBezTo>
                    <a:pt x="729" y="525"/>
                    <a:pt x="732" y="523"/>
                    <a:pt x="734" y="524"/>
                  </a:cubicBezTo>
                  <a:cubicBezTo>
                    <a:pt x="738" y="526"/>
                    <a:pt x="742" y="535"/>
                    <a:pt x="748" y="530"/>
                  </a:cubicBezTo>
                  <a:cubicBezTo>
                    <a:pt x="750" y="523"/>
                    <a:pt x="746" y="512"/>
                    <a:pt x="754" y="510"/>
                  </a:cubicBezTo>
                  <a:cubicBezTo>
                    <a:pt x="768" y="513"/>
                    <a:pt x="768" y="494"/>
                    <a:pt x="780" y="492"/>
                  </a:cubicBezTo>
                  <a:cubicBezTo>
                    <a:pt x="781" y="483"/>
                    <a:pt x="773" y="483"/>
                    <a:pt x="771" y="477"/>
                  </a:cubicBezTo>
                  <a:cubicBezTo>
                    <a:pt x="774" y="474"/>
                    <a:pt x="774" y="468"/>
                    <a:pt x="779" y="467"/>
                  </a:cubicBezTo>
                  <a:cubicBezTo>
                    <a:pt x="788" y="467"/>
                    <a:pt x="791" y="482"/>
                    <a:pt x="800" y="475"/>
                  </a:cubicBezTo>
                  <a:cubicBezTo>
                    <a:pt x="796" y="458"/>
                    <a:pt x="776" y="458"/>
                    <a:pt x="764" y="449"/>
                  </a:cubicBezTo>
                  <a:cubicBezTo>
                    <a:pt x="766" y="447"/>
                    <a:pt x="768" y="446"/>
                    <a:pt x="767" y="442"/>
                  </a:cubicBezTo>
                  <a:cubicBezTo>
                    <a:pt x="757" y="440"/>
                    <a:pt x="749" y="439"/>
                    <a:pt x="743" y="433"/>
                  </a:cubicBezTo>
                  <a:cubicBezTo>
                    <a:pt x="739" y="428"/>
                    <a:pt x="739" y="420"/>
                    <a:pt x="736" y="414"/>
                  </a:cubicBezTo>
                  <a:cubicBezTo>
                    <a:pt x="731" y="406"/>
                    <a:pt x="720" y="405"/>
                    <a:pt x="720" y="395"/>
                  </a:cubicBezTo>
                  <a:cubicBezTo>
                    <a:pt x="724" y="394"/>
                    <a:pt x="725" y="389"/>
                    <a:pt x="722" y="386"/>
                  </a:cubicBezTo>
                  <a:cubicBezTo>
                    <a:pt x="726" y="383"/>
                    <a:pt x="734" y="378"/>
                    <a:pt x="740" y="381"/>
                  </a:cubicBezTo>
                  <a:cubicBezTo>
                    <a:pt x="740" y="386"/>
                    <a:pt x="736" y="388"/>
                    <a:pt x="738" y="394"/>
                  </a:cubicBezTo>
                  <a:cubicBezTo>
                    <a:pt x="744" y="394"/>
                    <a:pt x="742" y="388"/>
                    <a:pt x="748" y="390"/>
                  </a:cubicBezTo>
                  <a:cubicBezTo>
                    <a:pt x="751" y="402"/>
                    <a:pt x="761" y="406"/>
                    <a:pt x="765" y="417"/>
                  </a:cubicBezTo>
                  <a:cubicBezTo>
                    <a:pt x="770" y="416"/>
                    <a:pt x="773" y="418"/>
                    <a:pt x="777" y="418"/>
                  </a:cubicBezTo>
                  <a:cubicBezTo>
                    <a:pt x="778" y="420"/>
                    <a:pt x="778" y="423"/>
                    <a:pt x="780" y="424"/>
                  </a:cubicBezTo>
                  <a:cubicBezTo>
                    <a:pt x="795" y="428"/>
                    <a:pt x="801" y="441"/>
                    <a:pt x="814" y="446"/>
                  </a:cubicBezTo>
                  <a:cubicBezTo>
                    <a:pt x="813" y="455"/>
                    <a:pt x="811" y="463"/>
                    <a:pt x="809" y="469"/>
                  </a:cubicBezTo>
                  <a:cubicBezTo>
                    <a:pt x="811" y="473"/>
                    <a:pt x="818" y="473"/>
                    <a:pt x="817" y="481"/>
                  </a:cubicBezTo>
                  <a:cubicBezTo>
                    <a:pt x="827" y="485"/>
                    <a:pt x="831" y="496"/>
                    <a:pt x="838" y="503"/>
                  </a:cubicBezTo>
                  <a:cubicBezTo>
                    <a:pt x="841" y="504"/>
                    <a:pt x="847" y="501"/>
                    <a:pt x="847" y="505"/>
                  </a:cubicBezTo>
                  <a:cubicBezTo>
                    <a:pt x="845" y="507"/>
                    <a:pt x="840" y="506"/>
                    <a:pt x="839" y="510"/>
                  </a:cubicBezTo>
                  <a:cubicBezTo>
                    <a:pt x="843" y="516"/>
                    <a:pt x="846" y="518"/>
                    <a:pt x="844" y="529"/>
                  </a:cubicBezTo>
                  <a:cubicBezTo>
                    <a:pt x="848" y="531"/>
                    <a:pt x="851" y="529"/>
                    <a:pt x="856" y="529"/>
                  </a:cubicBezTo>
                  <a:cubicBezTo>
                    <a:pt x="856" y="531"/>
                    <a:pt x="857" y="532"/>
                    <a:pt x="858" y="535"/>
                  </a:cubicBezTo>
                  <a:cubicBezTo>
                    <a:pt x="863" y="530"/>
                    <a:pt x="865" y="538"/>
                    <a:pt x="870" y="536"/>
                  </a:cubicBezTo>
                  <a:cubicBezTo>
                    <a:pt x="870" y="528"/>
                    <a:pt x="864" y="521"/>
                    <a:pt x="864" y="516"/>
                  </a:cubicBezTo>
                  <a:cubicBezTo>
                    <a:pt x="869" y="516"/>
                    <a:pt x="868" y="521"/>
                    <a:pt x="874" y="519"/>
                  </a:cubicBezTo>
                  <a:cubicBezTo>
                    <a:pt x="873" y="511"/>
                    <a:pt x="857" y="510"/>
                    <a:pt x="852" y="503"/>
                  </a:cubicBezTo>
                  <a:cubicBezTo>
                    <a:pt x="863" y="501"/>
                    <a:pt x="870" y="511"/>
                    <a:pt x="881" y="513"/>
                  </a:cubicBezTo>
                  <a:cubicBezTo>
                    <a:pt x="883" y="510"/>
                    <a:pt x="881" y="506"/>
                    <a:pt x="880" y="504"/>
                  </a:cubicBezTo>
                  <a:cubicBezTo>
                    <a:pt x="883" y="503"/>
                    <a:pt x="886" y="502"/>
                    <a:pt x="885" y="496"/>
                  </a:cubicBezTo>
                  <a:cubicBezTo>
                    <a:pt x="881" y="496"/>
                    <a:pt x="876" y="496"/>
                    <a:pt x="873" y="493"/>
                  </a:cubicBezTo>
                  <a:cubicBezTo>
                    <a:pt x="867" y="489"/>
                    <a:pt x="860" y="474"/>
                    <a:pt x="858" y="467"/>
                  </a:cubicBezTo>
                  <a:cubicBezTo>
                    <a:pt x="864" y="469"/>
                    <a:pt x="866" y="474"/>
                    <a:pt x="872" y="476"/>
                  </a:cubicBezTo>
                  <a:cubicBezTo>
                    <a:pt x="878" y="473"/>
                    <a:pt x="872" y="463"/>
                    <a:pt x="880" y="461"/>
                  </a:cubicBezTo>
                  <a:cubicBezTo>
                    <a:pt x="884" y="461"/>
                    <a:pt x="884" y="464"/>
                    <a:pt x="887" y="465"/>
                  </a:cubicBezTo>
                  <a:cubicBezTo>
                    <a:pt x="891" y="463"/>
                    <a:pt x="891" y="459"/>
                    <a:pt x="895" y="459"/>
                  </a:cubicBezTo>
                  <a:cubicBezTo>
                    <a:pt x="900" y="461"/>
                    <a:pt x="908" y="461"/>
                    <a:pt x="908" y="467"/>
                  </a:cubicBezTo>
                  <a:cubicBezTo>
                    <a:pt x="906" y="469"/>
                    <a:pt x="900" y="468"/>
                    <a:pt x="902" y="473"/>
                  </a:cubicBezTo>
                  <a:cubicBezTo>
                    <a:pt x="906" y="477"/>
                    <a:pt x="907" y="470"/>
                    <a:pt x="911" y="470"/>
                  </a:cubicBezTo>
                  <a:cubicBezTo>
                    <a:pt x="910" y="479"/>
                    <a:pt x="910" y="484"/>
                    <a:pt x="906" y="490"/>
                  </a:cubicBezTo>
                  <a:cubicBezTo>
                    <a:pt x="910" y="490"/>
                    <a:pt x="912" y="492"/>
                    <a:pt x="916" y="492"/>
                  </a:cubicBezTo>
                  <a:cubicBezTo>
                    <a:pt x="920" y="487"/>
                    <a:pt x="914" y="487"/>
                    <a:pt x="912" y="484"/>
                  </a:cubicBezTo>
                  <a:cubicBezTo>
                    <a:pt x="922" y="483"/>
                    <a:pt x="922" y="498"/>
                    <a:pt x="923" y="502"/>
                  </a:cubicBezTo>
                  <a:cubicBezTo>
                    <a:pt x="919" y="497"/>
                    <a:pt x="915" y="497"/>
                    <a:pt x="907" y="498"/>
                  </a:cubicBezTo>
                  <a:cubicBezTo>
                    <a:pt x="907" y="504"/>
                    <a:pt x="907" y="504"/>
                    <a:pt x="907" y="504"/>
                  </a:cubicBezTo>
                  <a:cubicBezTo>
                    <a:pt x="918" y="505"/>
                    <a:pt x="933" y="506"/>
                    <a:pt x="930" y="519"/>
                  </a:cubicBezTo>
                  <a:cubicBezTo>
                    <a:pt x="936" y="523"/>
                    <a:pt x="943" y="525"/>
                    <a:pt x="946" y="531"/>
                  </a:cubicBezTo>
                  <a:cubicBezTo>
                    <a:pt x="957" y="529"/>
                    <a:pt x="965" y="543"/>
                    <a:pt x="980" y="537"/>
                  </a:cubicBezTo>
                  <a:cubicBezTo>
                    <a:pt x="978" y="524"/>
                    <a:pt x="995" y="524"/>
                    <a:pt x="1003" y="530"/>
                  </a:cubicBezTo>
                  <a:cubicBezTo>
                    <a:pt x="1006" y="532"/>
                    <a:pt x="1006" y="537"/>
                    <a:pt x="1010" y="539"/>
                  </a:cubicBezTo>
                  <a:cubicBezTo>
                    <a:pt x="1030" y="545"/>
                    <a:pt x="1038" y="516"/>
                    <a:pt x="1055" y="528"/>
                  </a:cubicBezTo>
                  <a:cubicBezTo>
                    <a:pt x="1059" y="527"/>
                    <a:pt x="1058" y="522"/>
                    <a:pt x="1063" y="522"/>
                  </a:cubicBezTo>
                  <a:cubicBezTo>
                    <a:pt x="1064" y="533"/>
                    <a:pt x="1056" y="553"/>
                    <a:pt x="1068" y="561"/>
                  </a:cubicBezTo>
                  <a:cubicBezTo>
                    <a:pt x="1054" y="576"/>
                    <a:pt x="1068" y="603"/>
                    <a:pt x="1059" y="616"/>
                  </a:cubicBezTo>
                  <a:cubicBezTo>
                    <a:pt x="1054" y="616"/>
                    <a:pt x="1054" y="616"/>
                    <a:pt x="1054" y="616"/>
                  </a:cubicBezTo>
                  <a:cubicBezTo>
                    <a:pt x="1052" y="630"/>
                    <a:pt x="1039" y="623"/>
                    <a:pt x="1027" y="625"/>
                  </a:cubicBezTo>
                  <a:cubicBezTo>
                    <a:pt x="1022" y="616"/>
                    <a:pt x="1015" y="621"/>
                    <a:pt x="1005" y="622"/>
                  </a:cubicBezTo>
                  <a:cubicBezTo>
                    <a:pt x="1002" y="622"/>
                    <a:pt x="1000" y="621"/>
                    <a:pt x="999" y="621"/>
                  </a:cubicBezTo>
                  <a:cubicBezTo>
                    <a:pt x="990" y="623"/>
                    <a:pt x="983" y="633"/>
                    <a:pt x="977" y="634"/>
                  </a:cubicBezTo>
                  <a:cubicBezTo>
                    <a:pt x="970" y="628"/>
                    <a:pt x="960" y="632"/>
                    <a:pt x="952" y="630"/>
                  </a:cubicBezTo>
                  <a:cubicBezTo>
                    <a:pt x="949" y="629"/>
                    <a:pt x="947" y="626"/>
                    <a:pt x="944" y="625"/>
                  </a:cubicBezTo>
                  <a:cubicBezTo>
                    <a:pt x="942" y="624"/>
                    <a:pt x="938" y="626"/>
                    <a:pt x="934" y="625"/>
                  </a:cubicBezTo>
                  <a:cubicBezTo>
                    <a:pt x="925" y="624"/>
                    <a:pt x="920" y="619"/>
                    <a:pt x="913" y="624"/>
                  </a:cubicBezTo>
                  <a:cubicBezTo>
                    <a:pt x="911" y="622"/>
                    <a:pt x="908" y="621"/>
                    <a:pt x="908" y="616"/>
                  </a:cubicBezTo>
                  <a:cubicBezTo>
                    <a:pt x="895" y="618"/>
                    <a:pt x="893" y="610"/>
                    <a:pt x="879" y="612"/>
                  </a:cubicBezTo>
                  <a:cubicBezTo>
                    <a:pt x="875" y="611"/>
                    <a:pt x="874" y="606"/>
                    <a:pt x="872" y="603"/>
                  </a:cubicBezTo>
                  <a:cubicBezTo>
                    <a:pt x="866" y="605"/>
                    <a:pt x="862" y="600"/>
                    <a:pt x="857" y="600"/>
                  </a:cubicBezTo>
                  <a:cubicBezTo>
                    <a:pt x="850" y="599"/>
                    <a:pt x="847" y="602"/>
                    <a:pt x="843" y="603"/>
                  </a:cubicBezTo>
                  <a:cubicBezTo>
                    <a:pt x="839" y="604"/>
                    <a:pt x="834" y="602"/>
                    <a:pt x="834" y="603"/>
                  </a:cubicBezTo>
                  <a:cubicBezTo>
                    <a:pt x="831" y="604"/>
                    <a:pt x="822" y="612"/>
                    <a:pt x="821" y="615"/>
                  </a:cubicBezTo>
                  <a:cubicBezTo>
                    <a:pt x="819" y="622"/>
                    <a:pt x="827" y="628"/>
                    <a:pt x="826" y="635"/>
                  </a:cubicBezTo>
                  <a:cubicBezTo>
                    <a:pt x="825" y="641"/>
                    <a:pt x="818" y="646"/>
                    <a:pt x="813" y="647"/>
                  </a:cubicBezTo>
                  <a:cubicBezTo>
                    <a:pt x="803" y="649"/>
                    <a:pt x="802" y="644"/>
                    <a:pt x="797" y="640"/>
                  </a:cubicBezTo>
                  <a:cubicBezTo>
                    <a:pt x="792" y="636"/>
                    <a:pt x="782" y="631"/>
                    <a:pt x="778" y="630"/>
                  </a:cubicBezTo>
                  <a:cubicBezTo>
                    <a:pt x="768" y="628"/>
                    <a:pt x="760" y="632"/>
                    <a:pt x="754" y="628"/>
                  </a:cubicBezTo>
                  <a:cubicBezTo>
                    <a:pt x="748" y="624"/>
                    <a:pt x="751" y="613"/>
                    <a:pt x="744" y="608"/>
                  </a:cubicBezTo>
                  <a:cubicBezTo>
                    <a:pt x="743" y="606"/>
                    <a:pt x="738" y="606"/>
                    <a:pt x="735" y="605"/>
                  </a:cubicBezTo>
                  <a:cubicBezTo>
                    <a:pt x="731" y="603"/>
                    <a:pt x="729" y="600"/>
                    <a:pt x="727" y="599"/>
                  </a:cubicBezTo>
                  <a:cubicBezTo>
                    <a:pt x="718" y="596"/>
                    <a:pt x="709" y="601"/>
                    <a:pt x="701" y="599"/>
                  </a:cubicBezTo>
                  <a:cubicBezTo>
                    <a:pt x="693" y="597"/>
                    <a:pt x="691" y="590"/>
                    <a:pt x="683" y="588"/>
                  </a:cubicBezTo>
                  <a:cubicBezTo>
                    <a:pt x="682" y="586"/>
                    <a:pt x="681" y="584"/>
                    <a:pt x="680" y="582"/>
                  </a:cubicBezTo>
                  <a:cubicBezTo>
                    <a:pt x="672" y="582"/>
                    <a:pt x="667" y="579"/>
                    <a:pt x="666" y="573"/>
                  </a:cubicBezTo>
                  <a:cubicBezTo>
                    <a:pt x="673" y="563"/>
                    <a:pt x="687" y="562"/>
                    <a:pt x="685" y="550"/>
                  </a:cubicBezTo>
                  <a:cubicBezTo>
                    <a:pt x="684" y="546"/>
                    <a:pt x="677" y="544"/>
                    <a:pt x="677" y="539"/>
                  </a:cubicBezTo>
                  <a:cubicBezTo>
                    <a:pt x="676" y="531"/>
                    <a:pt x="690" y="530"/>
                    <a:pt x="687" y="521"/>
                  </a:cubicBezTo>
                  <a:cubicBezTo>
                    <a:pt x="680" y="521"/>
                    <a:pt x="678" y="529"/>
                    <a:pt x="673" y="527"/>
                  </a:cubicBezTo>
                  <a:cubicBezTo>
                    <a:pt x="672" y="522"/>
                    <a:pt x="677" y="521"/>
                    <a:pt x="674" y="516"/>
                  </a:cubicBezTo>
                  <a:cubicBezTo>
                    <a:pt x="663" y="512"/>
                    <a:pt x="646" y="528"/>
                    <a:pt x="635" y="516"/>
                  </a:cubicBezTo>
                  <a:cubicBezTo>
                    <a:pt x="631" y="521"/>
                    <a:pt x="623" y="519"/>
                    <a:pt x="619" y="515"/>
                  </a:cubicBezTo>
                  <a:cubicBezTo>
                    <a:pt x="615" y="521"/>
                    <a:pt x="608" y="518"/>
                    <a:pt x="602" y="522"/>
                  </a:cubicBezTo>
                  <a:cubicBezTo>
                    <a:pt x="590" y="516"/>
                    <a:pt x="573" y="518"/>
                    <a:pt x="559" y="518"/>
                  </a:cubicBezTo>
                  <a:cubicBezTo>
                    <a:pt x="545" y="519"/>
                    <a:pt x="529" y="519"/>
                    <a:pt x="523" y="529"/>
                  </a:cubicBezTo>
                  <a:cubicBezTo>
                    <a:pt x="505" y="526"/>
                    <a:pt x="499" y="548"/>
                    <a:pt x="484" y="534"/>
                  </a:cubicBezTo>
                  <a:cubicBezTo>
                    <a:pt x="475" y="537"/>
                    <a:pt x="470" y="529"/>
                    <a:pt x="462" y="534"/>
                  </a:cubicBezTo>
                  <a:cubicBezTo>
                    <a:pt x="457" y="531"/>
                    <a:pt x="455" y="526"/>
                    <a:pt x="452" y="520"/>
                  </a:cubicBezTo>
                  <a:cubicBezTo>
                    <a:pt x="446" y="520"/>
                    <a:pt x="446" y="520"/>
                    <a:pt x="446" y="520"/>
                  </a:cubicBezTo>
                  <a:cubicBezTo>
                    <a:pt x="436" y="536"/>
                    <a:pt x="428" y="552"/>
                    <a:pt x="406" y="555"/>
                  </a:cubicBezTo>
                  <a:cubicBezTo>
                    <a:pt x="394" y="554"/>
                    <a:pt x="392" y="564"/>
                    <a:pt x="383" y="567"/>
                  </a:cubicBezTo>
                  <a:cubicBezTo>
                    <a:pt x="382" y="577"/>
                    <a:pt x="373" y="580"/>
                    <a:pt x="369" y="587"/>
                  </a:cubicBezTo>
                  <a:cubicBezTo>
                    <a:pt x="370" y="593"/>
                    <a:pt x="367" y="596"/>
                    <a:pt x="365" y="598"/>
                  </a:cubicBezTo>
                  <a:cubicBezTo>
                    <a:pt x="367" y="603"/>
                    <a:pt x="365" y="608"/>
                    <a:pt x="363" y="611"/>
                  </a:cubicBezTo>
                  <a:cubicBezTo>
                    <a:pt x="353" y="614"/>
                    <a:pt x="353" y="626"/>
                    <a:pt x="340" y="626"/>
                  </a:cubicBezTo>
                  <a:cubicBezTo>
                    <a:pt x="336" y="635"/>
                    <a:pt x="323" y="638"/>
                    <a:pt x="311" y="636"/>
                  </a:cubicBezTo>
                  <a:cubicBezTo>
                    <a:pt x="303" y="642"/>
                    <a:pt x="302" y="655"/>
                    <a:pt x="292" y="659"/>
                  </a:cubicBezTo>
                  <a:cubicBezTo>
                    <a:pt x="287" y="658"/>
                    <a:pt x="286" y="658"/>
                    <a:pt x="282" y="659"/>
                  </a:cubicBezTo>
                  <a:cubicBezTo>
                    <a:pt x="282" y="667"/>
                    <a:pt x="277" y="670"/>
                    <a:pt x="273" y="674"/>
                  </a:cubicBezTo>
                  <a:cubicBezTo>
                    <a:pt x="273" y="684"/>
                    <a:pt x="273" y="684"/>
                    <a:pt x="273" y="684"/>
                  </a:cubicBezTo>
                  <a:cubicBezTo>
                    <a:pt x="267" y="688"/>
                    <a:pt x="263" y="695"/>
                    <a:pt x="255" y="696"/>
                  </a:cubicBezTo>
                  <a:cubicBezTo>
                    <a:pt x="252" y="705"/>
                    <a:pt x="246" y="711"/>
                    <a:pt x="242" y="719"/>
                  </a:cubicBezTo>
                  <a:cubicBezTo>
                    <a:pt x="233" y="723"/>
                    <a:pt x="230" y="729"/>
                    <a:pt x="230" y="738"/>
                  </a:cubicBezTo>
                  <a:cubicBezTo>
                    <a:pt x="229" y="745"/>
                    <a:pt x="233" y="751"/>
                    <a:pt x="234" y="755"/>
                  </a:cubicBezTo>
                  <a:cubicBezTo>
                    <a:pt x="234" y="761"/>
                    <a:pt x="229" y="767"/>
                    <a:pt x="228" y="773"/>
                  </a:cubicBezTo>
                  <a:cubicBezTo>
                    <a:pt x="227" y="779"/>
                    <a:pt x="230" y="785"/>
                    <a:pt x="230" y="791"/>
                  </a:cubicBezTo>
                  <a:cubicBezTo>
                    <a:pt x="228" y="807"/>
                    <a:pt x="214" y="817"/>
                    <a:pt x="215" y="834"/>
                  </a:cubicBezTo>
                  <a:cubicBezTo>
                    <a:pt x="213" y="838"/>
                    <a:pt x="204" y="841"/>
                    <a:pt x="203" y="848"/>
                  </a:cubicBezTo>
                  <a:cubicBezTo>
                    <a:pt x="202" y="853"/>
                    <a:pt x="209" y="862"/>
                    <a:pt x="208" y="872"/>
                  </a:cubicBezTo>
                  <a:cubicBezTo>
                    <a:pt x="207" y="878"/>
                    <a:pt x="202" y="883"/>
                    <a:pt x="203" y="887"/>
                  </a:cubicBezTo>
                  <a:cubicBezTo>
                    <a:pt x="203" y="892"/>
                    <a:pt x="208" y="895"/>
                    <a:pt x="210" y="897"/>
                  </a:cubicBezTo>
                  <a:cubicBezTo>
                    <a:pt x="209" y="899"/>
                    <a:pt x="209" y="901"/>
                    <a:pt x="210" y="903"/>
                  </a:cubicBezTo>
                  <a:cubicBezTo>
                    <a:pt x="212" y="905"/>
                    <a:pt x="215" y="902"/>
                    <a:pt x="217" y="905"/>
                  </a:cubicBezTo>
                  <a:cubicBezTo>
                    <a:pt x="217" y="917"/>
                    <a:pt x="222" y="924"/>
                    <a:pt x="228" y="929"/>
                  </a:cubicBezTo>
                  <a:cubicBezTo>
                    <a:pt x="228" y="943"/>
                    <a:pt x="249" y="953"/>
                    <a:pt x="242" y="971"/>
                  </a:cubicBezTo>
                  <a:cubicBezTo>
                    <a:pt x="246" y="980"/>
                    <a:pt x="248" y="990"/>
                    <a:pt x="253" y="997"/>
                  </a:cubicBezTo>
                  <a:cubicBezTo>
                    <a:pt x="255" y="999"/>
                    <a:pt x="258" y="999"/>
                    <a:pt x="259" y="1000"/>
                  </a:cubicBezTo>
                  <a:cubicBezTo>
                    <a:pt x="265" y="1005"/>
                    <a:pt x="269" y="1015"/>
                    <a:pt x="276" y="1021"/>
                  </a:cubicBezTo>
                  <a:cubicBezTo>
                    <a:pt x="279" y="1024"/>
                    <a:pt x="281" y="1024"/>
                    <a:pt x="283" y="1027"/>
                  </a:cubicBezTo>
                  <a:cubicBezTo>
                    <a:pt x="287" y="1032"/>
                    <a:pt x="289" y="1039"/>
                    <a:pt x="293" y="1044"/>
                  </a:cubicBezTo>
                  <a:cubicBezTo>
                    <a:pt x="297" y="1048"/>
                    <a:pt x="304" y="1051"/>
                    <a:pt x="308" y="1055"/>
                  </a:cubicBezTo>
                  <a:cubicBezTo>
                    <a:pt x="312" y="1058"/>
                    <a:pt x="314" y="1062"/>
                    <a:pt x="317" y="1065"/>
                  </a:cubicBezTo>
                  <a:cubicBezTo>
                    <a:pt x="325" y="1070"/>
                    <a:pt x="331" y="1063"/>
                    <a:pt x="343" y="1062"/>
                  </a:cubicBezTo>
                  <a:cubicBezTo>
                    <a:pt x="350" y="1061"/>
                    <a:pt x="357" y="1063"/>
                    <a:pt x="363" y="1064"/>
                  </a:cubicBezTo>
                  <a:cubicBezTo>
                    <a:pt x="374" y="1064"/>
                    <a:pt x="378" y="1062"/>
                    <a:pt x="384" y="1068"/>
                  </a:cubicBezTo>
                  <a:cubicBezTo>
                    <a:pt x="387" y="1069"/>
                    <a:pt x="389" y="1068"/>
                    <a:pt x="391" y="1067"/>
                  </a:cubicBezTo>
                  <a:cubicBezTo>
                    <a:pt x="394" y="1075"/>
                    <a:pt x="405" y="1075"/>
                    <a:pt x="409" y="1082"/>
                  </a:cubicBezTo>
                  <a:cubicBezTo>
                    <a:pt x="425" y="1078"/>
                    <a:pt x="440" y="1078"/>
                    <a:pt x="452" y="1070"/>
                  </a:cubicBezTo>
                  <a:cubicBezTo>
                    <a:pt x="460" y="1078"/>
                    <a:pt x="467" y="1068"/>
                    <a:pt x="474" y="1067"/>
                  </a:cubicBezTo>
                  <a:cubicBezTo>
                    <a:pt x="477" y="1067"/>
                    <a:pt x="481" y="1070"/>
                    <a:pt x="486" y="1069"/>
                  </a:cubicBezTo>
                  <a:cubicBezTo>
                    <a:pt x="489" y="1069"/>
                    <a:pt x="491" y="1067"/>
                    <a:pt x="493" y="1067"/>
                  </a:cubicBezTo>
                  <a:cubicBezTo>
                    <a:pt x="496" y="1068"/>
                    <a:pt x="498" y="1071"/>
                    <a:pt x="501" y="1071"/>
                  </a:cubicBezTo>
                  <a:cubicBezTo>
                    <a:pt x="504" y="1072"/>
                    <a:pt x="507" y="1070"/>
                    <a:pt x="509" y="1069"/>
                  </a:cubicBezTo>
                  <a:cubicBezTo>
                    <a:pt x="525" y="1069"/>
                    <a:pt x="539" y="1084"/>
                    <a:pt x="543" y="1095"/>
                  </a:cubicBezTo>
                  <a:cubicBezTo>
                    <a:pt x="547" y="1108"/>
                    <a:pt x="548" y="1115"/>
                    <a:pt x="568" y="1113"/>
                  </a:cubicBezTo>
                  <a:cubicBezTo>
                    <a:pt x="569" y="1112"/>
                    <a:pt x="568" y="1109"/>
                    <a:pt x="571" y="1110"/>
                  </a:cubicBezTo>
                  <a:cubicBezTo>
                    <a:pt x="580" y="1109"/>
                    <a:pt x="585" y="1116"/>
                    <a:pt x="592" y="1115"/>
                  </a:cubicBezTo>
                  <a:cubicBezTo>
                    <a:pt x="597" y="1115"/>
                    <a:pt x="604" y="1108"/>
                    <a:pt x="609" y="1115"/>
                  </a:cubicBezTo>
                  <a:cubicBezTo>
                    <a:pt x="610" y="1128"/>
                    <a:pt x="627" y="1131"/>
                    <a:pt x="629" y="1141"/>
                  </a:cubicBezTo>
                  <a:cubicBezTo>
                    <a:pt x="631" y="1149"/>
                    <a:pt x="623" y="1151"/>
                    <a:pt x="625" y="1162"/>
                  </a:cubicBezTo>
                  <a:cubicBezTo>
                    <a:pt x="623" y="1165"/>
                    <a:pt x="619" y="1166"/>
                    <a:pt x="617" y="1169"/>
                  </a:cubicBezTo>
                  <a:cubicBezTo>
                    <a:pt x="618" y="1175"/>
                    <a:pt x="623" y="1177"/>
                    <a:pt x="623" y="1184"/>
                  </a:cubicBezTo>
                  <a:cubicBezTo>
                    <a:pt x="622" y="1185"/>
                    <a:pt x="619" y="1184"/>
                    <a:pt x="618" y="1186"/>
                  </a:cubicBezTo>
                  <a:cubicBezTo>
                    <a:pt x="619" y="1196"/>
                    <a:pt x="616" y="1203"/>
                    <a:pt x="607" y="1203"/>
                  </a:cubicBezTo>
                  <a:cubicBezTo>
                    <a:pt x="608" y="1210"/>
                    <a:pt x="613" y="1213"/>
                    <a:pt x="618" y="1216"/>
                  </a:cubicBezTo>
                  <a:cubicBezTo>
                    <a:pt x="619" y="1219"/>
                    <a:pt x="617" y="1219"/>
                    <a:pt x="618" y="1222"/>
                  </a:cubicBezTo>
                  <a:cubicBezTo>
                    <a:pt x="622" y="1224"/>
                    <a:pt x="625" y="1227"/>
                    <a:pt x="626" y="1233"/>
                  </a:cubicBezTo>
                  <a:cubicBezTo>
                    <a:pt x="633" y="1233"/>
                    <a:pt x="632" y="1237"/>
                    <a:pt x="635" y="1240"/>
                  </a:cubicBezTo>
                  <a:cubicBezTo>
                    <a:pt x="637" y="1243"/>
                    <a:pt x="642" y="1244"/>
                    <a:pt x="643" y="1246"/>
                  </a:cubicBezTo>
                  <a:cubicBezTo>
                    <a:pt x="646" y="1249"/>
                    <a:pt x="646" y="1252"/>
                    <a:pt x="648" y="1255"/>
                  </a:cubicBezTo>
                  <a:cubicBezTo>
                    <a:pt x="653" y="1260"/>
                    <a:pt x="661" y="1262"/>
                    <a:pt x="666" y="1267"/>
                  </a:cubicBezTo>
                  <a:cubicBezTo>
                    <a:pt x="673" y="1274"/>
                    <a:pt x="674" y="1284"/>
                    <a:pt x="681" y="1291"/>
                  </a:cubicBezTo>
                  <a:cubicBezTo>
                    <a:pt x="681" y="1294"/>
                    <a:pt x="678" y="1293"/>
                    <a:pt x="679" y="1297"/>
                  </a:cubicBezTo>
                  <a:cubicBezTo>
                    <a:pt x="682" y="1301"/>
                    <a:pt x="688" y="1303"/>
                    <a:pt x="688" y="1311"/>
                  </a:cubicBezTo>
                  <a:cubicBezTo>
                    <a:pt x="693" y="1317"/>
                    <a:pt x="701" y="1320"/>
                    <a:pt x="700" y="1331"/>
                  </a:cubicBezTo>
                  <a:cubicBezTo>
                    <a:pt x="699" y="1335"/>
                    <a:pt x="695" y="1335"/>
                    <a:pt x="694" y="1339"/>
                  </a:cubicBezTo>
                  <a:cubicBezTo>
                    <a:pt x="696" y="1352"/>
                    <a:pt x="713" y="1360"/>
                    <a:pt x="712" y="1373"/>
                  </a:cubicBezTo>
                  <a:cubicBezTo>
                    <a:pt x="711" y="1378"/>
                    <a:pt x="705" y="1379"/>
                    <a:pt x="707" y="1385"/>
                  </a:cubicBezTo>
                  <a:cubicBezTo>
                    <a:pt x="697" y="1384"/>
                    <a:pt x="698" y="1394"/>
                    <a:pt x="689" y="1393"/>
                  </a:cubicBezTo>
                  <a:cubicBezTo>
                    <a:pt x="689" y="1403"/>
                    <a:pt x="684" y="1405"/>
                    <a:pt x="687" y="1415"/>
                  </a:cubicBezTo>
                  <a:cubicBezTo>
                    <a:pt x="680" y="1417"/>
                    <a:pt x="683" y="1423"/>
                    <a:pt x="677" y="1427"/>
                  </a:cubicBezTo>
                  <a:cubicBezTo>
                    <a:pt x="679" y="1436"/>
                    <a:pt x="676" y="1443"/>
                    <a:pt x="679" y="1451"/>
                  </a:cubicBezTo>
                  <a:cubicBezTo>
                    <a:pt x="683" y="1459"/>
                    <a:pt x="695" y="1464"/>
                    <a:pt x="704" y="1475"/>
                  </a:cubicBezTo>
                  <a:cubicBezTo>
                    <a:pt x="706" y="1477"/>
                    <a:pt x="706" y="1479"/>
                    <a:pt x="708" y="1481"/>
                  </a:cubicBezTo>
                  <a:cubicBezTo>
                    <a:pt x="712" y="1487"/>
                    <a:pt x="718" y="1489"/>
                    <a:pt x="721" y="1493"/>
                  </a:cubicBezTo>
                  <a:cubicBezTo>
                    <a:pt x="722" y="1494"/>
                    <a:pt x="721" y="1496"/>
                    <a:pt x="722" y="1497"/>
                  </a:cubicBezTo>
                  <a:cubicBezTo>
                    <a:pt x="726" y="1500"/>
                    <a:pt x="731" y="1499"/>
                    <a:pt x="733" y="1503"/>
                  </a:cubicBezTo>
                  <a:cubicBezTo>
                    <a:pt x="735" y="1508"/>
                    <a:pt x="733" y="1515"/>
                    <a:pt x="735" y="1521"/>
                  </a:cubicBezTo>
                  <a:cubicBezTo>
                    <a:pt x="736" y="1524"/>
                    <a:pt x="740" y="1527"/>
                    <a:pt x="741" y="1529"/>
                  </a:cubicBezTo>
                  <a:cubicBezTo>
                    <a:pt x="742" y="1530"/>
                    <a:pt x="740" y="1533"/>
                    <a:pt x="740" y="1534"/>
                  </a:cubicBezTo>
                  <a:cubicBezTo>
                    <a:pt x="741" y="1535"/>
                    <a:pt x="744" y="1541"/>
                    <a:pt x="744" y="1542"/>
                  </a:cubicBezTo>
                  <a:cubicBezTo>
                    <a:pt x="746" y="1545"/>
                    <a:pt x="751" y="1550"/>
                    <a:pt x="753" y="1552"/>
                  </a:cubicBezTo>
                  <a:cubicBezTo>
                    <a:pt x="762" y="1563"/>
                    <a:pt x="783" y="1564"/>
                    <a:pt x="783" y="1578"/>
                  </a:cubicBezTo>
                  <a:cubicBezTo>
                    <a:pt x="788" y="1583"/>
                    <a:pt x="799" y="1582"/>
                    <a:pt x="800" y="1592"/>
                  </a:cubicBezTo>
                  <a:cubicBezTo>
                    <a:pt x="800" y="1594"/>
                    <a:pt x="797" y="1594"/>
                    <a:pt x="794" y="1594"/>
                  </a:cubicBezTo>
                  <a:cubicBezTo>
                    <a:pt x="794" y="1599"/>
                    <a:pt x="800" y="1599"/>
                    <a:pt x="801" y="1604"/>
                  </a:cubicBezTo>
                  <a:cubicBezTo>
                    <a:pt x="808" y="1602"/>
                    <a:pt x="813" y="1607"/>
                    <a:pt x="820" y="1608"/>
                  </a:cubicBezTo>
                  <a:cubicBezTo>
                    <a:pt x="833" y="1609"/>
                    <a:pt x="848" y="1604"/>
                    <a:pt x="860" y="1603"/>
                  </a:cubicBezTo>
                  <a:cubicBezTo>
                    <a:pt x="881" y="1601"/>
                    <a:pt x="902" y="1604"/>
                    <a:pt x="921" y="1600"/>
                  </a:cubicBezTo>
                  <a:cubicBezTo>
                    <a:pt x="940" y="1597"/>
                    <a:pt x="954" y="1584"/>
                    <a:pt x="970" y="1580"/>
                  </a:cubicBezTo>
                  <a:cubicBezTo>
                    <a:pt x="984" y="1576"/>
                    <a:pt x="990" y="1567"/>
                    <a:pt x="1000" y="1562"/>
                  </a:cubicBezTo>
                  <a:cubicBezTo>
                    <a:pt x="1004" y="1559"/>
                    <a:pt x="1011" y="1559"/>
                    <a:pt x="1016" y="1556"/>
                  </a:cubicBezTo>
                  <a:cubicBezTo>
                    <a:pt x="1024" y="1552"/>
                    <a:pt x="1029" y="1542"/>
                    <a:pt x="1033" y="1535"/>
                  </a:cubicBezTo>
                  <a:cubicBezTo>
                    <a:pt x="1034" y="1532"/>
                    <a:pt x="1029" y="1534"/>
                    <a:pt x="1030" y="1530"/>
                  </a:cubicBezTo>
                  <a:cubicBezTo>
                    <a:pt x="1046" y="1521"/>
                    <a:pt x="1066" y="1516"/>
                    <a:pt x="1082" y="1507"/>
                  </a:cubicBezTo>
                  <a:cubicBezTo>
                    <a:pt x="1083" y="1504"/>
                    <a:pt x="1080" y="1504"/>
                    <a:pt x="1080" y="1501"/>
                  </a:cubicBezTo>
                  <a:cubicBezTo>
                    <a:pt x="1086" y="1499"/>
                    <a:pt x="1087" y="1493"/>
                    <a:pt x="1089" y="1487"/>
                  </a:cubicBezTo>
                  <a:cubicBezTo>
                    <a:pt x="1085" y="1486"/>
                    <a:pt x="1085" y="1482"/>
                    <a:pt x="1082" y="1479"/>
                  </a:cubicBezTo>
                  <a:cubicBezTo>
                    <a:pt x="1084" y="1478"/>
                    <a:pt x="1085" y="1476"/>
                    <a:pt x="1085" y="1474"/>
                  </a:cubicBezTo>
                  <a:cubicBezTo>
                    <a:pt x="1084" y="1472"/>
                    <a:pt x="1081" y="1472"/>
                    <a:pt x="1079" y="1471"/>
                  </a:cubicBezTo>
                  <a:cubicBezTo>
                    <a:pt x="1081" y="1463"/>
                    <a:pt x="1089" y="1464"/>
                    <a:pt x="1095" y="1460"/>
                  </a:cubicBezTo>
                  <a:cubicBezTo>
                    <a:pt x="1098" y="1458"/>
                    <a:pt x="1100" y="1454"/>
                    <a:pt x="1103" y="1451"/>
                  </a:cubicBezTo>
                  <a:cubicBezTo>
                    <a:pt x="1108" y="1449"/>
                    <a:pt x="1114" y="1448"/>
                    <a:pt x="1119" y="1445"/>
                  </a:cubicBezTo>
                  <a:cubicBezTo>
                    <a:pt x="1122" y="1442"/>
                    <a:pt x="1124" y="1437"/>
                    <a:pt x="1127" y="1434"/>
                  </a:cubicBezTo>
                  <a:cubicBezTo>
                    <a:pt x="1142" y="1423"/>
                    <a:pt x="1160" y="1422"/>
                    <a:pt x="1174" y="1412"/>
                  </a:cubicBezTo>
                  <a:cubicBezTo>
                    <a:pt x="1179" y="1409"/>
                    <a:pt x="1188" y="1400"/>
                    <a:pt x="1193" y="1395"/>
                  </a:cubicBezTo>
                  <a:cubicBezTo>
                    <a:pt x="1200" y="1387"/>
                    <a:pt x="1197" y="1383"/>
                    <a:pt x="1197" y="1373"/>
                  </a:cubicBezTo>
                  <a:cubicBezTo>
                    <a:pt x="1197" y="1369"/>
                    <a:pt x="1198" y="1363"/>
                    <a:pt x="1199" y="1360"/>
                  </a:cubicBezTo>
                  <a:cubicBezTo>
                    <a:pt x="1202" y="1350"/>
                    <a:pt x="1203" y="1342"/>
                    <a:pt x="1208" y="1331"/>
                  </a:cubicBezTo>
                  <a:cubicBezTo>
                    <a:pt x="1207" y="1325"/>
                    <a:pt x="1197" y="1327"/>
                    <a:pt x="1194" y="1323"/>
                  </a:cubicBezTo>
                  <a:cubicBezTo>
                    <a:pt x="1197" y="1312"/>
                    <a:pt x="1186" y="1305"/>
                    <a:pt x="1194" y="1299"/>
                  </a:cubicBezTo>
                  <a:cubicBezTo>
                    <a:pt x="1188" y="1292"/>
                    <a:pt x="1199" y="1289"/>
                    <a:pt x="1197" y="1281"/>
                  </a:cubicBezTo>
                  <a:cubicBezTo>
                    <a:pt x="1194" y="1279"/>
                    <a:pt x="1187" y="1280"/>
                    <a:pt x="1186" y="1276"/>
                  </a:cubicBezTo>
                  <a:cubicBezTo>
                    <a:pt x="1190" y="1267"/>
                    <a:pt x="1190" y="1259"/>
                    <a:pt x="1194" y="1251"/>
                  </a:cubicBezTo>
                  <a:cubicBezTo>
                    <a:pt x="1198" y="1245"/>
                    <a:pt x="1210" y="1240"/>
                    <a:pt x="1208" y="1230"/>
                  </a:cubicBezTo>
                  <a:cubicBezTo>
                    <a:pt x="1210" y="1227"/>
                    <a:pt x="1213" y="1224"/>
                    <a:pt x="1216" y="1222"/>
                  </a:cubicBezTo>
                  <a:cubicBezTo>
                    <a:pt x="1216" y="1219"/>
                    <a:pt x="1215" y="1219"/>
                    <a:pt x="1215" y="1216"/>
                  </a:cubicBezTo>
                  <a:cubicBezTo>
                    <a:pt x="1221" y="1213"/>
                    <a:pt x="1226" y="1209"/>
                    <a:pt x="1228" y="1202"/>
                  </a:cubicBezTo>
                  <a:cubicBezTo>
                    <a:pt x="1231" y="1202"/>
                    <a:pt x="1232" y="1200"/>
                    <a:pt x="1236" y="1200"/>
                  </a:cubicBezTo>
                  <a:cubicBezTo>
                    <a:pt x="1244" y="1193"/>
                    <a:pt x="1246" y="1183"/>
                    <a:pt x="1253" y="1175"/>
                  </a:cubicBezTo>
                  <a:cubicBezTo>
                    <a:pt x="1257" y="1170"/>
                    <a:pt x="1264" y="1167"/>
                    <a:pt x="1267" y="1163"/>
                  </a:cubicBezTo>
                  <a:cubicBezTo>
                    <a:pt x="1269" y="1160"/>
                    <a:pt x="1269" y="1157"/>
                    <a:pt x="1271" y="1154"/>
                  </a:cubicBezTo>
                  <a:cubicBezTo>
                    <a:pt x="1273" y="1152"/>
                    <a:pt x="1276" y="1151"/>
                    <a:pt x="1278" y="1149"/>
                  </a:cubicBezTo>
                  <a:cubicBezTo>
                    <a:pt x="1304" y="1121"/>
                    <a:pt x="1338" y="1099"/>
                    <a:pt x="1353" y="1061"/>
                  </a:cubicBezTo>
                  <a:cubicBezTo>
                    <a:pt x="1355" y="1054"/>
                    <a:pt x="1362" y="1049"/>
                    <a:pt x="1365" y="1042"/>
                  </a:cubicBezTo>
                  <a:cubicBezTo>
                    <a:pt x="1368" y="1037"/>
                    <a:pt x="1367" y="1031"/>
                    <a:pt x="1368" y="1025"/>
                  </a:cubicBezTo>
                  <a:cubicBezTo>
                    <a:pt x="1369" y="1021"/>
                    <a:pt x="1376" y="1015"/>
                    <a:pt x="1378" y="1007"/>
                  </a:cubicBezTo>
                  <a:cubicBezTo>
                    <a:pt x="1381" y="995"/>
                    <a:pt x="1382" y="986"/>
                    <a:pt x="1388" y="981"/>
                  </a:cubicBezTo>
                  <a:cubicBezTo>
                    <a:pt x="1388" y="974"/>
                    <a:pt x="1389" y="967"/>
                    <a:pt x="1387" y="961"/>
                  </a:cubicBezTo>
                  <a:cubicBezTo>
                    <a:pt x="1388" y="958"/>
                    <a:pt x="1391" y="958"/>
                    <a:pt x="1391" y="954"/>
                  </a:cubicBezTo>
                  <a:cubicBezTo>
                    <a:pt x="1390" y="946"/>
                    <a:pt x="1389" y="937"/>
                    <a:pt x="1392" y="931"/>
                  </a:cubicBezTo>
                  <a:cubicBezTo>
                    <a:pt x="1391" y="931"/>
                    <a:pt x="1390" y="930"/>
                    <a:pt x="1389" y="928"/>
                  </a:cubicBezTo>
                  <a:cubicBezTo>
                    <a:pt x="1386" y="928"/>
                    <a:pt x="1385" y="929"/>
                    <a:pt x="1382" y="929"/>
                  </a:cubicBezTo>
                  <a:cubicBezTo>
                    <a:pt x="1378" y="948"/>
                    <a:pt x="1351" y="944"/>
                    <a:pt x="1341" y="956"/>
                  </a:cubicBezTo>
                  <a:cubicBezTo>
                    <a:pt x="1338" y="957"/>
                    <a:pt x="1339" y="954"/>
                    <a:pt x="1336" y="954"/>
                  </a:cubicBezTo>
                  <a:cubicBezTo>
                    <a:pt x="1329" y="958"/>
                    <a:pt x="1326" y="965"/>
                    <a:pt x="1319" y="969"/>
                  </a:cubicBezTo>
                  <a:cubicBezTo>
                    <a:pt x="1316" y="968"/>
                    <a:pt x="1315" y="966"/>
                    <a:pt x="1311" y="967"/>
                  </a:cubicBezTo>
                  <a:cubicBezTo>
                    <a:pt x="1301" y="972"/>
                    <a:pt x="1295" y="982"/>
                    <a:pt x="1282" y="979"/>
                  </a:cubicBezTo>
                  <a:cubicBezTo>
                    <a:pt x="1273" y="977"/>
                    <a:pt x="1270" y="964"/>
                    <a:pt x="1261" y="963"/>
                  </a:cubicBezTo>
                  <a:cubicBezTo>
                    <a:pt x="1271" y="953"/>
                    <a:pt x="1263" y="938"/>
                    <a:pt x="1248" y="938"/>
                  </a:cubicBezTo>
                  <a:cubicBezTo>
                    <a:pt x="1248" y="935"/>
                    <a:pt x="1247" y="932"/>
                    <a:pt x="1245" y="929"/>
                  </a:cubicBezTo>
                  <a:cubicBezTo>
                    <a:pt x="1239" y="930"/>
                    <a:pt x="1236" y="927"/>
                    <a:pt x="1232" y="925"/>
                  </a:cubicBezTo>
                  <a:cubicBezTo>
                    <a:pt x="1230" y="922"/>
                    <a:pt x="1230" y="916"/>
                    <a:pt x="1227" y="914"/>
                  </a:cubicBezTo>
                  <a:cubicBezTo>
                    <a:pt x="1224" y="912"/>
                    <a:pt x="1222" y="913"/>
                    <a:pt x="1218" y="914"/>
                  </a:cubicBezTo>
                  <a:cubicBezTo>
                    <a:pt x="1216" y="913"/>
                    <a:pt x="1214" y="910"/>
                    <a:pt x="1211" y="909"/>
                  </a:cubicBezTo>
                  <a:cubicBezTo>
                    <a:pt x="1200" y="909"/>
                    <a:pt x="1191" y="903"/>
                    <a:pt x="1188" y="894"/>
                  </a:cubicBezTo>
                  <a:cubicBezTo>
                    <a:pt x="1186" y="888"/>
                    <a:pt x="1188" y="882"/>
                    <a:pt x="1186" y="877"/>
                  </a:cubicBezTo>
                  <a:cubicBezTo>
                    <a:pt x="1181" y="865"/>
                    <a:pt x="1173" y="858"/>
                    <a:pt x="1162" y="853"/>
                  </a:cubicBezTo>
                  <a:cubicBezTo>
                    <a:pt x="1161" y="852"/>
                    <a:pt x="1162" y="848"/>
                    <a:pt x="1159" y="849"/>
                  </a:cubicBezTo>
                  <a:cubicBezTo>
                    <a:pt x="1156" y="846"/>
                    <a:pt x="1152" y="850"/>
                    <a:pt x="1149" y="848"/>
                  </a:cubicBezTo>
                  <a:cubicBezTo>
                    <a:pt x="1149" y="833"/>
                    <a:pt x="1138" y="819"/>
                    <a:pt x="1142" y="805"/>
                  </a:cubicBezTo>
                  <a:cubicBezTo>
                    <a:pt x="1140" y="802"/>
                    <a:pt x="1136" y="801"/>
                    <a:pt x="1135" y="797"/>
                  </a:cubicBezTo>
                  <a:cubicBezTo>
                    <a:pt x="1135" y="784"/>
                    <a:pt x="1124" y="781"/>
                    <a:pt x="1114" y="778"/>
                  </a:cubicBezTo>
                  <a:cubicBezTo>
                    <a:pt x="1108" y="772"/>
                    <a:pt x="1104" y="760"/>
                    <a:pt x="1106" y="753"/>
                  </a:cubicBezTo>
                  <a:cubicBezTo>
                    <a:pt x="1094" y="749"/>
                    <a:pt x="1092" y="733"/>
                    <a:pt x="1084" y="723"/>
                  </a:cubicBezTo>
                  <a:cubicBezTo>
                    <a:pt x="1080" y="718"/>
                    <a:pt x="1074" y="715"/>
                    <a:pt x="1072" y="709"/>
                  </a:cubicBezTo>
                  <a:cubicBezTo>
                    <a:pt x="1070" y="706"/>
                    <a:pt x="1071" y="703"/>
                    <a:pt x="1070" y="700"/>
                  </a:cubicBezTo>
                  <a:cubicBezTo>
                    <a:pt x="1067" y="695"/>
                    <a:pt x="1059" y="696"/>
                    <a:pt x="1060" y="689"/>
                  </a:cubicBezTo>
                  <a:cubicBezTo>
                    <a:pt x="1064" y="692"/>
                    <a:pt x="1066" y="696"/>
                    <a:pt x="1074" y="695"/>
                  </a:cubicBezTo>
                  <a:cubicBezTo>
                    <a:pt x="1075" y="687"/>
                    <a:pt x="1067" y="675"/>
                    <a:pt x="1074" y="670"/>
                  </a:cubicBezTo>
                  <a:cubicBezTo>
                    <a:pt x="1074" y="687"/>
                    <a:pt x="1082" y="694"/>
                    <a:pt x="1096" y="697"/>
                  </a:cubicBezTo>
                  <a:cubicBezTo>
                    <a:pt x="1099" y="702"/>
                    <a:pt x="1101" y="710"/>
                    <a:pt x="1106" y="715"/>
                  </a:cubicBezTo>
                  <a:cubicBezTo>
                    <a:pt x="1111" y="721"/>
                    <a:pt x="1117" y="722"/>
                    <a:pt x="1122" y="726"/>
                  </a:cubicBezTo>
                  <a:cubicBezTo>
                    <a:pt x="1127" y="731"/>
                    <a:pt x="1127" y="739"/>
                    <a:pt x="1131" y="746"/>
                  </a:cubicBezTo>
                  <a:cubicBezTo>
                    <a:pt x="1136" y="754"/>
                    <a:pt x="1143" y="749"/>
                    <a:pt x="1150" y="751"/>
                  </a:cubicBezTo>
                  <a:cubicBezTo>
                    <a:pt x="1174" y="756"/>
                    <a:pt x="1166" y="802"/>
                    <a:pt x="1188" y="811"/>
                  </a:cubicBezTo>
                  <a:cubicBezTo>
                    <a:pt x="1191" y="811"/>
                    <a:pt x="1193" y="810"/>
                    <a:pt x="1197" y="810"/>
                  </a:cubicBezTo>
                  <a:cubicBezTo>
                    <a:pt x="1201" y="812"/>
                    <a:pt x="1206" y="818"/>
                    <a:pt x="1210" y="823"/>
                  </a:cubicBezTo>
                  <a:cubicBezTo>
                    <a:pt x="1215" y="829"/>
                    <a:pt x="1221" y="838"/>
                    <a:pt x="1228" y="847"/>
                  </a:cubicBezTo>
                  <a:cubicBezTo>
                    <a:pt x="1240" y="860"/>
                    <a:pt x="1255" y="866"/>
                    <a:pt x="1246" y="889"/>
                  </a:cubicBezTo>
                  <a:cubicBezTo>
                    <a:pt x="1256" y="893"/>
                    <a:pt x="1257" y="910"/>
                    <a:pt x="1254" y="923"/>
                  </a:cubicBezTo>
                  <a:cubicBezTo>
                    <a:pt x="1259" y="927"/>
                    <a:pt x="1264" y="932"/>
                    <a:pt x="1267" y="938"/>
                  </a:cubicBezTo>
                  <a:cubicBezTo>
                    <a:pt x="1274" y="939"/>
                    <a:pt x="1283" y="939"/>
                    <a:pt x="1289" y="935"/>
                  </a:cubicBezTo>
                  <a:cubicBezTo>
                    <a:pt x="1293" y="931"/>
                    <a:pt x="1293" y="921"/>
                    <a:pt x="1299" y="921"/>
                  </a:cubicBezTo>
                  <a:cubicBezTo>
                    <a:pt x="1311" y="920"/>
                    <a:pt x="1318" y="917"/>
                    <a:pt x="1325" y="914"/>
                  </a:cubicBezTo>
                  <a:cubicBezTo>
                    <a:pt x="1329" y="912"/>
                    <a:pt x="1333" y="912"/>
                    <a:pt x="1336" y="911"/>
                  </a:cubicBezTo>
                  <a:cubicBezTo>
                    <a:pt x="1340" y="908"/>
                    <a:pt x="1343" y="900"/>
                    <a:pt x="1348" y="895"/>
                  </a:cubicBezTo>
                  <a:cubicBezTo>
                    <a:pt x="1356" y="887"/>
                    <a:pt x="1362" y="882"/>
                    <a:pt x="1370" y="875"/>
                  </a:cubicBezTo>
                  <a:cubicBezTo>
                    <a:pt x="1377" y="868"/>
                    <a:pt x="1382" y="864"/>
                    <a:pt x="1393" y="863"/>
                  </a:cubicBezTo>
                  <a:cubicBezTo>
                    <a:pt x="1396" y="838"/>
                    <a:pt x="1419" y="832"/>
                    <a:pt x="1434" y="818"/>
                  </a:cubicBezTo>
                  <a:cubicBezTo>
                    <a:pt x="1434" y="814"/>
                    <a:pt x="1433" y="812"/>
                    <a:pt x="1433" y="808"/>
                  </a:cubicBezTo>
                  <a:cubicBezTo>
                    <a:pt x="1439" y="803"/>
                    <a:pt x="1449" y="801"/>
                    <a:pt x="1447" y="788"/>
                  </a:cubicBezTo>
                  <a:cubicBezTo>
                    <a:pt x="1455" y="782"/>
                    <a:pt x="1457" y="771"/>
                    <a:pt x="1455" y="757"/>
                  </a:cubicBezTo>
                  <a:cubicBezTo>
                    <a:pt x="1459" y="758"/>
                    <a:pt x="1461" y="756"/>
                    <a:pt x="1463" y="755"/>
                  </a:cubicBezTo>
                  <a:cubicBezTo>
                    <a:pt x="1460" y="738"/>
                    <a:pt x="1475" y="729"/>
                    <a:pt x="1466" y="712"/>
                  </a:cubicBezTo>
                  <a:cubicBezTo>
                    <a:pt x="1457" y="713"/>
                    <a:pt x="1454" y="700"/>
                    <a:pt x="1447" y="697"/>
                  </a:cubicBezTo>
                  <a:cubicBezTo>
                    <a:pt x="1437" y="692"/>
                    <a:pt x="1426" y="699"/>
                    <a:pt x="1417" y="693"/>
                  </a:cubicBezTo>
                  <a:cubicBezTo>
                    <a:pt x="1406" y="686"/>
                    <a:pt x="1409" y="668"/>
                    <a:pt x="1401" y="658"/>
                  </a:cubicBezTo>
                  <a:cubicBezTo>
                    <a:pt x="1400" y="677"/>
                    <a:pt x="1385" y="685"/>
                    <a:pt x="1387" y="706"/>
                  </a:cubicBezTo>
                  <a:cubicBezTo>
                    <a:pt x="1381" y="709"/>
                    <a:pt x="1377" y="706"/>
                    <a:pt x="1370" y="707"/>
                  </a:cubicBezTo>
                  <a:cubicBezTo>
                    <a:pt x="1365" y="709"/>
                    <a:pt x="1362" y="716"/>
                    <a:pt x="1358" y="715"/>
                  </a:cubicBezTo>
                  <a:cubicBezTo>
                    <a:pt x="1340" y="714"/>
                    <a:pt x="1363" y="674"/>
                    <a:pt x="1338" y="679"/>
                  </a:cubicBezTo>
                  <a:cubicBezTo>
                    <a:pt x="1335" y="685"/>
                    <a:pt x="1344" y="697"/>
                    <a:pt x="1338" y="703"/>
                  </a:cubicBezTo>
                  <a:cubicBezTo>
                    <a:pt x="1334" y="690"/>
                    <a:pt x="1318" y="689"/>
                    <a:pt x="1317" y="673"/>
                  </a:cubicBezTo>
                  <a:cubicBezTo>
                    <a:pt x="1310" y="669"/>
                    <a:pt x="1298" y="668"/>
                    <a:pt x="1298" y="657"/>
                  </a:cubicBezTo>
                  <a:cubicBezTo>
                    <a:pt x="1293" y="654"/>
                    <a:pt x="1290" y="651"/>
                    <a:pt x="1289" y="645"/>
                  </a:cubicBezTo>
                  <a:cubicBezTo>
                    <a:pt x="1284" y="643"/>
                    <a:pt x="1278" y="641"/>
                    <a:pt x="1277" y="635"/>
                  </a:cubicBezTo>
                  <a:cubicBezTo>
                    <a:pt x="1278" y="634"/>
                    <a:pt x="1283" y="635"/>
                    <a:pt x="1285" y="634"/>
                  </a:cubicBezTo>
                  <a:cubicBezTo>
                    <a:pt x="1285" y="627"/>
                    <a:pt x="1285" y="627"/>
                    <a:pt x="1285" y="627"/>
                  </a:cubicBezTo>
                  <a:cubicBezTo>
                    <a:pt x="1290" y="627"/>
                    <a:pt x="1290" y="627"/>
                    <a:pt x="1290" y="627"/>
                  </a:cubicBezTo>
                  <a:cubicBezTo>
                    <a:pt x="1288" y="610"/>
                    <a:pt x="1299" y="620"/>
                    <a:pt x="1306" y="626"/>
                  </a:cubicBezTo>
                  <a:cubicBezTo>
                    <a:pt x="1316" y="635"/>
                    <a:pt x="1327" y="651"/>
                    <a:pt x="1336" y="657"/>
                  </a:cubicBezTo>
                  <a:cubicBezTo>
                    <a:pt x="1352" y="644"/>
                    <a:pt x="1362" y="667"/>
                    <a:pt x="1380" y="666"/>
                  </a:cubicBezTo>
                  <a:cubicBezTo>
                    <a:pt x="1388" y="661"/>
                    <a:pt x="1393" y="652"/>
                    <a:pt x="1401" y="647"/>
                  </a:cubicBezTo>
                  <a:cubicBezTo>
                    <a:pt x="1408" y="652"/>
                    <a:pt x="1412" y="659"/>
                    <a:pt x="1416" y="666"/>
                  </a:cubicBezTo>
                  <a:cubicBezTo>
                    <a:pt x="1429" y="670"/>
                    <a:pt x="1436" y="663"/>
                    <a:pt x="1448" y="668"/>
                  </a:cubicBezTo>
                  <a:cubicBezTo>
                    <a:pt x="1451" y="668"/>
                    <a:pt x="1450" y="664"/>
                    <a:pt x="1455" y="665"/>
                  </a:cubicBezTo>
                  <a:cubicBezTo>
                    <a:pt x="1464" y="670"/>
                    <a:pt x="1468" y="663"/>
                    <a:pt x="1474" y="659"/>
                  </a:cubicBezTo>
                  <a:cubicBezTo>
                    <a:pt x="1479" y="657"/>
                    <a:pt x="1486" y="658"/>
                    <a:pt x="1486" y="652"/>
                  </a:cubicBezTo>
                  <a:cubicBezTo>
                    <a:pt x="1495" y="653"/>
                    <a:pt x="1501" y="644"/>
                    <a:pt x="1508" y="640"/>
                  </a:cubicBezTo>
                  <a:cubicBezTo>
                    <a:pt x="1514" y="642"/>
                    <a:pt x="1516" y="648"/>
                    <a:pt x="1519" y="653"/>
                  </a:cubicBezTo>
                  <a:cubicBezTo>
                    <a:pt x="1523" y="653"/>
                    <a:pt x="1526" y="651"/>
                    <a:pt x="1531" y="652"/>
                  </a:cubicBezTo>
                  <a:cubicBezTo>
                    <a:pt x="1532" y="655"/>
                    <a:pt x="1535" y="657"/>
                    <a:pt x="1536" y="659"/>
                  </a:cubicBezTo>
                  <a:cubicBezTo>
                    <a:pt x="1539" y="659"/>
                    <a:pt x="1541" y="658"/>
                    <a:pt x="1544" y="659"/>
                  </a:cubicBezTo>
                  <a:cubicBezTo>
                    <a:pt x="1545" y="662"/>
                    <a:pt x="1546" y="664"/>
                    <a:pt x="1547" y="667"/>
                  </a:cubicBezTo>
                  <a:cubicBezTo>
                    <a:pt x="1555" y="671"/>
                    <a:pt x="1559" y="664"/>
                    <a:pt x="1562" y="659"/>
                  </a:cubicBezTo>
                  <a:cubicBezTo>
                    <a:pt x="1566" y="671"/>
                    <a:pt x="1552" y="672"/>
                    <a:pt x="1553" y="682"/>
                  </a:cubicBezTo>
                  <a:cubicBezTo>
                    <a:pt x="1553" y="687"/>
                    <a:pt x="1566" y="695"/>
                    <a:pt x="1571" y="697"/>
                  </a:cubicBezTo>
                  <a:cubicBezTo>
                    <a:pt x="1592" y="705"/>
                    <a:pt x="1580" y="671"/>
                    <a:pt x="1586" y="661"/>
                  </a:cubicBezTo>
                  <a:cubicBezTo>
                    <a:pt x="1587" y="667"/>
                    <a:pt x="1585" y="672"/>
                    <a:pt x="1585" y="677"/>
                  </a:cubicBezTo>
                  <a:cubicBezTo>
                    <a:pt x="1587" y="680"/>
                    <a:pt x="1590" y="681"/>
                    <a:pt x="1592" y="683"/>
                  </a:cubicBezTo>
                  <a:cubicBezTo>
                    <a:pt x="1595" y="712"/>
                    <a:pt x="1602" y="735"/>
                    <a:pt x="1614" y="755"/>
                  </a:cubicBezTo>
                  <a:cubicBezTo>
                    <a:pt x="1614" y="758"/>
                    <a:pt x="1614" y="760"/>
                    <a:pt x="1615" y="762"/>
                  </a:cubicBezTo>
                  <a:cubicBezTo>
                    <a:pt x="1616" y="764"/>
                    <a:pt x="1619" y="763"/>
                    <a:pt x="1621" y="765"/>
                  </a:cubicBezTo>
                  <a:cubicBezTo>
                    <a:pt x="1621" y="772"/>
                    <a:pt x="1625" y="776"/>
                    <a:pt x="1629" y="779"/>
                  </a:cubicBezTo>
                  <a:cubicBezTo>
                    <a:pt x="1628" y="802"/>
                    <a:pt x="1645" y="814"/>
                    <a:pt x="1647" y="830"/>
                  </a:cubicBezTo>
                  <a:cubicBezTo>
                    <a:pt x="1648" y="844"/>
                    <a:pt x="1651" y="853"/>
                    <a:pt x="1658" y="862"/>
                  </a:cubicBezTo>
                  <a:cubicBezTo>
                    <a:pt x="1663" y="856"/>
                    <a:pt x="1660" y="849"/>
                    <a:pt x="1661" y="842"/>
                  </a:cubicBezTo>
                  <a:cubicBezTo>
                    <a:pt x="1662" y="838"/>
                    <a:pt x="1665" y="835"/>
                    <a:pt x="1666" y="831"/>
                  </a:cubicBezTo>
                  <a:cubicBezTo>
                    <a:pt x="1666" y="830"/>
                    <a:pt x="1665" y="827"/>
                    <a:pt x="1665" y="825"/>
                  </a:cubicBezTo>
                  <a:cubicBezTo>
                    <a:pt x="1665" y="820"/>
                    <a:pt x="1669" y="814"/>
                    <a:pt x="1669" y="810"/>
                  </a:cubicBezTo>
                  <a:cubicBezTo>
                    <a:pt x="1669" y="804"/>
                    <a:pt x="1665" y="794"/>
                    <a:pt x="1664" y="783"/>
                  </a:cubicBezTo>
                  <a:close/>
                  <a:moveTo>
                    <a:pt x="911" y="465"/>
                  </a:moveTo>
                  <a:cubicBezTo>
                    <a:pt x="918" y="465"/>
                    <a:pt x="918" y="465"/>
                    <a:pt x="918" y="465"/>
                  </a:cubicBezTo>
                  <a:cubicBezTo>
                    <a:pt x="918" y="468"/>
                    <a:pt x="910" y="471"/>
                    <a:pt x="911" y="465"/>
                  </a:cubicBezTo>
                  <a:close/>
                  <a:moveTo>
                    <a:pt x="923" y="465"/>
                  </a:moveTo>
                  <a:cubicBezTo>
                    <a:pt x="924" y="455"/>
                    <a:pt x="940" y="454"/>
                    <a:pt x="947" y="459"/>
                  </a:cubicBezTo>
                  <a:cubicBezTo>
                    <a:pt x="947" y="468"/>
                    <a:pt x="931" y="466"/>
                    <a:pt x="923" y="465"/>
                  </a:cubicBezTo>
                  <a:close/>
                  <a:moveTo>
                    <a:pt x="1059" y="449"/>
                  </a:moveTo>
                  <a:cubicBezTo>
                    <a:pt x="1056" y="449"/>
                    <a:pt x="1055" y="446"/>
                    <a:pt x="1052" y="444"/>
                  </a:cubicBezTo>
                  <a:cubicBezTo>
                    <a:pt x="1049" y="444"/>
                    <a:pt x="1048" y="446"/>
                    <a:pt x="1045" y="445"/>
                  </a:cubicBezTo>
                  <a:cubicBezTo>
                    <a:pt x="1041" y="445"/>
                    <a:pt x="1041" y="441"/>
                    <a:pt x="1038" y="440"/>
                  </a:cubicBezTo>
                  <a:cubicBezTo>
                    <a:pt x="1035" y="439"/>
                    <a:pt x="1033" y="441"/>
                    <a:pt x="1030" y="442"/>
                  </a:cubicBezTo>
                  <a:cubicBezTo>
                    <a:pt x="1026" y="440"/>
                    <a:pt x="1024" y="437"/>
                    <a:pt x="1021" y="435"/>
                  </a:cubicBezTo>
                  <a:cubicBezTo>
                    <a:pt x="1015" y="442"/>
                    <a:pt x="1008" y="436"/>
                    <a:pt x="1001" y="437"/>
                  </a:cubicBezTo>
                  <a:cubicBezTo>
                    <a:pt x="990" y="438"/>
                    <a:pt x="981" y="446"/>
                    <a:pt x="976" y="453"/>
                  </a:cubicBezTo>
                  <a:cubicBezTo>
                    <a:pt x="959" y="454"/>
                    <a:pt x="951" y="450"/>
                    <a:pt x="934" y="450"/>
                  </a:cubicBezTo>
                  <a:cubicBezTo>
                    <a:pt x="931" y="445"/>
                    <a:pt x="929" y="437"/>
                    <a:pt x="924" y="433"/>
                  </a:cubicBezTo>
                  <a:cubicBezTo>
                    <a:pt x="925" y="429"/>
                    <a:pt x="927" y="425"/>
                    <a:pt x="925" y="420"/>
                  </a:cubicBezTo>
                  <a:cubicBezTo>
                    <a:pt x="927" y="419"/>
                    <a:pt x="929" y="418"/>
                    <a:pt x="932" y="419"/>
                  </a:cubicBezTo>
                  <a:cubicBezTo>
                    <a:pt x="930" y="406"/>
                    <a:pt x="932" y="395"/>
                    <a:pt x="944" y="395"/>
                  </a:cubicBezTo>
                  <a:cubicBezTo>
                    <a:pt x="945" y="389"/>
                    <a:pt x="942" y="388"/>
                    <a:pt x="942" y="383"/>
                  </a:cubicBezTo>
                  <a:cubicBezTo>
                    <a:pt x="950" y="377"/>
                    <a:pt x="951" y="363"/>
                    <a:pt x="968" y="365"/>
                  </a:cubicBezTo>
                  <a:cubicBezTo>
                    <a:pt x="971" y="368"/>
                    <a:pt x="966" y="366"/>
                    <a:pt x="966" y="370"/>
                  </a:cubicBezTo>
                  <a:cubicBezTo>
                    <a:pt x="971" y="376"/>
                    <a:pt x="981" y="370"/>
                    <a:pt x="987" y="374"/>
                  </a:cubicBezTo>
                  <a:cubicBezTo>
                    <a:pt x="985" y="379"/>
                    <a:pt x="979" y="379"/>
                    <a:pt x="978" y="384"/>
                  </a:cubicBezTo>
                  <a:cubicBezTo>
                    <a:pt x="982" y="386"/>
                    <a:pt x="988" y="386"/>
                    <a:pt x="991" y="389"/>
                  </a:cubicBezTo>
                  <a:cubicBezTo>
                    <a:pt x="991" y="392"/>
                    <a:pt x="990" y="396"/>
                    <a:pt x="992" y="397"/>
                  </a:cubicBezTo>
                  <a:cubicBezTo>
                    <a:pt x="993" y="399"/>
                    <a:pt x="996" y="398"/>
                    <a:pt x="998" y="399"/>
                  </a:cubicBezTo>
                  <a:cubicBezTo>
                    <a:pt x="1001" y="393"/>
                    <a:pt x="1013" y="396"/>
                    <a:pt x="1014" y="387"/>
                  </a:cubicBezTo>
                  <a:cubicBezTo>
                    <a:pt x="1016" y="388"/>
                    <a:pt x="1019" y="389"/>
                    <a:pt x="1023" y="389"/>
                  </a:cubicBezTo>
                  <a:cubicBezTo>
                    <a:pt x="1025" y="388"/>
                    <a:pt x="1025" y="384"/>
                    <a:pt x="1027" y="382"/>
                  </a:cubicBezTo>
                  <a:cubicBezTo>
                    <a:pt x="1017" y="381"/>
                    <a:pt x="1005" y="384"/>
                    <a:pt x="999" y="373"/>
                  </a:cubicBezTo>
                  <a:cubicBezTo>
                    <a:pt x="1005" y="364"/>
                    <a:pt x="1021" y="365"/>
                    <a:pt x="1027" y="356"/>
                  </a:cubicBezTo>
                  <a:cubicBezTo>
                    <a:pt x="1035" y="358"/>
                    <a:pt x="1039" y="350"/>
                    <a:pt x="1047" y="353"/>
                  </a:cubicBezTo>
                  <a:cubicBezTo>
                    <a:pt x="1045" y="358"/>
                    <a:pt x="1040" y="360"/>
                    <a:pt x="1035" y="362"/>
                  </a:cubicBezTo>
                  <a:cubicBezTo>
                    <a:pt x="1036" y="366"/>
                    <a:pt x="1039" y="366"/>
                    <a:pt x="1042" y="368"/>
                  </a:cubicBezTo>
                  <a:cubicBezTo>
                    <a:pt x="1038" y="370"/>
                    <a:pt x="1040" y="378"/>
                    <a:pt x="1037" y="382"/>
                  </a:cubicBezTo>
                  <a:cubicBezTo>
                    <a:pt x="1033" y="383"/>
                    <a:pt x="1033" y="379"/>
                    <a:pt x="1029" y="380"/>
                  </a:cubicBezTo>
                  <a:cubicBezTo>
                    <a:pt x="1029" y="388"/>
                    <a:pt x="1037" y="388"/>
                    <a:pt x="1040" y="393"/>
                  </a:cubicBezTo>
                  <a:cubicBezTo>
                    <a:pt x="1049" y="391"/>
                    <a:pt x="1049" y="398"/>
                    <a:pt x="1058" y="396"/>
                  </a:cubicBezTo>
                  <a:cubicBezTo>
                    <a:pt x="1067" y="408"/>
                    <a:pt x="1087" y="411"/>
                    <a:pt x="1099" y="418"/>
                  </a:cubicBezTo>
                  <a:cubicBezTo>
                    <a:pt x="1105" y="421"/>
                    <a:pt x="1106" y="431"/>
                    <a:pt x="1112" y="436"/>
                  </a:cubicBezTo>
                  <a:cubicBezTo>
                    <a:pt x="1106" y="454"/>
                    <a:pt x="1075" y="450"/>
                    <a:pt x="1059" y="449"/>
                  </a:cubicBezTo>
                  <a:close/>
                  <a:moveTo>
                    <a:pt x="1104" y="91"/>
                  </a:moveTo>
                  <a:cubicBezTo>
                    <a:pt x="1108" y="89"/>
                    <a:pt x="1112" y="93"/>
                    <a:pt x="1115" y="94"/>
                  </a:cubicBezTo>
                  <a:cubicBezTo>
                    <a:pt x="1112" y="96"/>
                    <a:pt x="1108" y="92"/>
                    <a:pt x="1104" y="91"/>
                  </a:cubicBezTo>
                  <a:close/>
                  <a:moveTo>
                    <a:pt x="215" y="250"/>
                  </a:moveTo>
                  <a:cubicBezTo>
                    <a:pt x="215" y="251"/>
                    <a:pt x="214" y="252"/>
                    <a:pt x="215" y="252"/>
                  </a:cubicBezTo>
                  <a:cubicBezTo>
                    <a:pt x="217" y="250"/>
                    <a:pt x="221" y="244"/>
                    <a:pt x="217" y="245"/>
                  </a:cubicBezTo>
                  <a:cubicBezTo>
                    <a:pt x="222" y="239"/>
                    <a:pt x="233" y="233"/>
                    <a:pt x="233" y="227"/>
                  </a:cubicBezTo>
                  <a:cubicBezTo>
                    <a:pt x="238" y="227"/>
                    <a:pt x="246" y="222"/>
                    <a:pt x="248" y="214"/>
                  </a:cubicBezTo>
                  <a:cubicBezTo>
                    <a:pt x="246" y="214"/>
                    <a:pt x="243" y="217"/>
                    <a:pt x="242" y="215"/>
                  </a:cubicBezTo>
                  <a:cubicBezTo>
                    <a:pt x="248" y="212"/>
                    <a:pt x="251" y="208"/>
                    <a:pt x="258" y="206"/>
                  </a:cubicBezTo>
                  <a:cubicBezTo>
                    <a:pt x="260" y="209"/>
                    <a:pt x="257" y="213"/>
                    <a:pt x="257" y="216"/>
                  </a:cubicBezTo>
                  <a:cubicBezTo>
                    <a:pt x="262" y="217"/>
                    <a:pt x="268" y="210"/>
                    <a:pt x="274" y="208"/>
                  </a:cubicBezTo>
                  <a:cubicBezTo>
                    <a:pt x="277" y="207"/>
                    <a:pt x="283" y="209"/>
                    <a:pt x="287" y="206"/>
                  </a:cubicBezTo>
                  <a:cubicBezTo>
                    <a:pt x="288" y="206"/>
                    <a:pt x="290" y="202"/>
                    <a:pt x="292" y="201"/>
                  </a:cubicBezTo>
                  <a:cubicBezTo>
                    <a:pt x="297" y="196"/>
                    <a:pt x="310" y="191"/>
                    <a:pt x="305" y="187"/>
                  </a:cubicBezTo>
                  <a:cubicBezTo>
                    <a:pt x="309" y="187"/>
                    <a:pt x="308" y="182"/>
                    <a:pt x="311" y="180"/>
                  </a:cubicBezTo>
                  <a:cubicBezTo>
                    <a:pt x="313" y="181"/>
                    <a:pt x="313" y="182"/>
                    <a:pt x="314" y="181"/>
                  </a:cubicBezTo>
                  <a:cubicBezTo>
                    <a:pt x="323" y="157"/>
                    <a:pt x="359" y="143"/>
                    <a:pt x="376" y="124"/>
                  </a:cubicBezTo>
                  <a:cubicBezTo>
                    <a:pt x="369" y="128"/>
                    <a:pt x="360" y="131"/>
                    <a:pt x="353" y="134"/>
                  </a:cubicBezTo>
                  <a:cubicBezTo>
                    <a:pt x="361" y="124"/>
                    <a:pt x="378" y="117"/>
                    <a:pt x="387" y="108"/>
                  </a:cubicBezTo>
                  <a:cubicBezTo>
                    <a:pt x="396" y="101"/>
                    <a:pt x="401" y="100"/>
                    <a:pt x="400" y="94"/>
                  </a:cubicBezTo>
                  <a:cubicBezTo>
                    <a:pt x="322" y="137"/>
                    <a:pt x="252" y="193"/>
                    <a:pt x="200" y="258"/>
                  </a:cubicBezTo>
                  <a:cubicBezTo>
                    <a:pt x="202" y="257"/>
                    <a:pt x="206" y="253"/>
                    <a:pt x="208" y="254"/>
                  </a:cubicBezTo>
                  <a:cubicBezTo>
                    <a:pt x="203" y="260"/>
                    <a:pt x="192" y="264"/>
                    <a:pt x="192" y="271"/>
                  </a:cubicBezTo>
                  <a:cubicBezTo>
                    <a:pt x="194" y="265"/>
                    <a:pt x="199" y="268"/>
                    <a:pt x="203" y="266"/>
                  </a:cubicBezTo>
                  <a:cubicBezTo>
                    <a:pt x="210" y="262"/>
                    <a:pt x="210" y="255"/>
                    <a:pt x="215" y="250"/>
                  </a:cubicBezTo>
                  <a:close/>
                  <a:moveTo>
                    <a:pt x="63" y="1119"/>
                  </a:moveTo>
                  <a:cubicBezTo>
                    <a:pt x="63" y="1103"/>
                    <a:pt x="54" y="1079"/>
                    <a:pt x="50" y="1063"/>
                  </a:cubicBezTo>
                  <a:cubicBezTo>
                    <a:pt x="48" y="1055"/>
                    <a:pt x="40" y="1047"/>
                    <a:pt x="37" y="1040"/>
                  </a:cubicBezTo>
                  <a:cubicBezTo>
                    <a:pt x="33" y="1032"/>
                    <a:pt x="30" y="1023"/>
                    <a:pt x="27" y="1015"/>
                  </a:cubicBezTo>
                  <a:cubicBezTo>
                    <a:pt x="21" y="998"/>
                    <a:pt x="12" y="982"/>
                    <a:pt x="8" y="967"/>
                  </a:cubicBezTo>
                  <a:cubicBezTo>
                    <a:pt x="7" y="962"/>
                    <a:pt x="6" y="954"/>
                    <a:pt x="5" y="947"/>
                  </a:cubicBezTo>
                  <a:cubicBezTo>
                    <a:pt x="4" y="944"/>
                    <a:pt x="0" y="929"/>
                    <a:pt x="1" y="934"/>
                  </a:cubicBezTo>
                  <a:cubicBezTo>
                    <a:pt x="15" y="1040"/>
                    <a:pt x="48" y="1132"/>
                    <a:pt x="89" y="1208"/>
                  </a:cubicBezTo>
                  <a:cubicBezTo>
                    <a:pt x="80" y="1183"/>
                    <a:pt x="62" y="1159"/>
                    <a:pt x="61" y="1131"/>
                  </a:cubicBezTo>
                  <a:cubicBezTo>
                    <a:pt x="61" y="1127"/>
                    <a:pt x="63" y="1123"/>
                    <a:pt x="63" y="1119"/>
                  </a:cubicBezTo>
                  <a:close/>
                  <a:moveTo>
                    <a:pt x="585" y="5"/>
                  </a:moveTo>
                  <a:cubicBezTo>
                    <a:pt x="584" y="5"/>
                    <a:pt x="583" y="5"/>
                    <a:pt x="583" y="4"/>
                  </a:cubicBezTo>
                  <a:cubicBezTo>
                    <a:pt x="584" y="4"/>
                    <a:pt x="585" y="4"/>
                    <a:pt x="585" y="3"/>
                  </a:cubicBezTo>
                  <a:cubicBezTo>
                    <a:pt x="581" y="3"/>
                    <a:pt x="578" y="3"/>
                    <a:pt x="577" y="6"/>
                  </a:cubicBezTo>
                  <a:cubicBezTo>
                    <a:pt x="580" y="7"/>
                    <a:pt x="584" y="7"/>
                    <a:pt x="585" y="5"/>
                  </a:cubicBezTo>
                  <a:close/>
                </a:path>
              </a:pathLst>
            </a:cu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rgbClr val="0070C0"/>
                </a:gs>
              </a:gsLst>
              <a:lin ang="5400000" scaled="0"/>
            </a:gradFill>
            <a:ln w="12700">
              <a:noFill/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88000" tIns="0" rIns="0" bIns="0" anchor="ctr"/>
            <a:lstStyle/>
            <a:p>
              <a:pPr defTabSz="801688" eaLnBrk="0" hangingPunct="0">
                <a:defRPr/>
              </a:pPr>
              <a:endParaRPr lang="en-GB" b="1" noProof="1">
                <a:solidFill>
                  <a:srgbClr val="FFFFFF"/>
                </a:solidFill>
                <a:cs typeface="Arial" charset="0"/>
              </a:endParaRPr>
            </a:p>
          </p:txBody>
        </p:sp>
      </p:grpSp>
      <p:grpSp>
        <p:nvGrpSpPr>
          <p:cNvPr id="48" name="Gruppieren 47"/>
          <p:cNvGrpSpPr/>
          <p:nvPr/>
        </p:nvGrpSpPr>
        <p:grpSpPr bwMode="gray">
          <a:xfrm>
            <a:off x="323850" y="1555750"/>
            <a:ext cx="3745230" cy="1108696"/>
            <a:chOff x="323850" y="1555750"/>
            <a:chExt cx="3745230" cy="1108696"/>
          </a:xfrm>
        </p:grpSpPr>
        <p:sp>
          <p:nvSpPr>
            <p:cNvPr id="49" name="Line 51" descr="© INSCALE GmbH, 26.05.2010&#10;http://www.presentationload.com/"/>
            <p:cNvSpPr>
              <a:spLocks noChangeShapeType="1"/>
            </p:cNvSpPr>
            <p:nvPr/>
          </p:nvSpPr>
          <p:spPr bwMode="gray">
            <a:xfrm>
              <a:off x="336550" y="1927236"/>
              <a:ext cx="3732530" cy="0"/>
            </a:xfrm>
            <a:prstGeom prst="line">
              <a:avLst/>
            </a:prstGeom>
            <a:noFill/>
            <a:ln w="19050">
              <a:solidFill>
                <a:srgbClr val="868282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Text Box 52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323851" y="1927236"/>
              <a:ext cx="2627168" cy="7372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90000" rIns="0" bIns="0">
              <a:spAutoFit/>
            </a:bodyPr>
            <a:lstStyle/>
            <a:p>
              <a:pPr algn="l" defTabSz="801688" eaLnBrk="1" hangingPunct="1">
                <a:spcBef>
                  <a:spcPct val="20000"/>
                </a:spcBef>
              </a:pPr>
              <a:r>
                <a:rPr lang="en-GB" sz="1400" noProof="1">
                  <a:cs typeface="Arial" charset="0"/>
                </a:rPr>
                <a:t>This is placeholder text. </a:t>
              </a:r>
              <a:br>
                <a:rPr lang="en-GB" sz="1400" noProof="1">
                  <a:cs typeface="Arial" charset="0"/>
                </a:rPr>
              </a:br>
              <a:r>
                <a:rPr lang="en-GB" sz="1400" noProof="1">
                  <a:cs typeface="Arial" charset="0"/>
                </a:rPr>
                <a:t>All phrases can be replaced </a:t>
              </a:r>
              <a:r>
                <a:rPr lang="en-GB" sz="1400" noProof="1" smtClean="0">
                  <a:cs typeface="Arial" charset="0"/>
                </a:rPr>
                <a:t/>
              </a:r>
              <a:br>
                <a:rPr lang="en-GB" sz="1400" noProof="1" smtClean="0">
                  <a:cs typeface="Arial" charset="0"/>
                </a:rPr>
              </a:br>
              <a:r>
                <a:rPr lang="en-GB" sz="1400" noProof="1" smtClean="0">
                  <a:cs typeface="Arial" charset="0"/>
                </a:rPr>
                <a:t>with </a:t>
              </a:r>
              <a:r>
                <a:rPr lang="en-GB" sz="1400" noProof="1">
                  <a:cs typeface="Arial" charset="0"/>
                </a:rPr>
                <a:t>your own text.</a:t>
              </a:r>
            </a:p>
          </p:txBody>
        </p:sp>
        <p:sp>
          <p:nvSpPr>
            <p:cNvPr id="51" name="Text Box 19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323850" y="1555750"/>
              <a:ext cx="2617788" cy="3678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90000">
              <a:spAutoFit/>
            </a:bodyPr>
            <a:lstStyle/>
            <a:p>
              <a:pPr algn="l" defTabSz="801688" eaLnBrk="1" hangingPunct="1">
                <a:spcBef>
                  <a:spcPct val="20000"/>
                </a:spcBef>
              </a:pPr>
              <a:r>
                <a:rPr lang="en-GB" b="1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Placeholder text</a:t>
              </a:r>
            </a:p>
          </p:txBody>
        </p:sp>
      </p:grpSp>
      <p:grpSp>
        <p:nvGrpSpPr>
          <p:cNvPr id="52" name="Gruppieren 51"/>
          <p:cNvGrpSpPr/>
          <p:nvPr/>
        </p:nvGrpSpPr>
        <p:grpSpPr bwMode="gray">
          <a:xfrm>
            <a:off x="5120641" y="1555750"/>
            <a:ext cx="3699510" cy="1105088"/>
            <a:chOff x="5120641" y="1555750"/>
            <a:chExt cx="3699510" cy="1105088"/>
          </a:xfrm>
        </p:grpSpPr>
        <p:sp>
          <p:nvSpPr>
            <p:cNvPr id="53" name="Text Box 46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6209606" y="1923628"/>
              <a:ext cx="2610543" cy="7372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90000" rIns="0" bIns="0">
              <a:spAutoFit/>
            </a:bodyPr>
            <a:lstStyle/>
            <a:p>
              <a:pPr marL="177800" indent="-177800" algn="r" defTabSz="801688">
                <a:spcBef>
                  <a:spcPct val="20000"/>
                </a:spcBef>
              </a:pPr>
              <a:r>
                <a:rPr lang="en-US" sz="1400" noProof="1" smtClean="0">
                  <a:cs typeface="Arial" charset="0"/>
                </a:rPr>
                <a:t>This is placeholder text. </a:t>
              </a:r>
              <a:br>
                <a:rPr lang="en-US" sz="1400" noProof="1" smtClean="0">
                  <a:cs typeface="Arial" charset="0"/>
                </a:rPr>
              </a:br>
              <a:r>
                <a:rPr lang="en-US" sz="1400" noProof="1" smtClean="0">
                  <a:cs typeface="Arial" charset="0"/>
                </a:rPr>
                <a:t>All phrases can be replaced </a:t>
              </a:r>
              <a:br>
                <a:rPr lang="en-US" sz="1400" noProof="1" smtClean="0">
                  <a:cs typeface="Arial" charset="0"/>
                </a:rPr>
              </a:br>
              <a:r>
                <a:rPr lang="en-US" sz="1400" noProof="1" smtClean="0">
                  <a:cs typeface="Arial" charset="0"/>
                </a:rPr>
                <a:t>with your own text.</a:t>
              </a:r>
            </a:p>
          </p:txBody>
        </p:sp>
        <p:sp>
          <p:nvSpPr>
            <p:cNvPr id="54" name="_color1" descr="© INSCALE GmbH, 26.05.2010&#10;http://www.presentationload.com/"/>
            <p:cNvSpPr>
              <a:spLocks noChangeShapeType="1"/>
            </p:cNvSpPr>
            <p:nvPr/>
          </p:nvSpPr>
          <p:spPr bwMode="gray">
            <a:xfrm>
              <a:off x="5120641" y="1923628"/>
              <a:ext cx="3699510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55" name="_color1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6202363" y="1555750"/>
              <a:ext cx="2617787" cy="3678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90000">
              <a:spAutoFit/>
            </a:bodyPr>
            <a:lstStyle/>
            <a:p>
              <a:pPr algn="r" defTabSz="801688" eaLnBrk="1" hangingPunct="1">
                <a:spcBef>
                  <a:spcPct val="20000"/>
                </a:spcBef>
              </a:pPr>
              <a:r>
                <a:rPr lang="en-GB" b="1" noProof="1">
                  <a:solidFill>
                    <a:srgbClr val="0070C0"/>
                  </a:solidFill>
                  <a:cs typeface="Arial" charset="0"/>
                </a:rPr>
                <a:t>Placeholder text</a:t>
              </a:r>
            </a:p>
          </p:txBody>
        </p:sp>
      </p:grpSp>
      <p:grpSp>
        <p:nvGrpSpPr>
          <p:cNvPr id="56" name="Gruppieren 55"/>
          <p:cNvGrpSpPr/>
          <p:nvPr/>
        </p:nvGrpSpPr>
        <p:grpSpPr bwMode="gray">
          <a:xfrm>
            <a:off x="323850" y="4358671"/>
            <a:ext cx="2735234" cy="1320531"/>
            <a:chOff x="323850" y="4358671"/>
            <a:chExt cx="2735234" cy="1320531"/>
          </a:xfrm>
        </p:grpSpPr>
        <p:sp>
          <p:nvSpPr>
            <p:cNvPr id="57" name="Text Box 46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323850" y="4726549"/>
              <a:ext cx="2735234" cy="9526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90000" rIns="0" bIns="0">
              <a:spAutoFit/>
            </a:bodyPr>
            <a:lstStyle/>
            <a:p>
              <a:pPr defTabSz="801688" eaLnBrk="1" hangingPunct="1">
                <a:spcBef>
                  <a:spcPct val="20000"/>
                </a:spcBef>
              </a:pPr>
              <a:r>
                <a:rPr lang="en-GB" sz="1400" noProof="1">
                  <a:cs typeface="Arial" charset="0"/>
                </a:rPr>
                <a:t>The text demonstrates how </a:t>
              </a:r>
              <a:r>
                <a:rPr lang="en-GB" sz="1400" noProof="1" smtClean="0">
                  <a:cs typeface="Arial" charset="0"/>
                </a:rPr>
                <a:t/>
              </a:r>
              <a:br>
                <a:rPr lang="en-GB" sz="1400" noProof="1" smtClean="0">
                  <a:cs typeface="Arial" charset="0"/>
                </a:rPr>
              </a:br>
              <a:r>
                <a:rPr lang="en-GB" sz="1400" noProof="1" smtClean="0">
                  <a:cs typeface="Arial" charset="0"/>
                </a:rPr>
                <a:t>your </a:t>
              </a:r>
              <a:r>
                <a:rPr lang="en-GB" sz="1400" noProof="1">
                  <a:cs typeface="Arial" charset="0"/>
                </a:rPr>
                <a:t>own text will look when </a:t>
              </a:r>
              <a:r>
                <a:rPr lang="en-GB" sz="1400" noProof="1" smtClean="0">
                  <a:cs typeface="Arial" charset="0"/>
                </a:rPr>
                <a:t/>
              </a:r>
              <a:br>
                <a:rPr lang="en-GB" sz="1400" noProof="1" smtClean="0">
                  <a:cs typeface="Arial" charset="0"/>
                </a:rPr>
              </a:br>
              <a:r>
                <a:rPr lang="en-GB" sz="1400" noProof="1" smtClean="0">
                  <a:cs typeface="Arial" charset="0"/>
                </a:rPr>
                <a:t>you </a:t>
              </a:r>
              <a:r>
                <a:rPr lang="en-GB" sz="1400" noProof="1">
                  <a:cs typeface="Arial" charset="0"/>
                </a:rPr>
                <a:t>replace the placeholder </a:t>
              </a:r>
              <a:r>
                <a:rPr lang="en-GB" sz="1400" noProof="1" smtClean="0">
                  <a:cs typeface="Arial" charset="0"/>
                </a:rPr>
                <a:t/>
              </a:r>
              <a:br>
                <a:rPr lang="en-GB" sz="1400" noProof="1" smtClean="0">
                  <a:cs typeface="Arial" charset="0"/>
                </a:rPr>
              </a:br>
              <a:r>
                <a:rPr lang="en-GB" sz="1400" noProof="1" smtClean="0">
                  <a:cs typeface="Arial" charset="0"/>
                </a:rPr>
                <a:t>with </a:t>
              </a:r>
              <a:r>
                <a:rPr lang="en-GB" sz="1400" noProof="1">
                  <a:cs typeface="Arial" charset="0"/>
                </a:rPr>
                <a:t>your own text.</a:t>
              </a:r>
            </a:p>
          </p:txBody>
        </p:sp>
        <p:sp>
          <p:nvSpPr>
            <p:cNvPr id="58" name="Line 45" descr="© INSCALE GmbH, 26.05.2010&#10;http://www.presentationload.com/"/>
            <p:cNvSpPr>
              <a:spLocks noChangeShapeType="1"/>
            </p:cNvSpPr>
            <p:nvPr/>
          </p:nvSpPr>
          <p:spPr bwMode="gray">
            <a:xfrm>
              <a:off x="323850" y="4726549"/>
              <a:ext cx="2686049" cy="0"/>
            </a:xfrm>
            <a:prstGeom prst="line">
              <a:avLst/>
            </a:prstGeom>
            <a:noFill/>
            <a:ln w="19050">
              <a:solidFill>
                <a:srgbClr val="868282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Text Box 20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323850" y="4358671"/>
              <a:ext cx="2617787" cy="3678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90000">
              <a:spAutoFit/>
            </a:bodyPr>
            <a:lstStyle/>
            <a:p>
              <a:pPr defTabSz="801688" eaLnBrk="1" hangingPunct="1">
                <a:spcBef>
                  <a:spcPct val="20000"/>
                </a:spcBef>
              </a:pPr>
              <a:r>
                <a:rPr lang="en-GB" b="1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Placeholder text</a:t>
              </a:r>
            </a:p>
          </p:txBody>
        </p:sp>
      </p:grpSp>
      <p:grpSp>
        <p:nvGrpSpPr>
          <p:cNvPr id="61" name="Gruppieren 60"/>
          <p:cNvGrpSpPr/>
          <p:nvPr/>
        </p:nvGrpSpPr>
        <p:grpSpPr bwMode="gray">
          <a:xfrm>
            <a:off x="6109854" y="4358671"/>
            <a:ext cx="2710296" cy="1320531"/>
            <a:chOff x="6109854" y="4358671"/>
            <a:chExt cx="2710296" cy="1320531"/>
          </a:xfrm>
        </p:grpSpPr>
        <p:sp>
          <p:nvSpPr>
            <p:cNvPr id="62" name="Text Box 46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6109854" y="4726549"/>
              <a:ext cx="2710295" cy="9526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90000" rIns="0" bIns="0">
              <a:spAutoFit/>
            </a:bodyPr>
            <a:lstStyle/>
            <a:p>
              <a:pPr marL="177800" indent="-177800" algn="r" defTabSz="801688" eaLnBrk="1" hangingPunct="1">
                <a:spcBef>
                  <a:spcPct val="20000"/>
                </a:spcBef>
              </a:pPr>
              <a:r>
                <a:rPr lang="en-GB" sz="1400" noProof="1">
                  <a:cs typeface="Arial" charset="0"/>
                </a:rPr>
                <a:t>The text demonstrates how </a:t>
              </a:r>
              <a:r>
                <a:rPr lang="en-GB" sz="1400" noProof="1" smtClean="0">
                  <a:cs typeface="Arial" charset="0"/>
                </a:rPr>
                <a:t/>
              </a:r>
              <a:br>
                <a:rPr lang="en-GB" sz="1400" noProof="1" smtClean="0">
                  <a:cs typeface="Arial" charset="0"/>
                </a:rPr>
              </a:br>
              <a:r>
                <a:rPr lang="en-GB" sz="1400" noProof="1" smtClean="0">
                  <a:cs typeface="Arial" charset="0"/>
                </a:rPr>
                <a:t>your </a:t>
              </a:r>
              <a:r>
                <a:rPr lang="en-GB" sz="1400" noProof="1">
                  <a:cs typeface="Arial" charset="0"/>
                </a:rPr>
                <a:t>own text will look when </a:t>
              </a:r>
              <a:r>
                <a:rPr lang="en-GB" sz="1400" noProof="1" smtClean="0">
                  <a:cs typeface="Arial" charset="0"/>
                </a:rPr>
                <a:t/>
              </a:r>
              <a:br>
                <a:rPr lang="en-GB" sz="1400" noProof="1" smtClean="0">
                  <a:cs typeface="Arial" charset="0"/>
                </a:rPr>
              </a:br>
              <a:r>
                <a:rPr lang="en-GB" sz="1400" noProof="1" smtClean="0">
                  <a:cs typeface="Arial" charset="0"/>
                </a:rPr>
                <a:t>you </a:t>
              </a:r>
              <a:r>
                <a:rPr lang="en-GB" sz="1400" noProof="1">
                  <a:cs typeface="Arial" charset="0"/>
                </a:rPr>
                <a:t>replace the placeholder </a:t>
              </a:r>
              <a:r>
                <a:rPr lang="en-GB" sz="1400" noProof="1" smtClean="0">
                  <a:cs typeface="Arial" charset="0"/>
                </a:rPr>
                <a:t/>
              </a:r>
              <a:br>
                <a:rPr lang="en-GB" sz="1400" noProof="1" smtClean="0">
                  <a:cs typeface="Arial" charset="0"/>
                </a:rPr>
              </a:br>
              <a:r>
                <a:rPr lang="en-GB" sz="1400" noProof="1" smtClean="0">
                  <a:cs typeface="Arial" charset="0"/>
                </a:rPr>
                <a:t>with </a:t>
              </a:r>
              <a:r>
                <a:rPr lang="en-GB" sz="1400" noProof="1">
                  <a:cs typeface="Arial" charset="0"/>
                </a:rPr>
                <a:t>your own text.</a:t>
              </a:r>
            </a:p>
          </p:txBody>
        </p:sp>
        <p:sp>
          <p:nvSpPr>
            <p:cNvPr id="64" name="Line 45" descr="© INSCALE GmbH, 26.05.2010&#10;http://www.presentationload.com/"/>
            <p:cNvSpPr>
              <a:spLocks noChangeShapeType="1"/>
            </p:cNvSpPr>
            <p:nvPr/>
          </p:nvSpPr>
          <p:spPr bwMode="gray">
            <a:xfrm>
              <a:off x="6115050" y="4726549"/>
              <a:ext cx="2705100" cy="0"/>
            </a:xfrm>
            <a:prstGeom prst="line">
              <a:avLst/>
            </a:prstGeom>
            <a:noFill/>
            <a:ln w="19050">
              <a:solidFill>
                <a:srgbClr val="868282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Text Box 20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6202363" y="4358671"/>
              <a:ext cx="2617787" cy="3678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90000">
              <a:spAutoFit/>
            </a:bodyPr>
            <a:lstStyle/>
            <a:p>
              <a:pPr algn="r" defTabSz="801688" eaLnBrk="1" hangingPunct="1">
                <a:spcBef>
                  <a:spcPct val="20000"/>
                </a:spcBef>
              </a:pPr>
              <a:r>
                <a:rPr lang="en-GB" b="1" noProof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Placeholder 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00337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Circle Diagram - Arrow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/>
              <a:t>Placeholder for your own sub headline</a:t>
            </a:r>
          </a:p>
        </p:txBody>
      </p:sp>
      <p:sp>
        <p:nvSpPr>
          <p:cNvPr id="15" name="Text Box 23" descr="© INSCALE GmbH, 26.05.2010&#10;http://www.presentationload.com/"/>
          <p:cNvSpPr txBox="1">
            <a:spLocks noChangeArrowheads="1"/>
          </p:cNvSpPr>
          <p:nvPr/>
        </p:nvSpPr>
        <p:spPr bwMode="gray">
          <a:xfrm>
            <a:off x="2674143" y="1562100"/>
            <a:ext cx="379571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7800" indent="-177800" algn="ctr" defTabSz="801688" eaLnBrk="1" hangingPunct="1">
              <a:spcBef>
                <a:spcPct val="20000"/>
              </a:spcBef>
            </a:pPr>
            <a:r>
              <a:rPr lang="en-GB" sz="1400" noProof="1">
                <a:cs typeface="Arial" charset="0"/>
              </a:rPr>
              <a:t>This is </a:t>
            </a:r>
            <a:r>
              <a:rPr lang="en-GB" sz="1400" noProof="1" smtClean="0">
                <a:cs typeface="Arial" charset="0"/>
              </a:rPr>
              <a:t>placeholder text</a:t>
            </a:r>
            <a:r>
              <a:rPr lang="en-GB" sz="1400" noProof="1">
                <a:cs typeface="Arial" charset="0"/>
              </a:rPr>
              <a:t>. </a:t>
            </a:r>
          </a:p>
        </p:txBody>
      </p:sp>
      <p:grpSp>
        <p:nvGrpSpPr>
          <p:cNvPr id="16" name="Gruppieren 15"/>
          <p:cNvGrpSpPr/>
          <p:nvPr/>
        </p:nvGrpSpPr>
        <p:grpSpPr bwMode="gray">
          <a:xfrm>
            <a:off x="2679700" y="1645920"/>
            <a:ext cx="4023438" cy="4211955"/>
            <a:chOff x="2679700" y="1645920"/>
            <a:chExt cx="4023438" cy="4211955"/>
          </a:xfrm>
        </p:grpSpPr>
        <p:pic>
          <p:nvPicPr>
            <p:cNvPr id="17" name="Picture 7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gray">
            <a:xfrm>
              <a:off x="2679700" y="5416550"/>
              <a:ext cx="3786188" cy="441325"/>
            </a:xfrm>
            <a:prstGeom prst="rect">
              <a:avLst/>
            </a:prstGeom>
            <a:noFill/>
            <a:ln w="9525">
              <a:miter lim="800000"/>
              <a:headEnd/>
              <a:tailEnd/>
            </a:ln>
            <a:effectLst/>
          </p:spPr>
        </p:pic>
        <p:grpSp>
          <p:nvGrpSpPr>
            <p:cNvPr id="18" name="Gruppieren 33"/>
            <p:cNvGrpSpPr/>
            <p:nvPr/>
          </p:nvGrpSpPr>
          <p:grpSpPr bwMode="gray">
            <a:xfrm>
              <a:off x="3575744" y="2681974"/>
              <a:ext cx="1990490" cy="1988467"/>
              <a:chOff x="3575744" y="2681974"/>
              <a:chExt cx="1990490" cy="1988467"/>
            </a:xfrm>
          </p:grpSpPr>
          <p:sp>
            <p:nvSpPr>
              <p:cNvPr id="27" name="Oval 7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575744" y="2681974"/>
                <a:ext cx="1990490" cy="1988467"/>
              </a:xfrm>
              <a:prstGeom prst="ellipse">
                <a:avLst/>
              </a:prstGeom>
              <a:gradFill flip="none" rotWithShape="1">
                <a:gsLst>
                  <a:gs pos="0">
                    <a:srgbClr val="FFFFFF"/>
                  </a:gs>
                  <a:gs pos="100000">
                    <a:srgbClr val="D7D7D7"/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288000" tIns="0" rIns="0" bIns="0" anchor="ctr"/>
              <a:lstStyle/>
              <a:p>
                <a:pPr defTabSz="801688" eaLnBrk="0" hangingPunct="0">
                  <a:defRPr/>
                </a:pPr>
                <a:endParaRPr lang="de-DE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pic>
            <p:nvPicPr>
              <p:cNvPr id="28" name="Picture 7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gray">
              <a:xfrm>
                <a:off x="3974248" y="2734567"/>
                <a:ext cx="1197530" cy="69586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9" name="Text Box 36" descr="© INSCALE GmbH, 26.05.2010&#10;http://www.presentationload.com/"/>
              <p:cNvSpPr txBox="1">
                <a:spLocks noChangeArrowheads="1"/>
              </p:cNvSpPr>
              <p:nvPr/>
            </p:nvSpPr>
            <p:spPr bwMode="gray">
              <a:xfrm>
                <a:off x="3941008" y="3368431"/>
                <a:ext cx="1259960" cy="61555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0">
                <a:spAutoFit/>
              </a:bodyPr>
              <a:lstStyle/>
              <a:p>
                <a:pPr algn="ctr"/>
                <a:r>
                  <a:rPr lang="de-DE" sz="2000" b="1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a:rPr>
                  <a:t>Placeholder</a:t>
                </a:r>
              </a:p>
              <a:p>
                <a:pPr algn="ctr"/>
                <a:r>
                  <a:rPr lang="de-DE" sz="2000" b="1" noProof="1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a:rPr>
                  <a:t>text</a:t>
                </a:r>
              </a:p>
            </p:txBody>
          </p:sp>
          <p:sp>
            <p:nvSpPr>
              <p:cNvPr id="30" name="Freeform 6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595613" y="3546847"/>
                <a:ext cx="1953826" cy="1110225"/>
              </a:xfrm>
              <a:custGeom>
                <a:avLst/>
                <a:gdLst>
                  <a:gd name="T0" fmla="*/ 2147483647 w 412"/>
                  <a:gd name="T1" fmla="*/ 2147483647 h 234"/>
                  <a:gd name="T2" fmla="*/ 54299726 w 412"/>
                  <a:gd name="T3" fmla="*/ 0 h 234"/>
                  <a:gd name="T4" fmla="*/ 0 w 412"/>
                  <a:gd name="T5" fmla="*/ 1479354888 h 234"/>
                  <a:gd name="T6" fmla="*/ 2147483647 w 412"/>
                  <a:gd name="T7" fmla="*/ 2147483647 h 234"/>
                  <a:gd name="T8" fmla="*/ 2147483647 w 412"/>
                  <a:gd name="T9" fmla="*/ 1479354888 h 234"/>
                  <a:gd name="T10" fmla="*/ 2147483647 w 412"/>
                  <a:gd name="T11" fmla="*/ 0 h 234"/>
                  <a:gd name="T12" fmla="*/ 2147483647 w 412"/>
                  <a:gd name="T13" fmla="*/ 2147483647 h 23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12"/>
                  <a:gd name="T22" fmla="*/ 0 h 234"/>
                  <a:gd name="T23" fmla="*/ 412 w 412"/>
                  <a:gd name="T24" fmla="*/ 234 h 23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12" h="234">
                    <a:moveTo>
                      <a:pt x="206" y="179"/>
                    </a:moveTo>
                    <a:cubicBezTo>
                      <a:pt x="101" y="179"/>
                      <a:pt x="15" y="101"/>
                      <a:pt x="1" y="0"/>
                    </a:cubicBezTo>
                    <a:cubicBezTo>
                      <a:pt x="0" y="9"/>
                      <a:pt x="0" y="18"/>
                      <a:pt x="0" y="27"/>
                    </a:cubicBezTo>
                    <a:cubicBezTo>
                      <a:pt x="0" y="141"/>
                      <a:pt x="92" y="234"/>
                      <a:pt x="206" y="234"/>
                    </a:cubicBezTo>
                    <a:cubicBezTo>
                      <a:pt x="320" y="234"/>
                      <a:pt x="412" y="141"/>
                      <a:pt x="412" y="27"/>
                    </a:cubicBezTo>
                    <a:cubicBezTo>
                      <a:pt x="412" y="18"/>
                      <a:pt x="411" y="9"/>
                      <a:pt x="410" y="0"/>
                    </a:cubicBezTo>
                    <a:cubicBezTo>
                      <a:pt x="397" y="101"/>
                      <a:pt x="310" y="179"/>
                      <a:pt x="206" y="179"/>
                    </a:cubicBezTo>
                    <a:close/>
                  </a:path>
                </a:pathLst>
              </a:custGeom>
              <a:solidFill>
                <a:srgbClr val="D1D1D1"/>
              </a:solidFill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/>
                <a:endParaRPr lang="de-DE" noProof="1"/>
              </a:p>
            </p:txBody>
          </p:sp>
        </p:grpSp>
        <p:grpSp>
          <p:nvGrpSpPr>
            <p:cNvPr id="19" name="Gruppieren 18"/>
            <p:cNvGrpSpPr/>
            <p:nvPr/>
          </p:nvGrpSpPr>
          <p:grpSpPr bwMode="gray">
            <a:xfrm>
              <a:off x="2750819" y="1645920"/>
              <a:ext cx="3952319" cy="4076189"/>
              <a:chOff x="2769451" y="1627596"/>
              <a:chExt cx="3964168" cy="4102133"/>
            </a:xfrm>
          </p:grpSpPr>
          <p:sp>
            <p:nvSpPr>
              <p:cNvPr id="20" name="Freeform 18" descr="© INSCALE GmbH, 26.05.2010&#10;http://www.presentationload.com/"/>
              <p:cNvSpPr>
                <a:spLocks/>
              </p:cNvSpPr>
              <p:nvPr>
                <p:custDataLst>
                  <p:tags r:id="rId1"/>
                </p:custDataLst>
              </p:nvPr>
            </p:nvSpPr>
            <p:spPr bwMode="gray">
              <a:xfrm rot="2348054">
                <a:off x="3737605" y="1627596"/>
                <a:ext cx="1800097" cy="1432370"/>
              </a:xfrm>
              <a:custGeom>
                <a:avLst/>
                <a:gdLst/>
                <a:ahLst/>
                <a:cxnLst>
                  <a:cxn ang="0">
                    <a:pos x="90" y="237"/>
                  </a:cxn>
                  <a:cxn ang="0">
                    <a:pos x="109" y="193"/>
                  </a:cxn>
                  <a:cxn ang="0">
                    <a:pos x="254" y="96"/>
                  </a:cxn>
                  <a:cxn ang="0">
                    <a:pos x="297" y="47"/>
                  </a:cxn>
                  <a:cxn ang="0">
                    <a:pos x="256" y="0"/>
                  </a:cxn>
                  <a:cxn ang="0">
                    <a:pos x="0" y="209"/>
                  </a:cxn>
                  <a:cxn ang="0">
                    <a:pos x="58" y="184"/>
                  </a:cxn>
                  <a:cxn ang="0">
                    <a:pos x="90" y="237"/>
                  </a:cxn>
                </a:cxnLst>
                <a:rect l="0" t="0" r="r" b="b"/>
                <a:pathLst>
                  <a:path w="297" h="237">
                    <a:moveTo>
                      <a:pt x="90" y="237"/>
                    </a:moveTo>
                    <a:cubicBezTo>
                      <a:pt x="94" y="222"/>
                      <a:pt x="100" y="207"/>
                      <a:pt x="109" y="193"/>
                    </a:cubicBezTo>
                    <a:cubicBezTo>
                      <a:pt x="140" y="138"/>
                      <a:pt x="195" y="104"/>
                      <a:pt x="254" y="96"/>
                    </a:cubicBezTo>
                    <a:cubicBezTo>
                      <a:pt x="297" y="47"/>
                      <a:pt x="297" y="47"/>
                      <a:pt x="297" y="47"/>
                    </a:cubicBezTo>
                    <a:cubicBezTo>
                      <a:pt x="256" y="0"/>
                      <a:pt x="256" y="0"/>
                      <a:pt x="256" y="0"/>
                    </a:cubicBezTo>
                    <a:cubicBezTo>
                      <a:pt x="134" y="10"/>
                      <a:pt x="33" y="95"/>
                      <a:pt x="0" y="209"/>
                    </a:cubicBezTo>
                    <a:cubicBezTo>
                      <a:pt x="58" y="184"/>
                      <a:pt x="58" y="184"/>
                      <a:pt x="58" y="184"/>
                    </a:cubicBezTo>
                    <a:lnTo>
                      <a:pt x="90" y="237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FFFFF"/>
                  </a:gs>
                  <a:gs pos="100000">
                    <a:srgbClr val="D7D7D7"/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288000" tIns="0" rIns="0" bIns="0" anchor="ctr"/>
              <a:lstStyle/>
              <a:p>
                <a:pPr defTabSz="801688" eaLnBrk="0" hangingPunct="0">
                  <a:defRPr/>
                </a:pPr>
                <a:endParaRPr lang="en-GB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1" name="_color1" descr="© INSCALE GmbH, 26.05.2010&#10;http://www.presentationload.com/"/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gray">
              <a:xfrm rot="2348054">
                <a:off x="2807376" y="2233313"/>
                <a:ext cx="1107999" cy="2018485"/>
              </a:xfrm>
              <a:custGeom>
                <a:avLst/>
                <a:gdLst/>
                <a:ahLst/>
                <a:cxnLst>
                  <a:cxn ang="0">
                    <a:pos x="183" y="257"/>
                  </a:cxn>
                  <a:cxn ang="0">
                    <a:pos x="98" y="56"/>
                  </a:cxn>
                  <a:cxn ang="0">
                    <a:pos x="65" y="0"/>
                  </a:cxn>
                  <a:cxn ang="0">
                    <a:pos x="8" y="25"/>
                  </a:cxn>
                  <a:cxn ang="0">
                    <a:pos x="0" y="92"/>
                  </a:cxn>
                  <a:cxn ang="0">
                    <a:pos x="127" y="333"/>
                  </a:cxn>
                  <a:cxn ang="0">
                    <a:pos x="121" y="271"/>
                  </a:cxn>
                  <a:cxn ang="0">
                    <a:pos x="183" y="257"/>
                  </a:cxn>
                </a:cxnLst>
                <a:rect l="0" t="0" r="r" b="b"/>
                <a:pathLst>
                  <a:path w="183" h="333">
                    <a:moveTo>
                      <a:pt x="183" y="257"/>
                    </a:moveTo>
                    <a:cubicBezTo>
                      <a:pt x="116" y="212"/>
                      <a:pt x="84" y="132"/>
                      <a:pt x="98" y="56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3" y="47"/>
                      <a:pt x="0" y="69"/>
                      <a:pt x="0" y="92"/>
                    </a:cubicBezTo>
                    <a:cubicBezTo>
                      <a:pt x="0" y="192"/>
                      <a:pt x="50" y="280"/>
                      <a:pt x="127" y="333"/>
                    </a:cubicBezTo>
                    <a:cubicBezTo>
                      <a:pt x="121" y="271"/>
                      <a:pt x="121" y="271"/>
                      <a:pt x="121" y="271"/>
                    </a:cubicBezTo>
                    <a:lnTo>
                      <a:pt x="183" y="257"/>
                    </a:lnTo>
                    <a:close/>
                  </a:path>
                </a:pathLst>
              </a:custGeom>
              <a:gradFill>
                <a:gsLst>
                  <a:gs pos="0">
                    <a:schemeClr val="tx2">
                      <a:lumMod val="60000"/>
                      <a:lumOff val="40000"/>
                    </a:schemeClr>
                  </a:gs>
                  <a:gs pos="100000">
                    <a:srgbClr val="0070C0"/>
                  </a:gs>
                </a:gsLst>
                <a:lin ang="126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288000" tIns="0" rIns="0" bIns="0" anchor="ctr"/>
              <a:lstStyle/>
              <a:p>
                <a:pPr defTabSz="801688" eaLnBrk="0" hangingPunct="0">
                  <a:defRPr/>
                </a:pPr>
                <a:endParaRPr lang="en-GB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22" name="Freeform 20" descr="© INSCALE GmbH, 26.05.2010&#10;http://www.presentationload.com/"/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gray">
              <a:xfrm rot="2348054">
                <a:off x="5050745" y="2635232"/>
                <a:ext cx="1682874" cy="1413100"/>
              </a:xfrm>
              <a:custGeom>
                <a:avLst/>
                <a:gdLst/>
                <a:ahLst/>
                <a:cxnLst>
                  <a:cxn ang="0">
                    <a:pos x="0" y="95"/>
                  </a:cxn>
                  <a:cxn ang="0">
                    <a:pos x="107" y="121"/>
                  </a:cxn>
                  <a:cxn ang="0">
                    <a:pos x="186" y="208"/>
                  </a:cxn>
                  <a:cxn ang="0">
                    <a:pos x="246" y="233"/>
                  </a:cxn>
                  <a:cxn ang="0">
                    <a:pos x="278" y="181"/>
                  </a:cxn>
                  <a:cxn ang="0">
                    <a:pos x="7" y="0"/>
                  </a:cxn>
                  <a:cxn ang="0">
                    <a:pos x="0" y="1"/>
                  </a:cxn>
                  <a:cxn ang="0">
                    <a:pos x="41" y="48"/>
                  </a:cxn>
                  <a:cxn ang="0">
                    <a:pos x="0" y="95"/>
                  </a:cxn>
                </a:cxnLst>
                <a:rect l="0" t="0" r="r" b="b"/>
                <a:pathLst>
                  <a:path w="278" h="233">
                    <a:moveTo>
                      <a:pt x="0" y="95"/>
                    </a:moveTo>
                    <a:cubicBezTo>
                      <a:pt x="36" y="94"/>
                      <a:pt x="73" y="102"/>
                      <a:pt x="107" y="121"/>
                    </a:cubicBezTo>
                    <a:cubicBezTo>
                      <a:pt x="143" y="142"/>
                      <a:pt x="170" y="173"/>
                      <a:pt x="186" y="208"/>
                    </a:cubicBezTo>
                    <a:cubicBezTo>
                      <a:pt x="246" y="233"/>
                      <a:pt x="246" y="233"/>
                      <a:pt x="246" y="233"/>
                    </a:cubicBezTo>
                    <a:cubicBezTo>
                      <a:pt x="278" y="181"/>
                      <a:pt x="278" y="181"/>
                      <a:pt x="278" y="181"/>
                    </a:cubicBezTo>
                    <a:cubicBezTo>
                      <a:pt x="233" y="75"/>
                      <a:pt x="129" y="0"/>
                      <a:pt x="7" y="0"/>
                    </a:cubicBezTo>
                    <a:cubicBezTo>
                      <a:pt x="5" y="0"/>
                      <a:pt x="2" y="1"/>
                      <a:pt x="0" y="1"/>
                    </a:cubicBezTo>
                    <a:cubicBezTo>
                      <a:pt x="41" y="48"/>
                      <a:pt x="41" y="48"/>
                      <a:pt x="41" y="48"/>
                    </a:cubicBezTo>
                    <a:lnTo>
                      <a:pt x="0" y="95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FFFFF"/>
                  </a:gs>
                  <a:gs pos="100000">
                    <a:srgbClr val="D7D7D7"/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288000" tIns="0" rIns="0" bIns="0" anchor="ctr"/>
              <a:lstStyle/>
              <a:p>
                <a:pPr defTabSz="801688" eaLnBrk="0" hangingPunct="0">
                  <a:defRPr/>
                </a:pPr>
                <a:endParaRPr lang="en-GB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3" name="_color1" descr="© INSCALE GmbH, 26.05.2010&#10;http://www.presentationload.com/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gray">
              <a:xfrm rot="2348054">
                <a:off x="4857681" y="3796351"/>
                <a:ext cx="982747" cy="1933378"/>
              </a:xfrm>
              <a:custGeom>
                <a:avLst/>
                <a:gdLst/>
                <a:ahLst/>
                <a:cxnLst>
                  <a:cxn ang="0">
                    <a:pos x="162" y="97"/>
                  </a:cxn>
                  <a:cxn ang="0">
                    <a:pos x="146" y="0"/>
                  </a:cxn>
                  <a:cxn ang="0">
                    <a:pos x="114" y="54"/>
                  </a:cxn>
                  <a:cxn ang="0">
                    <a:pos x="56" y="29"/>
                  </a:cxn>
                  <a:cxn ang="0">
                    <a:pos x="41" y="196"/>
                  </a:cxn>
                  <a:cxn ang="0">
                    <a:pos x="6" y="241"/>
                  </a:cxn>
                  <a:cxn ang="0">
                    <a:pos x="0" y="306"/>
                  </a:cxn>
                  <a:cxn ang="0">
                    <a:pos x="60" y="319"/>
                  </a:cxn>
                  <a:cxn ang="0">
                    <a:pos x="162" y="97"/>
                  </a:cxn>
                </a:cxnLst>
                <a:rect l="0" t="0" r="r" b="b"/>
                <a:pathLst>
                  <a:path w="162" h="319">
                    <a:moveTo>
                      <a:pt x="162" y="97"/>
                    </a:moveTo>
                    <a:cubicBezTo>
                      <a:pt x="162" y="63"/>
                      <a:pt x="156" y="31"/>
                      <a:pt x="146" y="0"/>
                    </a:cubicBezTo>
                    <a:cubicBezTo>
                      <a:pt x="114" y="54"/>
                      <a:pt x="114" y="54"/>
                      <a:pt x="114" y="54"/>
                    </a:cubicBezTo>
                    <a:cubicBezTo>
                      <a:pt x="56" y="29"/>
                      <a:pt x="56" y="29"/>
                      <a:pt x="56" y="29"/>
                    </a:cubicBezTo>
                    <a:cubicBezTo>
                      <a:pt x="75" y="82"/>
                      <a:pt x="72" y="144"/>
                      <a:pt x="41" y="196"/>
                    </a:cubicBezTo>
                    <a:cubicBezTo>
                      <a:pt x="32" y="213"/>
                      <a:pt x="20" y="228"/>
                      <a:pt x="6" y="241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60" y="319"/>
                      <a:pt x="60" y="319"/>
                      <a:pt x="60" y="319"/>
                    </a:cubicBezTo>
                    <a:cubicBezTo>
                      <a:pt x="123" y="266"/>
                      <a:pt x="162" y="186"/>
                      <a:pt x="162" y="97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tx2">
                      <a:lumMod val="60000"/>
                      <a:lumOff val="40000"/>
                    </a:schemeClr>
                  </a:gs>
                  <a:gs pos="100000">
                    <a:srgbClr val="0070C0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288000" tIns="0" rIns="0" bIns="0" anchor="ctr"/>
              <a:lstStyle/>
              <a:p>
                <a:pPr defTabSz="801688" eaLnBrk="0" hangingPunct="0">
                  <a:defRPr/>
                </a:pPr>
                <a:endParaRPr lang="en-GB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24" name="_color1" descr="© INSCALE GmbH, 26.05.2010&#10;http://www.presentationload.com/"/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gray">
              <a:xfrm rot="2348054">
                <a:off x="2769451" y="4342650"/>
                <a:ext cx="2034543" cy="830196"/>
              </a:xfrm>
              <a:custGeom>
                <a:avLst/>
                <a:gdLst/>
                <a:ahLst/>
                <a:cxnLst>
                  <a:cxn ang="0">
                    <a:pos x="281" y="0"/>
                  </a:cxn>
                  <a:cxn ang="0">
                    <a:pos x="64" y="19"/>
                  </a:cxn>
                  <a:cxn ang="0">
                    <a:pos x="0" y="33"/>
                  </a:cxn>
                  <a:cxn ang="0">
                    <a:pos x="6" y="94"/>
                  </a:cxn>
                  <a:cxn ang="0">
                    <a:pos x="158" y="137"/>
                  </a:cxn>
                  <a:cxn ang="0">
                    <a:pos x="336" y="77"/>
                  </a:cxn>
                  <a:cxn ang="0">
                    <a:pos x="275" y="63"/>
                  </a:cxn>
                  <a:cxn ang="0">
                    <a:pos x="281" y="0"/>
                  </a:cxn>
                </a:cxnLst>
                <a:rect l="0" t="0" r="r" b="b"/>
                <a:pathLst>
                  <a:path w="336" h="137">
                    <a:moveTo>
                      <a:pt x="281" y="0"/>
                    </a:moveTo>
                    <a:cubicBezTo>
                      <a:pt x="220" y="48"/>
                      <a:pt x="135" y="57"/>
                      <a:pt x="64" y="19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6" y="94"/>
                      <a:pt x="6" y="94"/>
                      <a:pt x="6" y="94"/>
                    </a:cubicBezTo>
                    <a:cubicBezTo>
                      <a:pt x="50" y="122"/>
                      <a:pt x="102" y="137"/>
                      <a:pt x="158" y="137"/>
                    </a:cubicBezTo>
                    <a:cubicBezTo>
                      <a:pt x="225" y="137"/>
                      <a:pt x="287" y="115"/>
                      <a:pt x="336" y="77"/>
                    </a:cubicBezTo>
                    <a:cubicBezTo>
                      <a:pt x="275" y="63"/>
                      <a:pt x="275" y="63"/>
                      <a:pt x="275" y="63"/>
                    </a:cubicBezTo>
                    <a:lnTo>
                      <a:pt x="281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tx2">
                      <a:lumMod val="60000"/>
                      <a:lumOff val="40000"/>
                    </a:schemeClr>
                  </a:gs>
                  <a:gs pos="100000">
                    <a:srgbClr val="0070C0"/>
                  </a:gs>
                </a:gsLst>
                <a:lin ang="138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288000" tIns="0" rIns="0" bIns="0" anchor="ctr"/>
              <a:lstStyle/>
              <a:p>
                <a:pPr defTabSz="801688" eaLnBrk="0" hangingPunct="0">
                  <a:defRPr/>
                </a:pPr>
                <a:endParaRPr lang="en-GB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25" name="WordArt 25" descr="© INSCALE GmbH, 26.05.2010&#10;http://www.presentationload.com/"/>
              <p:cNvSpPr>
                <a:spLocks noChangeArrowheads="1" noChangeShapeType="1" noTextEdit="1"/>
              </p:cNvSpPr>
              <p:nvPr>
                <p:custDataLst>
                  <p:tags r:id="rId6"/>
                </p:custDataLst>
              </p:nvPr>
            </p:nvSpPr>
            <p:spPr bwMode="gray">
              <a:xfrm rot="17659422">
                <a:off x="2845138" y="2833573"/>
                <a:ext cx="1493950" cy="692328"/>
              </a:xfrm>
              <a:prstGeom prst="rect">
                <a:avLst/>
              </a:prstGeom>
            </p:spPr>
            <p:txBody>
              <a:bodyPr spcFirstLastPara="1" wrap="none" fromWordArt="1">
                <a:prstTxWarp prst="textArchUp">
                  <a:avLst>
                    <a:gd name="adj" fmla="val 12826682"/>
                  </a:avLst>
                </a:prstTxWarp>
              </a:bodyPr>
              <a:lstStyle/>
              <a:p>
                <a:r>
                  <a:rPr lang="en-GB" sz="3200" kern="10" dirty="0">
                    <a:ln w="9525">
                      <a:noFill/>
                      <a:round/>
                      <a:headEnd/>
                      <a:tailEnd/>
                    </a:ln>
                    <a:solidFill>
                      <a:srgbClr val="FFFFFF"/>
                    </a:solidFill>
                    <a:latin typeface="Arial Black"/>
                  </a:rPr>
                  <a:t>Placeholder</a:t>
                </a:r>
              </a:p>
            </p:txBody>
          </p:sp>
          <p:sp>
            <p:nvSpPr>
              <p:cNvPr id="26" name="WordArt 25" descr="© INSCALE GmbH, 26.05.2010&#10;http://www.presentationload.com/"/>
              <p:cNvSpPr>
                <a:spLocks noChangeArrowheads="1" noChangeShapeType="1" noTextEdit="1"/>
              </p:cNvSpPr>
              <p:nvPr>
                <p:custDataLst>
                  <p:tags r:id="rId7"/>
                </p:custDataLst>
              </p:nvPr>
            </p:nvSpPr>
            <p:spPr bwMode="gray">
              <a:xfrm rot="4538605">
                <a:off x="4953428" y="3117861"/>
                <a:ext cx="1567754" cy="611665"/>
              </a:xfrm>
              <a:prstGeom prst="rect">
                <a:avLst/>
              </a:prstGeom>
            </p:spPr>
            <p:txBody>
              <a:bodyPr spcFirstLastPara="1" wrap="none" fromWordArt="1">
                <a:prstTxWarp prst="textArchUp">
                  <a:avLst>
                    <a:gd name="adj" fmla="val 12826682"/>
                  </a:avLst>
                </a:prstTxWarp>
              </a:bodyPr>
              <a:lstStyle/>
              <a:p>
                <a:r>
                  <a:rPr lang="en-GB" sz="3600" kern="10" dirty="0">
                    <a:ln w="9525">
                      <a:noFill/>
                      <a:round/>
                      <a:headEnd/>
                      <a:tailEnd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 Black"/>
                  </a:rPr>
                  <a:t>Placeholder</a:t>
                </a:r>
              </a:p>
            </p:txBody>
          </p:sp>
        </p:grpSp>
      </p:grpSp>
      <p:grpSp>
        <p:nvGrpSpPr>
          <p:cNvPr id="31" name="Gruppieren 30"/>
          <p:cNvGrpSpPr/>
          <p:nvPr/>
        </p:nvGrpSpPr>
        <p:grpSpPr bwMode="gray">
          <a:xfrm>
            <a:off x="323850" y="2750196"/>
            <a:ext cx="2602230" cy="737210"/>
            <a:chOff x="323850" y="2750196"/>
            <a:chExt cx="2602230" cy="737210"/>
          </a:xfrm>
        </p:grpSpPr>
        <p:sp>
          <p:nvSpPr>
            <p:cNvPr id="32" name="_color1" descr="© INSCALE GmbH, 26.05.2010&#10;http://www.presentationload.com/"/>
            <p:cNvSpPr>
              <a:spLocks noChangeShapeType="1"/>
            </p:cNvSpPr>
            <p:nvPr/>
          </p:nvSpPr>
          <p:spPr bwMode="gray">
            <a:xfrm>
              <a:off x="336550" y="2750196"/>
              <a:ext cx="2589530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en-GB" sz="1600"/>
            </a:p>
          </p:txBody>
        </p:sp>
        <p:sp>
          <p:nvSpPr>
            <p:cNvPr id="33" name="Text Box 52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323850" y="2750196"/>
              <a:ext cx="2411037" cy="7372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90000" rIns="0" bIns="0">
              <a:spAutoFit/>
            </a:bodyPr>
            <a:lstStyle/>
            <a:p>
              <a:pPr algn="l" defTabSz="801688" eaLnBrk="1" hangingPunct="1">
                <a:spcBef>
                  <a:spcPct val="20000"/>
                </a:spcBef>
              </a:pPr>
              <a:r>
                <a:rPr lang="en-GB" sz="1400" noProof="1">
                  <a:cs typeface="Arial" charset="0"/>
                </a:rPr>
                <a:t>This is placeholder text. </a:t>
              </a:r>
              <a:br>
                <a:rPr lang="en-GB" sz="1400" noProof="1">
                  <a:cs typeface="Arial" charset="0"/>
                </a:rPr>
              </a:br>
              <a:r>
                <a:rPr lang="en-GB" sz="1400" noProof="1">
                  <a:cs typeface="Arial" charset="0"/>
                </a:rPr>
                <a:t>All phrases can be replaced </a:t>
              </a:r>
              <a:r>
                <a:rPr lang="en-GB" sz="1400" noProof="1" smtClean="0">
                  <a:cs typeface="Arial" charset="0"/>
                </a:rPr>
                <a:t/>
              </a:r>
              <a:br>
                <a:rPr lang="en-GB" sz="1400" noProof="1" smtClean="0">
                  <a:cs typeface="Arial" charset="0"/>
                </a:rPr>
              </a:br>
              <a:r>
                <a:rPr lang="en-GB" sz="1400" noProof="1" smtClean="0">
                  <a:cs typeface="Arial" charset="0"/>
                </a:rPr>
                <a:t>with </a:t>
              </a:r>
              <a:r>
                <a:rPr lang="en-GB" sz="1400" noProof="1">
                  <a:cs typeface="Arial" charset="0"/>
                </a:rPr>
                <a:t>your own text.</a:t>
              </a:r>
            </a:p>
          </p:txBody>
        </p:sp>
      </p:grpSp>
      <p:grpSp>
        <p:nvGrpSpPr>
          <p:cNvPr id="34" name="Gruppieren 33"/>
          <p:cNvGrpSpPr/>
          <p:nvPr/>
        </p:nvGrpSpPr>
        <p:grpSpPr bwMode="gray">
          <a:xfrm>
            <a:off x="6217919" y="2750196"/>
            <a:ext cx="2602231" cy="737210"/>
            <a:chOff x="6217919" y="2750196"/>
            <a:chExt cx="2602231" cy="737210"/>
          </a:xfrm>
        </p:grpSpPr>
        <p:sp>
          <p:nvSpPr>
            <p:cNvPr id="35" name="Text Box 46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6458988" y="2750196"/>
              <a:ext cx="2361161" cy="7372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90000" rIns="0" bIns="0">
              <a:spAutoFit/>
            </a:bodyPr>
            <a:lstStyle/>
            <a:p>
              <a:pPr marL="177800" indent="-177800" algn="r" defTabSz="801688">
                <a:spcBef>
                  <a:spcPct val="20000"/>
                </a:spcBef>
              </a:pPr>
              <a:r>
                <a:rPr lang="en-US" sz="1400" noProof="1" smtClean="0">
                  <a:cs typeface="Arial" charset="0"/>
                </a:rPr>
                <a:t>This is placeholder text. </a:t>
              </a:r>
              <a:br>
                <a:rPr lang="en-US" sz="1400" noProof="1" smtClean="0">
                  <a:cs typeface="Arial" charset="0"/>
                </a:rPr>
              </a:br>
              <a:r>
                <a:rPr lang="en-US" sz="1400" noProof="1" smtClean="0">
                  <a:cs typeface="Arial" charset="0"/>
                </a:rPr>
                <a:t>All phrases can be replaced </a:t>
              </a:r>
              <a:br>
                <a:rPr lang="en-US" sz="1400" noProof="1" smtClean="0">
                  <a:cs typeface="Arial" charset="0"/>
                </a:rPr>
              </a:br>
              <a:r>
                <a:rPr lang="en-US" sz="1400" noProof="1" smtClean="0">
                  <a:cs typeface="Arial" charset="0"/>
                </a:rPr>
                <a:t>with your own text.</a:t>
              </a:r>
            </a:p>
          </p:txBody>
        </p:sp>
        <p:sp>
          <p:nvSpPr>
            <p:cNvPr id="36" name="Line 45" descr="© INSCALE GmbH, 26.05.2010&#10;http://www.presentationload.com/"/>
            <p:cNvSpPr>
              <a:spLocks noChangeShapeType="1"/>
            </p:cNvSpPr>
            <p:nvPr/>
          </p:nvSpPr>
          <p:spPr bwMode="gray">
            <a:xfrm>
              <a:off x="6217919" y="2750196"/>
              <a:ext cx="2602231" cy="0"/>
            </a:xfrm>
            <a:prstGeom prst="line">
              <a:avLst/>
            </a:prstGeom>
            <a:noFill/>
            <a:ln w="19050">
              <a:solidFill>
                <a:srgbClr val="868282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en-GB" sz="1600"/>
            </a:p>
          </p:txBody>
        </p:sp>
      </p:grpSp>
      <p:grpSp>
        <p:nvGrpSpPr>
          <p:cNvPr id="37" name="Gruppieren 36"/>
          <p:cNvGrpSpPr/>
          <p:nvPr/>
        </p:nvGrpSpPr>
        <p:grpSpPr bwMode="gray">
          <a:xfrm>
            <a:off x="323850" y="4726549"/>
            <a:ext cx="2743546" cy="952653"/>
            <a:chOff x="323850" y="4726549"/>
            <a:chExt cx="2743546" cy="952653"/>
          </a:xfrm>
        </p:grpSpPr>
        <p:sp>
          <p:nvSpPr>
            <p:cNvPr id="38" name="Text Box 46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323850" y="4726549"/>
              <a:ext cx="2743546" cy="9526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90000" rIns="0" bIns="0">
              <a:spAutoFit/>
            </a:bodyPr>
            <a:lstStyle/>
            <a:p>
              <a:pPr defTabSz="801688" eaLnBrk="1" hangingPunct="1">
                <a:spcBef>
                  <a:spcPct val="20000"/>
                </a:spcBef>
              </a:pPr>
              <a:r>
                <a:rPr lang="en-GB" sz="1400" noProof="1">
                  <a:cs typeface="Arial" charset="0"/>
                </a:rPr>
                <a:t>The text demonstrates how </a:t>
              </a:r>
              <a:r>
                <a:rPr lang="en-GB" sz="1400" noProof="1" smtClean="0">
                  <a:cs typeface="Arial" charset="0"/>
                </a:rPr>
                <a:t/>
              </a:r>
              <a:br>
                <a:rPr lang="en-GB" sz="1400" noProof="1" smtClean="0">
                  <a:cs typeface="Arial" charset="0"/>
                </a:rPr>
              </a:br>
              <a:r>
                <a:rPr lang="en-GB" sz="1400" noProof="1" smtClean="0">
                  <a:cs typeface="Arial" charset="0"/>
                </a:rPr>
                <a:t>your </a:t>
              </a:r>
              <a:r>
                <a:rPr lang="en-GB" sz="1400" noProof="1">
                  <a:cs typeface="Arial" charset="0"/>
                </a:rPr>
                <a:t>own text will look when </a:t>
              </a:r>
              <a:r>
                <a:rPr lang="en-GB" sz="1400" noProof="1" smtClean="0">
                  <a:cs typeface="Arial" charset="0"/>
                </a:rPr>
                <a:t/>
              </a:r>
              <a:br>
                <a:rPr lang="en-GB" sz="1400" noProof="1" smtClean="0">
                  <a:cs typeface="Arial" charset="0"/>
                </a:rPr>
              </a:br>
              <a:r>
                <a:rPr lang="en-GB" sz="1400" noProof="1" smtClean="0">
                  <a:cs typeface="Arial" charset="0"/>
                </a:rPr>
                <a:t>you </a:t>
              </a:r>
              <a:r>
                <a:rPr lang="en-GB" sz="1400" noProof="1">
                  <a:cs typeface="Arial" charset="0"/>
                </a:rPr>
                <a:t>replace the placeholder </a:t>
              </a:r>
              <a:r>
                <a:rPr lang="en-GB" sz="1400" noProof="1" smtClean="0">
                  <a:cs typeface="Arial" charset="0"/>
                </a:rPr>
                <a:t/>
              </a:r>
              <a:br>
                <a:rPr lang="en-GB" sz="1400" noProof="1" smtClean="0">
                  <a:cs typeface="Arial" charset="0"/>
                </a:rPr>
              </a:br>
              <a:r>
                <a:rPr lang="en-GB" sz="1400" noProof="1" smtClean="0">
                  <a:cs typeface="Arial" charset="0"/>
                </a:rPr>
                <a:t>with </a:t>
              </a:r>
              <a:r>
                <a:rPr lang="en-GB" sz="1400" noProof="1">
                  <a:cs typeface="Arial" charset="0"/>
                </a:rPr>
                <a:t>your own text.</a:t>
              </a:r>
            </a:p>
          </p:txBody>
        </p:sp>
        <p:sp>
          <p:nvSpPr>
            <p:cNvPr id="39" name="_color1" descr="© INSCALE GmbH, 26.05.2010&#10;http://www.presentationload.com/"/>
            <p:cNvSpPr>
              <a:spLocks noChangeShapeType="1"/>
            </p:cNvSpPr>
            <p:nvPr/>
          </p:nvSpPr>
          <p:spPr bwMode="gray">
            <a:xfrm>
              <a:off x="323850" y="4726549"/>
              <a:ext cx="2686049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en-GB" sz="1600"/>
            </a:p>
          </p:txBody>
        </p:sp>
      </p:grpSp>
      <p:grpSp>
        <p:nvGrpSpPr>
          <p:cNvPr id="40" name="Gruppieren 39"/>
          <p:cNvGrpSpPr/>
          <p:nvPr/>
        </p:nvGrpSpPr>
        <p:grpSpPr bwMode="gray">
          <a:xfrm>
            <a:off x="6084916" y="4726549"/>
            <a:ext cx="2735234" cy="952653"/>
            <a:chOff x="6084916" y="4726549"/>
            <a:chExt cx="2735234" cy="952653"/>
          </a:xfrm>
        </p:grpSpPr>
        <p:sp>
          <p:nvSpPr>
            <p:cNvPr id="41" name="Text Box 46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6084916" y="4726549"/>
              <a:ext cx="2735234" cy="9526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90000" rIns="0" bIns="0">
              <a:spAutoFit/>
            </a:bodyPr>
            <a:lstStyle/>
            <a:p>
              <a:pPr marL="177800" indent="-177800" algn="r" defTabSz="801688" eaLnBrk="1" hangingPunct="1">
                <a:spcBef>
                  <a:spcPct val="20000"/>
                </a:spcBef>
              </a:pPr>
              <a:r>
                <a:rPr lang="en-GB" sz="1400" noProof="1">
                  <a:cs typeface="Arial" charset="0"/>
                </a:rPr>
                <a:t>The text demonstrates how </a:t>
              </a:r>
              <a:r>
                <a:rPr lang="en-GB" sz="1400" noProof="1" smtClean="0">
                  <a:cs typeface="Arial" charset="0"/>
                </a:rPr>
                <a:t/>
              </a:r>
              <a:br>
                <a:rPr lang="en-GB" sz="1400" noProof="1" smtClean="0">
                  <a:cs typeface="Arial" charset="0"/>
                </a:rPr>
              </a:br>
              <a:r>
                <a:rPr lang="en-GB" sz="1400" noProof="1" smtClean="0">
                  <a:cs typeface="Arial" charset="0"/>
                </a:rPr>
                <a:t>your </a:t>
              </a:r>
              <a:r>
                <a:rPr lang="en-GB" sz="1400" noProof="1">
                  <a:cs typeface="Arial" charset="0"/>
                </a:rPr>
                <a:t>own text will look when </a:t>
              </a:r>
              <a:r>
                <a:rPr lang="en-GB" sz="1400" noProof="1" smtClean="0">
                  <a:cs typeface="Arial" charset="0"/>
                </a:rPr>
                <a:t/>
              </a:r>
              <a:br>
                <a:rPr lang="en-GB" sz="1400" noProof="1" smtClean="0">
                  <a:cs typeface="Arial" charset="0"/>
                </a:rPr>
              </a:br>
              <a:r>
                <a:rPr lang="en-GB" sz="1400" noProof="1" smtClean="0">
                  <a:cs typeface="Arial" charset="0"/>
                </a:rPr>
                <a:t>you </a:t>
              </a:r>
              <a:r>
                <a:rPr lang="en-GB" sz="1400" noProof="1">
                  <a:cs typeface="Arial" charset="0"/>
                </a:rPr>
                <a:t>replace the placeholder </a:t>
              </a:r>
              <a:r>
                <a:rPr lang="en-GB" sz="1400" noProof="1" smtClean="0">
                  <a:cs typeface="Arial" charset="0"/>
                </a:rPr>
                <a:t/>
              </a:r>
              <a:br>
                <a:rPr lang="en-GB" sz="1400" noProof="1" smtClean="0">
                  <a:cs typeface="Arial" charset="0"/>
                </a:rPr>
              </a:br>
              <a:r>
                <a:rPr lang="en-GB" sz="1400" noProof="1" smtClean="0">
                  <a:cs typeface="Arial" charset="0"/>
                </a:rPr>
                <a:t>with </a:t>
              </a:r>
              <a:r>
                <a:rPr lang="en-GB" sz="1400" noProof="1">
                  <a:cs typeface="Arial" charset="0"/>
                </a:rPr>
                <a:t>your own text.</a:t>
              </a:r>
            </a:p>
          </p:txBody>
        </p:sp>
        <p:sp>
          <p:nvSpPr>
            <p:cNvPr id="42" name="_color1" descr="© INSCALE GmbH, 26.05.2010&#10;http://www.presentationload.com/"/>
            <p:cNvSpPr>
              <a:spLocks noChangeShapeType="1"/>
            </p:cNvSpPr>
            <p:nvPr/>
          </p:nvSpPr>
          <p:spPr bwMode="gray">
            <a:xfrm>
              <a:off x="6115050" y="4726549"/>
              <a:ext cx="2705100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en-GB" sz="1600"/>
            </a:p>
          </p:txBody>
        </p:sp>
      </p:grpSp>
    </p:spTree>
    <p:extLst>
      <p:ext uri="{BB962C8B-B14F-4D97-AF65-F5344CB8AC3E}">
        <p14:creationId xmlns:p14="http://schemas.microsoft.com/office/powerpoint/2010/main" val="4100337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/>
        </p:nvGrpSpPr>
        <p:grpSpPr>
          <a:xfrm>
            <a:off x="323895" y="1556864"/>
            <a:ext cx="4086540" cy="504000"/>
            <a:chOff x="323895" y="1556864"/>
            <a:chExt cx="4086540" cy="504000"/>
          </a:xfrm>
        </p:grpSpPr>
        <p:sp>
          <p:nvSpPr>
            <p:cNvPr id="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5" y="1556864"/>
              <a:ext cx="3683360" cy="503911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Agenda Slides</a:t>
              </a:r>
            </a:p>
          </p:txBody>
        </p:sp>
        <p:sp>
          <p:nvSpPr>
            <p:cNvPr id="3" name="Rechteck 2"/>
            <p:cNvSpPr/>
            <p:nvPr/>
          </p:nvSpPr>
          <p:spPr>
            <a:xfrm>
              <a:off x="323895" y="1556953"/>
              <a:ext cx="324000" cy="503911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323895" y="2180757"/>
            <a:ext cx="4086181" cy="504000"/>
            <a:chOff x="323895" y="2180757"/>
            <a:chExt cx="4086181" cy="504000"/>
          </a:xfrm>
        </p:grpSpPr>
        <p:sp>
          <p:nvSpPr>
            <p:cNvPr id="5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2180757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Gantt Charts</a:t>
              </a:r>
            </a:p>
          </p:txBody>
        </p:sp>
        <p:sp>
          <p:nvSpPr>
            <p:cNvPr id="92" name="Rechteck 91"/>
            <p:cNvSpPr/>
            <p:nvPr/>
          </p:nvSpPr>
          <p:spPr>
            <a:xfrm>
              <a:off x="323895" y="2180758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2</a:t>
              </a:r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323895" y="2804650"/>
            <a:ext cx="4086181" cy="504000"/>
            <a:chOff x="323895" y="2804650"/>
            <a:chExt cx="4086181" cy="504000"/>
          </a:xfrm>
        </p:grpSpPr>
        <p:sp>
          <p:nvSpPr>
            <p:cNvPr id="93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2804650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Funnels 3D</a:t>
              </a:r>
            </a:p>
          </p:txBody>
        </p:sp>
        <p:sp>
          <p:nvSpPr>
            <p:cNvPr id="94" name="Rechteck 93"/>
            <p:cNvSpPr/>
            <p:nvPr/>
          </p:nvSpPr>
          <p:spPr>
            <a:xfrm>
              <a:off x="323895" y="2804651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3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323895" y="3428543"/>
            <a:ext cx="4086181" cy="504000"/>
            <a:chOff x="323895" y="3428543"/>
            <a:chExt cx="4086181" cy="504000"/>
          </a:xfrm>
        </p:grpSpPr>
        <p:sp>
          <p:nvSpPr>
            <p:cNvPr id="9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3428543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Pie / Donut Charts</a:t>
              </a:r>
            </a:p>
          </p:txBody>
        </p:sp>
        <p:sp>
          <p:nvSpPr>
            <p:cNvPr id="96" name="Rechteck 95"/>
            <p:cNvSpPr/>
            <p:nvPr/>
          </p:nvSpPr>
          <p:spPr>
            <a:xfrm>
              <a:off x="323895" y="3428544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4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" name="Gruppieren 11"/>
          <p:cNvGrpSpPr/>
          <p:nvPr/>
        </p:nvGrpSpPr>
        <p:grpSpPr>
          <a:xfrm>
            <a:off x="323895" y="4052436"/>
            <a:ext cx="4086181" cy="504000"/>
            <a:chOff x="323895" y="4052436"/>
            <a:chExt cx="4086181" cy="504000"/>
          </a:xfrm>
        </p:grpSpPr>
        <p:sp>
          <p:nvSpPr>
            <p:cNvPr id="9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4052436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Overlapping Text Boxes</a:t>
              </a:r>
            </a:p>
          </p:txBody>
        </p:sp>
        <p:sp>
          <p:nvSpPr>
            <p:cNvPr id="98" name="Rechteck 97"/>
            <p:cNvSpPr/>
            <p:nvPr/>
          </p:nvSpPr>
          <p:spPr>
            <a:xfrm>
              <a:off x="323895" y="4052437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5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323895" y="4676329"/>
            <a:ext cx="4086181" cy="504000"/>
            <a:chOff x="323895" y="4676329"/>
            <a:chExt cx="4086181" cy="504000"/>
          </a:xfrm>
        </p:grpSpPr>
        <p:sp>
          <p:nvSpPr>
            <p:cNvPr id="9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4676329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Timelines Arrows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323895" y="4676330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6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9" name="Gruppieren 8"/>
          <p:cNvGrpSpPr/>
          <p:nvPr/>
        </p:nvGrpSpPr>
        <p:grpSpPr>
          <a:xfrm>
            <a:off x="323895" y="5300224"/>
            <a:ext cx="4086181" cy="504000"/>
            <a:chOff x="323895" y="5300224"/>
            <a:chExt cx="4086181" cy="504000"/>
          </a:xfrm>
        </p:grpSpPr>
        <p:sp>
          <p:nvSpPr>
            <p:cNvPr id="101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5300224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 smtClean="0">
                  <a:solidFill>
                    <a:srgbClr val="5F5F5F"/>
                  </a:solidFill>
                </a:rPr>
                <a:t>3D Spheres </a:t>
              </a:r>
              <a:r>
                <a:rPr lang="en-US" sz="1600" b="1" noProof="1">
                  <a:solidFill>
                    <a:srgbClr val="5F5F5F"/>
                  </a:solidFill>
                </a:rPr>
                <a:t>with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Core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102" name="Rechteck 101"/>
            <p:cNvSpPr/>
            <p:nvPr/>
          </p:nvSpPr>
          <p:spPr>
            <a:xfrm>
              <a:off x="323895" y="5300225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7</a:t>
              </a:r>
            </a:p>
          </p:txBody>
        </p:sp>
      </p:grpSp>
      <p:grpSp>
        <p:nvGrpSpPr>
          <p:cNvPr id="15" name="Gruppieren 14"/>
          <p:cNvGrpSpPr/>
          <p:nvPr/>
        </p:nvGrpSpPr>
        <p:grpSpPr>
          <a:xfrm>
            <a:off x="4733970" y="1556862"/>
            <a:ext cx="4086181" cy="504000"/>
            <a:chOff x="4733970" y="1556862"/>
            <a:chExt cx="4086181" cy="504000"/>
          </a:xfrm>
        </p:grpSpPr>
        <p:sp>
          <p:nvSpPr>
            <p:cNvPr id="5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1556862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Step Process Chart</a:t>
              </a:r>
            </a:p>
          </p:txBody>
        </p:sp>
        <p:sp>
          <p:nvSpPr>
            <p:cNvPr id="58" name="Rechteck 57"/>
            <p:cNvSpPr/>
            <p:nvPr/>
          </p:nvSpPr>
          <p:spPr>
            <a:xfrm>
              <a:off x="4733970" y="1556863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8</a:t>
              </a:r>
            </a:p>
          </p:txBody>
        </p:sp>
      </p:grpSp>
      <p:grpSp>
        <p:nvGrpSpPr>
          <p:cNvPr id="16" name="Gruppieren 15"/>
          <p:cNvGrpSpPr/>
          <p:nvPr/>
        </p:nvGrpSpPr>
        <p:grpSpPr>
          <a:xfrm>
            <a:off x="4733970" y="2180756"/>
            <a:ext cx="4086181" cy="504000"/>
            <a:chOff x="4733970" y="2180756"/>
            <a:chExt cx="4086181" cy="504000"/>
          </a:xfrm>
        </p:grpSpPr>
        <p:sp>
          <p:nvSpPr>
            <p:cNvPr id="5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2180756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Curves and Trend Charts</a:t>
              </a:r>
            </a:p>
          </p:txBody>
        </p:sp>
        <p:sp>
          <p:nvSpPr>
            <p:cNvPr id="60" name="Rechteck 59"/>
            <p:cNvSpPr/>
            <p:nvPr/>
          </p:nvSpPr>
          <p:spPr>
            <a:xfrm>
              <a:off x="4733970" y="2180757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9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4733970" y="2804650"/>
            <a:ext cx="4086181" cy="504000"/>
            <a:chOff x="4733970" y="2804650"/>
            <a:chExt cx="4086181" cy="504000"/>
          </a:xfrm>
        </p:grpSpPr>
        <p:sp>
          <p:nvSpPr>
            <p:cNvPr id="61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2804650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3D Spheres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Fill </a:t>
              </a:r>
              <a:r>
                <a:rPr lang="en-US" sz="1600" b="1" noProof="1">
                  <a:solidFill>
                    <a:srgbClr val="5F5F5F"/>
                  </a:solidFill>
                </a:rPr>
                <a:t>L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evels</a:t>
              </a:r>
              <a:r>
                <a:rPr lang="en-US" sz="1600" b="1" noProof="1">
                  <a:solidFill>
                    <a:srgbClr val="5F5F5F"/>
                  </a:solidFill>
                </a:rPr>
                <a:t>	</a:t>
              </a:r>
            </a:p>
          </p:txBody>
        </p:sp>
        <p:sp>
          <p:nvSpPr>
            <p:cNvPr id="62" name="Rechteck 61"/>
            <p:cNvSpPr/>
            <p:nvPr/>
          </p:nvSpPr>
          <p:spPr>
            <a:xfrm>
              <a:off x="4733970" y="2804651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0</a:t>
              </a:r>
            </a:p>
          </p:txBody>
        </p:sp>
      </p:grpSp>
      <p:grpSp>
        <p:nvGrpSpPr>
          <p:cNvPr id="17" name="Gruppieren 16"/>
          <p:cNvGrpSpPr/>
          <p:nvPr/>
        </p:nvGrpSpPr>
        <p:grpSpPr>
          <a:xfrm>
            <a:off x="4733970" y="3428544"/>
            <a:ext cx="4086181" cy="504000"/>
            <a:chOff x="4733970" y="3428544"/>
            <a:chExt cx="4086181" cy="504000"/>
          </a:xfrm>
        </p:grpSpPr>
        <p:sp>
          <p:nvSpPr>
            <p:cNvPr id="63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3428544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Data-driven Diagrams	</a:t>
              </a:r>
            </a:p>
          </p:txBody>
        </p:sp>
        <p:sp>
          <p:nvSpPr>
            <p:cNvPr id="64" name="Rechteck 63"/>
            <p:cNvSpPr/>
            <p:nvPr/>
          </p:nvSpPr>
          <p:spPr>
            <a:xfrm>
              <a:off x="4733970" y="3428545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1</a:t>
              </a:r>
            </a:p>
          </p:txBody>
        </p:sp>
      </p:grpSp>
      <p:grpSp>
        <p:nvGrpSpPr>
          <p:cNvPr id="13" name="Gruppieren 12"/>
          <p:cNvGrpSpPr/>
          <p:nvPr/>
        </p:nvGrpSpPr>
        <p:grpSpPr>
          <a:xfrm>
            <a:off x="4733970" y="4052438"/>
            <a:ext cx="4086181" cy="504000"/>
            <a:chOff x="4733970" y="4052438"/>
            <a:chExt cx="4086181" cy="504000"/>
          </a:xfrm>
        </p:grpSpPr>
        <p:sp>
          <p:nvSpPr>
            <p:cNvPr id="6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4052438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Arrow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Process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66" name="Rechteck 65"/>
            <p:cNvSpPr/>
            <p:nvPr/>
          </p:nvSpPr>
          <p:spPr>
            <a:xfrm>
              <a:off x="4733970" y="4052439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2</a:t>
              </a:r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4733970" y="4676332"/>
            <a:ext cx="4086181" cy="504000"/>
            <a:chOff x="4733970" y="4676332"/>
            <a:chExt cx="4086181" cy="504000"/>
          </a:xfrm>
        </p:grpSpPr>
        <p:sp>
          <p:nvSpPr>
            <p:cNvPr id="6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4676332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Circle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Diagram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68" name="Rechteck 67"/>
            <p:cNvSpPr/>
            <p:nvPr/>
          </p:nvSpPr>
          <p:spPr>
            <a:xfrm>
              <a:off x="4733970" y="4676333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3</a:t>
              </a:r>
            </a:p>
          </p:txBody>
        </p:sp>
      </p:grpSp>
      <p:grpSp>
        <p:nvGrpSpPr>
          <p:cNvPr id="20" name="Gruppieren 19"/>
          <p:cNvGrpSpPr/>
          <p:nvPr/>
        </p:nvGrpSpPr>
        <p:grpSpPr>
          <a:xfrm>
            <a:off x="4733970" y="5300225"/>
            <a:ext cx="4086181" cy="504000"/>
            <a:chOff x="4733970" y="5300225"/>
            <a:chExt cx="4086181" cy="504000"/>
          </a:xfrm>
        </p:grpSpPr>
        <p:sp>
          <p:nvSpPr>
            <p:cNvPr id="6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5300225"/>
              <a:ext cx="3670300" cy="503999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16200000" scaled="0"/>
              <a:tileRect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chemeClr val="bg1"/>
                  </a:solidFill>
                </a:rPr>
                <a:t>3D Arrows</a:t>
              </a:r>
            </a:p>
          </p:txBody>
        </p:sp>
        <p:sp>
          <p:nvSpPr>
            <p:cNvPr id="70" name="Rechteck 69"/>
            <p:cNvSpPr/>
            <p:nvPr/>
          </p:nvSpPr>
          <p:spPr>
            <a:xfrm>
              <a:off x="4733970" y="5300226"/>
              <a:ext cx="324000" cy="503999"/>
            </a:xfrm>
            <a:prstGeom prst="rect">
              <a:avLst/>
            </a:pr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rgbClr val="0070C0"/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4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siness Starter Package</a:t>
            </a:r>
            <a:endParaRPr lang="en-US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laceholder for your own sub headline</a:t>
            </a:r>
          </a:p>
        </p:txBody>
      </p:sp>
    </p:spTree>
    <p:extLst>
      <p:ext uri="{BB962C8B-B14F-4D97-AF65-F5344CB8AC3E}">
        <p14:creationId xmlns:p14="http://schemas.microsoft.com/office/powerpoint/2010/main" val="2978178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3D Arrow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 smtClean="0"/>
              <a:t>3 Steps</a:t>
            </a:r>
            <a:endParaRPr lang="en-US" dirty="0"/>
          </a:p>
        </p:txBody>
      </p:sp>
      <p:grpSp>
        <p:nvGrpSpPr>
          <p:cNvPr id="19" name="Gruppieren 18"/>
          <p:cNvGrpSpPr/>
          <p:nvPr/>
        </p:nvGrpSpPr>
        <p:grpSpPr bwMode="gray">
          <a:xfrm>
            <a:off x="1263310" y="2866390"/>
            <a:ext cx="6617380" cy="1639805"/>
            <a:chOff x="1263310" y="2866390"/>
            <a:chExt cx="6617380" cy="1639805"/>
          </a:xfrm>
          <a:effectLst>
            <a:outerShdw blurRad="177800" dir="4200000" sy="-23000" kx="-800400" algn="bl" rotWithShape="0">
              <a:prstClr val="black">
                <a:alpha val="20000"/>
              </a:prstClr>
            </a:outerShdw>
          </a:effectLst>
          <a:scene3d>
            <a:camera prst="perspectiveBelow" fov="2700000">
              <a:rot lat="840000" lon="0" rev="0"/>
            </a:camera>
            <a:lightRig rig="freezing" dir="t"/>
          </a:scene3d>
        </p:grpSpPr>
        <p:sp>
          <p:nvSpPr>
            <p:cNvPr id="20" name="_color1"/>
            <p:cNvSpPr>
              <a:spLocks noChangeArrowheads="1"/>
            </p:cNvSpPr>
            <p:nvPr/>
          </p:nvSpPr>
          <p:spPr bwMode="gray">
            <a:xfrm>
              <a:off x="1263310" y="2866390"/>
              <a:ext cx="2430038" cy="1639805"/>
            </a:xfrm>
            <a:prstGeom prst="homePlate">
              <a:avLst>
                <a:gd name="adj" fmla="val 30359"/>
              </a:avLst>
            </a:prstGeom>
            <a:gradFill flip="none" rotWithShape="1">
              <a:gsLst>
                <a:gs pos="0">
                  <a:schemeClr val="tx2">
                    <a:lumMod val="40000"/>
                    <a:lumOff val="60000"/>
                  </a:schemeClr>
                </a:gs>
                <a:gs pos="100000">
                  <a:schemeClr val="tx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 w="12700" algn="ctr">
              <a:noFill/>
              <a:miter lim="800000"/>
              <a:headEnd/>
              <a:tailEnd/>
            </a:ln>
            <a:effectLst/>
            <a:sp3d extrusionH="1016000" prstMaterial="flat">
              <a:bevelT w="190500" h="127000"/>
              <a:bevelB w="127000" h="127000"/>
              <a:extrusionClr>
                <a:schemeClr val="accent1">
                  <a:lumMod val="60000"/>
                  <a:lumOff val="40000"/>
                </a:schemeClr>
              </a:extrusionClr>
            </a:sp3d>
          </p:spPr>
          <p:txBody>
            <a:bodyPr lIns="252000" tIns="0" rIns="0" bIns="0" anchor="ctr">
              <a:flatTx/>
            </a:bodyPr>
            <a:lstStyle/>
            <a:p>
              <a:pPr algn="ctr" defTabSz="801688" eaLnBrk="0" hangingPunct="0"/>
              <a:endParaRPr lang="de-DE" b="1" noProof="1">
                <a:solidFill>
                  <a:srgbClr val="00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Arial" charset="0"/>
              </a:endParaRPr>
            </a:p>
          </p:txBody>
        </p:sp>
        <p:sp>
          <p:nvSpPr>
            <p:cNvPr id="21" name="Text Box 12"/>
            <p:cNvSpPr txBox="1">
              <a:spLocks noChangeArrowheads="1"/>
            </p:cNvSpPr>
            <p:nvPr/>
          </p:nvSpPr>
          <p:spPr bwMode="gray">
            <a:xfrm>
              <a:off x="1679004" y="3449652"/>
              <a:ext cx="1048974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sp3d extrusionH="279400" prstMaterial="flat">
              <a:extrusionClr>
                <a:schemeClr val="accent1"/>
              </a:extrusionClr>
            </a:sp3d>
          </p:spPr>
          <p:txBody>
            <a:bodyPr wrap="none" lIns="252000" tIns="0" rIns="0" bIns="0">
              <a:spAutoFit/>
              <a:flatTx/>
            </a:bodyPr>
            <a:lstStyle/>
            <a:p>
              <a:pPr algn="ctr" defTabSz="801688">
                <a:spcBef>
                  <a:spcPct val="20000"/>
                </a:spcBef>
              </a:pPr>
              <a:r>
                <a:rPr lang="en-GB" sz="2400" b="1" dirty="0" smtClean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Step 1</a:t>
              </a:r>
              <a:endParaRPr lang="en-GB" sz="2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22" name="_color1"/>
            <p:cNvSpPr>
              <a:spLocks noChangeArrowheads="1"/>
            </p:cNvSpPr>
            <p:nvPr/>
          </p:nvSpPr>
          <p:spPr bwMode="gray">
            <a:xfrm>
              <a:off x="3352794" y="2866390"/>
              <a:ext cx="2435063" cy="1639805"/>
            </a:xfrm>
            <a:prstGeom prst="chevron">
              <a:avLst>
                <a:gd name="adj" fmla="val 30315"/>
              </a:avLst>
            </a:prstGeom>
            <a:gradFill flip="none" rotWithShape="1"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chemeClr val="tx2">
                    <a:lumMod val="40000"/>
                    <a:lumOff val="60000"/>
                  </a:schemeClr>
                </a:gs>
              </a:gsLst>
              <a:lin ang="16200000" scaled="1"/>
              <a:tileRect/>
            </a:gradFill>
            <a:ln w="12700" algn="ctr">
              <a:noFill/>
              <a:miter lim="800000"/>
              <a:headEnd/>
              <a:tailEnd/>
            </a:ln>
            <a:effectLst/>
            <a:sp3d extrusionH="1016000" prstMaterial="flat">
              <a:bevelT w="190500" h="190500"/>
              <a:bevelB w="127000" h="127000"/>
              <a:extrusionClr>
                <a:schemeClr val="accent1">
                  <a:lumMod val="60000"/>
                  <a:lumOff val="40000"/>
                </a:schemeClr>
              </a:extrusionClr>
            </a:sp3d>
          </p:spPr>
          <p:txBody>
            <a:bodyPr lIns="252000" tIns="0" rIns="0" bIns="0" anchor="ctr">
              <a:flatTx/>
            </a:bodyPr>
            <a:lstStyle/>
            <a:p>
              <a:pPr algn="ctr" defTabSz="801688" eaLnBrk="0" hangingPunct="0"/>
              <a:endParaRPr lang="de-DE" b="1" noProof="1">
                <a:solidFill>
                  <a:srgbClr val="00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Arial" charset="0"/>
              </a:endParaRPr>
            </a:p>
          </p:txBody>
        </p:sp>
        <p:sp>
          <p:nvSpPr>
            <p:cNvPr id="23" name="Text Box 13"/>
            <p:cNvSpPr txBox="1">
              <a:spLocks noChangeArrowheads="1"/>
            </p:cNvSpPr>
            <p:nvPr/>
          </p:nvSpPr>
          <p:spPr bwMode="gray">
            <a:xfrm>
              <a:off x="4040986" y="3449652"/>
              <a:ext cx="1048974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sp3d extrusionH="279400" prstMaterial="flat">
              <a:extrusionClr>
                <a:schemeClr val="accent1"/>
              </a:extrusionClr>
            </a:sp3d>
          </p:spPr>
          <p:txBody>
            <a:bodyPr wrap="none" lIns="252000" tIns="0" rIns="0" bIns="0">
              <a:spAutoFit/>
              <a:flatTx/>
            </a:bodyPr>
            <a:lstStyle/>
            <a:p>
              <a:pPr algn="ctr" defTabSz="801688">
                <a:spcBef>
                  <a:spcPct val="20000"/>
                </a:spcBef>
              </a:pPr>
              <a:r>
                <a:rPr lang="en-GB" sz="2400" b="1" dirty="0" smtClean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Step 2</a:t>
              </a:r>
              <a:endParaRPr lang="en-GB" sz="2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24" name="_color1"/>
            <p:cNvSpPr>
              <a:spLocks noChangeArrowheads="1"/>
            </p:cNvSpPr>
            <p:nvPr/>
          </p:nvSpPr>
          <p:spPr bwMode="gray">
            <a:xfrm>
              <a:off x="5447302" y="2866390"/>
              <a:ext cx="2433388" cy="1639805"/>
            </a:xfrm>
            <a:prstGeom prst="chevron">
              <a:avLst>
                <a:gd name="adj" fmla="val 30294"/>
              </a:avLst>
            </a:prstGeom>
            <a:gradFill flip="none" rotWithShape="1">
              <a:gsLst>
                <a:gs pos="0">
                  <a:srgbClr val="0070C0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 algn="ctr">
              <a:noFill/>
              <a:miter lim="800000"/>
              <a:headEnd/>
              <a:tailEnd/>
            </a:ln>
            <a:effectLst/>
            <a:sp3d extrusionH="1016000" prstMaterial="flat">
              <a:bevelT w="190500" h="190500"/>
              <a:bevelB w="127000" h="127000"/>
              <a:extrusionClr>
                <a:schemeClr val="accent1">
                  <a:lumMod val="60000"/>
                  <a:lumOff val="40000"/>
                </a:schemeClr>
              </a:extrusionClr>
            </a:sp3d>
          </p:spPr>
          <p:txBody>
            <a:bodyPr lIns="252000" tIns="0" rIns="0" bIns="0" anchor="ctr">
              <a:flatTx/>
            </a:bodyPr>
            <a:lstStyle/>
            <a:p>
              <a:pPr algn="ctr" defTabSz="801688" eaLnBrk="0" hangingPunct="0">
                <a:defRPr/>
              </a:pPr>
              <a:endParaRPr lang="de-DE" b="1" noProof="1">
                <a:solidFill>
                  <a:srgbClr val="00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Arial" charset="0"/>
              </a:endParaRPr>
            </a:p>
          </p:txBody>
        </p:sp>
        <p:sp>
          <p:nvSpPr>
            <p:cNvPr id="25" name="Text Box 14"/>
            <p:cNvSpPr txBox="1">
              <a:spLocks noChangeArrowheads="1"/>
            </p:cNvSpPr>
            <p:nvPr/>
          </p:nvSpPr>
          <p:spPr bwMode="gray">
            <a:xfrm>
              <a:off x="6168467" y="3449652"/>
              <a:ext cx="1048974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sp3d extrusionH="279400" prstMaterial="flat">
              <a:extrusionClr>
                <a:schemeClr val="accent1"/>
              </a:extrusionClr>
            </a:sp3d>
          </p:spPr>
          <p:txBody>
            <a:bodyPr wrap="none" lIns="252000" tIns="0" rIns="0" bIns="0">
              <a:spAutoFit/>
              <a:flatTx/>
            </a:bodyPr>
            <a:lstStyle/>
            <a:p>
              <a:pPr algn="ctr" defTabSz="801688">
                <a:spcBef>
                  <a:spcPct val="20000"/>
                </a:spcBef>
              </a:pPr>
              <a:r>
                <a:rPr lang="en-GB" sz="2400" b="1" dirty="0" smtClean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Step 3</a:t>
              </a:r>
              <a:endParaRPr lang="en-GB" sz="2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</p:grpSp>
      <p:pic>
        <p:nvPicPr>
          <p:cNvPr id="26" name="Picture 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390525" y="4401420"/>
            <a:ext cx="3786188" cy="441325"/>
          </a:xfrm>
          <a:prstGeom prst="rect">
            <a:avLst/>
          </a:prstGeom>
          <a:noFill/>
          <a:ln w="9525">
            <a:miter lim="800000"/>
            <a:headEnd/>
            <a:tailEnd/>
          </a:ln>
          <a:effectLst/>
        </p:spPr>
      </p:pic>
      <p:pic>
        <p:nvPicPr>
          <p:cNvPr id="27" name="Picture 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2489241" y="4401420"/>
            <a:ext cx="3786188" cy="441325"/>
          </a:xfrm>
          <a:prstGeom prst="rect">
            <a:avLst/>
          </a:prstGeom>
          <a:noFill/>
          <a:ln w="9525">
            <a:miter lim="800000"/>
            <a:headEnd/>
            <a:tailEnd/>
          </a:ln>
          <a:effectLst/>
        </p:spPr>
      </p:pic>
      <p:pic>
        <p:nvPicPr>
          <p:cNvPr id="28" name="Picture 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4548083" y="4401420"/>
            <a:ext cx="3786188" cy="441325"/>
          </a:xfrm>
          <a:prstGeom prst="rect">
            <a:avLst/>
          </a:prstGeom>
          <a:noFill/>
          <a:ln w="9525"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877627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3D Arrow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 smtClean="0"/>
              <a:t>4 </a:t>
            </a:r>
            <a:r>
              <a:rPr lang="en-US" dirty="0"/>
              <a:t>Steps</a:t>
            </a:r>
          </a:p>
        </p:txBody>
      </p:sp>
      <p:grpSp>
        <p:nvGrpSpPr>
          <p:cNvPr id="20" name="Gruppieren 19"/>
          <p:cNvGrpSpPr/>
          <p:nvPr/>
        </p:nvGrpSpPr>
        <p:grpSpPr bwMode="gray">
          <a:xfrm>
            <a:off x="395536" y="2866390"/>
            <a:ext cx="8425408" cy="1639805"/>
            <a:chOff x="325850" y="2866390"/>
            <a:chExt cx="8487252" cy="1639805"/>
          </a:xfrm>
          <a:effectLst>
            <a:outerShdw blurRad="177800" dist="12700" dir="2700000" sy="-23000" kx="-800400" algn="bl" rotWithShape="0">
              <a:prstClr val="black">
                <a:alpha val="20000"/>
              </a:prstClr>
            </a:outerShdw>
          </a:effectLst>
          <a:scene3d>
            <a:camera prst="perspectiveBelow">
              <a:rot lat="900000" lon="0" rev="0"/>
            </a:camera>
            <a:lightRig rig="freezing" dir="t"/>
          </a:scene3d>
        </p:grpSpPr>
        <p:sp>
          <p:nvSpPr>
            <p:cNvPr id="21" name="_color1"/>
            <p:cNvSpPr>
              <a:spLocks noChangeArrowheads="1"/>
            </p:cNvSpPr>
            <p:nvPr/>
          </p:nvSpPr>
          <p:spPr bwMode="gray">
            <a:xfrm>
              <a:off x="325850" y="2866390"/>
              <a:ext cx="2365471" cy="1639805"/>
            </a:xfrm>
            <a:prstGeom prst="homePlate">
              <a:avLst>
                <a:gd name="adj" fmla="val 30359"/>
              </a:avLst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6200000" scaled="1"/>
              <a:tileRect/>
            </a:gradFill>
            <a:ln w="12700" algn="ctr">
              <a:noFill/>
              <a:miter lim="800000"/>
              <a:headEnd/>
              <a:tailEnd/>
            </a:ln>
            <a:effectLst/>
            <a:sp3d extrusionH="1016000" prstMaterial="flat">
              <a:bevelT w="190500" h="190500"/>
              <a:bevelB w="127000" h="127000"/>
              <a:extrusionClr>
                <a:schemeClr val="accent1">
                  <a:lumMod val="60000"/>
                  <a:lumOff val="40000"/>
                </a:schemeClr>
              </a:extrusionClr>
            </a:sp3d>
          </p:spPr>
          <p:txBody>
            <a:bodyPr lIns="0" tIns="0" rIns="0" bIns="0" anchor="ctr">
              <a:flatTx/>
            </a:bodyPr>
            <a:lstStyle/>
            <a:p>
              <a:pPr algn="ctr" defTabSz="801688" eaLnBrk="0" hangingPunct="0"/>
              <a:endParaRPr lang="de-DE" sz="2200" b="1" noProof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Arial" charset="0"/>
              </a:endParaRPr>
            </a:p>
          </p:txBody>
        </p:sp>
        <p:sp>
          <p:nvSpPr>
            <p:cNvPr id="22" name="Text Box 12"/>
            <p:cNvSpPr txBox="1">
              <a:spLocks noChangeArrowheads="1"/>
            </p:cNvSpPr>
            <p:nvPr/>
          </p:nvSpPr>
          <p:spPr bwMode="gray">
            <a:xfrm>
              <a:off x="997116" y="3449652"/>
              <a:ext cx="740622" cy="458757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  <a:sp3d extrusionH="1016000" prstMaterial="flat">
              <a:bevelT w="190500" h="190500"/>
              <a:bevelB w="127000" h="127000"/>
              <a:extrusionClr>
                <a:schemeClr val="accent1">
                  <a:lumMod val="60000"/>
                  <a:lumOff val="40000"/>
                </a:schemeClr>
              </a:extrusionClr>
            </a:sp3d>
          </p:spPr>
          <p:txBody>
            <a:bodyPr lIns="0" tIns="0" rIns="0" bIns="0" anchor="ctr">
              <a:flatTx/>
            </a:bodyPr>
            <a:lstStyle>
              <a:defPPr>
                <a:defRPr lang="de-DE"/>
              </a:defPPr>
              <a:lvl1pPr algn="ctr" defTabSz="801688" eaLnBrk="0" hangingPunct="0">
                <a:defRPr b="1">
                  <a:solidFill>
                    <a:srgbClr val="000000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Arial" charset="0"/>
                </a:defRPr>
              </a:lvl1pPr>
            </a:lstStyle>
            <a:p>
              <a:r>
                <a:rPr lang="en-GB" sz="2200" dirty="0" smtClean="0">
                  <a:solidFill>
                    <a:schemeClr val="bg1"/>
                  </a:solidFill>
                </a:rPr>
                <a:t>Step 1</a:t>
              </a:r>
              <a:endParaRPr lang="en-GB" sz="2200" dirty="0">
                <a:solidFill>
                  <a:schemeClr val="bg1"/>
                </a:solidFill>
              </a:endParaRPr>
            </a:p>
          </p:txBody>
        </p:sp>
        <p:sp>
          <p:nvSpPr>
            <p:cNvPr id="23" name="_color1"/>
            <p:cNvSpPr>
              <a:spLocks noChangeArrowheads="1"/>
            </p:cNvSpPr>
            <p:nvPr/>
          </p:nvSpPr>
          <p:spPr bwMode="gray">
            <a:xfrm>
              <a:off x="2368566" y="2866390"/>
              <a:ext cx="2370363" cy="1639805"/>
            </a:xfrm>
            <a:prstGeom prst="chevron">
              <a:avLst>
                <a:gd name="adj" fmla="val 30315"/>
              </a:avLst>
            </a:prstGeom>
            <a:gradFill flip="none" rotWithShape="1">
              <a:gsLst>
                <a:gs pos="0">
                  <a:schemeClr val="bg1">
                    <a:lumMod val="50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6200000" scaled="1"/>
              <a:tileRect/>
            </a:gradFill>
            <a:ln w="12700" algn="ctr">
              <a:noFill/>
              <a:miter lim="800000"/>
              <a:headEnd/>
              <a:tailEnd/>
            </a:ln>
            <a:effectLst/>
            <a:sp3d extrusionH="1016000" prstMaterial="flat">
              <a:bevelT w="190500" h="190500"/>
              <a:bevelB w="127000" h="127000"/>
              <a:extrusionClr>
                <a:schemeClr val="accent1">
                  <a:lumMod val="60000"/>
                  <a:lumOff val="40000"/>
                </a:schemeClr>
              </a:extrusionClr>
            </a:sp3d>
          </p:spPr>
          <p:txBody>
            <a:bodyPr lIns="0" tIns="0" rIns="0" bIns="0" anchor="ctr">
              <a:flatTx/>
            </a:bodyPr>
            <a:lstStyle/>
            <a:p>
              <a:pPr algn="ctr" defTabSz="801688" eaLnBrk="0" hangingPunct="0"/>
              <a:endParaRPr lang="de-DE" sz="2200" b="1" noProof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Arial" charset="0"/>
              </a:endParaRPr>
            </a:p>
          </p:txBody>
        </p:sp>
        <p:sp>
          <p:nvSpPr>
            <p:cNvPr id="24" name="Text Box 13"/>
            <p:cNvSpPr txBox="1">
              <a:spLocks noChangeArrowheads="1"/>
            </p:cNvSpPr>
            <p:nvPr/>
          </p:nvSpPr>
          <p:spPr bwMode="gray">
            <a:xfrm>
              <a:off x="3277700" y="3449652"/>
              <a:ext cx="740622" cy="458757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  <a:sp3d extrusionH="1016000" prstMaterial="flat">
              <a:bevelT w="190500" h="190500"/>
              <a:bevelB w="127000" h="127000"/>
              <a:extrusionClr>
                <a:schemeClr val="accent1">
                  <a:lumMod val="60000"/>
                  <a:lumOff val="40000"/>
                </a:schemeClr>
              </a:extrusionClr>
            </a:sp3d>
          </p:spPr>
          <p:txBody>
            <a:bodyPr lIns="0" tIns="0" rIns="0" bIns="0" anchor="ctr">
              <a:flatTx/>
            </a:bodyPr>
            <a:lstStyle>
              <a:defPPr>
                <a:defRPr lang="de-DE"/>
              </a:defPPr>
              <a:lvl1pPr algn="ctr" defTabSz="801688" eaLnBrk="0" hangingPunct="0">
                <a:defRPr b="1">
                  <a:solidFill>
                    <a:srgbClr val="000000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Arial" charset="0"/>
                </a:defRPr>
              </a:lvl1pPr>
            </a:lstStyle>
            <a:p>
              <a:r>
                <a:rPr lang="en-GB" sz="2200" dirty="0" smtClean="0">
                  <a:solidFill>
                    <a:schemeClr val="bg1"/>
                  </a:solidFill>
                </a:rPr>
                <a:t>Step 2</a:t>
              </a:r>
              <a:endParaRPr lang="en-GB" sz="2200" dirty="0">
                <a:solidFill>
                  <a:schemeClr val="bg1"/>
                </a:solidFill>
              </a:endParaRPr>
            </a:p>
          </p:txBody>
        </p:sp>
        <p:sp>
          <p:nvSpPr>
            <p:cNvPr id="25" name="_color1"/>
            <p:cNvSpPr>
              <a:spLocks noChangeArrowheads="1"/>
            </p:cNvSpPr>
            <p:nvPr/>
          </p:nvSpPr>
          <p:spPr bwMode="gray">
            <a:xfrm>
              <a:off x="4406365" y="2866390"/>
              <a:ext cx="2370364" cy="1639805"/>
            </a:xfrm>
            <a:prstGeom prst="chevron">
              <a:avLst>
                <a:gd name="adj" fmla="val 30315"/>
              </a:avLst>
            </a:prstGeom>
            <a:gradFill flip="none" rotWithShape="1"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chemeClr val="tx2">
                    <a:lumMod val="40000"/>
                    <a:lumOff val="60000"/>
                  </a:schemeClr>
                </a:gs>
              </a:gsLst>
              <a:lin ang="16200000" scaled="1"/>
              <a:tileRect/>
            </a:gradFill>
            <a:ln w="12700" algn="ctr">
              <a:noFill/>
              <a:miter lim="800000"/>
              <a:headEnd/>
              <a:tailEnd/>
            </a:ln>
            <a:effectLst/>
            <a:sp3d extrusionH="1016000" prstMaterial="flat">
              <a:bevelT w="190500" h="190500"/>
              <a:bevelB w="127000" h="127000"/>
              <a:extrusionClr>
                <a:schemeClr val="accent1">
                  <a:lumMod val="60000"/>
                  <a:lumOff val="40000"/>
                </a:schemeClr>
              </a:extrusionClr>
            </a:sp3d>
          </p:spPr>
          <p:txBody>
            <a:bodyPr lIns="0" tIns="0" rIns="0" bIns="0" anchor="ctr">
              <a:flatTx/>
            </a:bodyPr>
            <a:lstStyle/>
            <a:p>
              <a:pPr algn="ctr" defTabSz="801688" eaLnBrk="0" hangingPunct="0"/>
              <a:endParaRPr lang="de-DE" sz="2200" b="1" noProof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Arial" charset="0"/>
              </a:endParaRPr>
            </a:p>
          </p:txBody>
        </p:sp>
        <p:sp>
          <p:nvSpPr>
            <p:cNvPr id="26" name="Text Box 13"/>
            <p:cNvSpPr txBox="1">
              <a:spLocks noChangeArrowheads="1"/>
            </p:cNvSpPr>
            <p:nvPr/>
          </p:nvSpPr>
          <p:spPr bwMode="gray">
            <a:xfrm>
              <a:off x="5274010" y="3449652"/>
              <a:ext cx="918086" cy="458757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  <a:sp3d extrusionH="1016000" prstMaterial="flat">
              <a:bevelT w="190500" h="190500"/>
              <a:bevelB w="127000" h="127000"/>
              <a:extrusionClr>
                <a:schemeClr val="accent1">
                  <a:lumMod val="60000"/>
                  <a:lumOff val="40000"/>
                </a:schemeClr>
              </a:extrusionClr>
            </a:sp3d>
          </p:spPr>
          <p:txBody>
            <a:bodyPr lIns="0" tIns="0" rIns="0" bIns="0" anchor="ctr">
              <a:flatTx/>
            </a:bodyPr>
            <a:lstStyle>
              <a:defPPr>
                <a:defRPr lang="de-DE"/>
              </a:defPPr>
              <a:lvl1pPr algn="ctr" defTabSz="801688" eaLnBrk="0" hangingPunct="0">
                <a:defRPr b="1">
                  <a:solidFill>
                    <a:srgbClr val="000000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Arial" charset="0"/>
                </a:defRPr>
              </a:lvl1pPr>
            </a:lstStyle>
            <a:p>
              <a:r>
                <a:rPr lang="en-GB" sz="2200" dirty="0">
                  <a:solidFill>
                    <a:schemeClr val="bg1"/>
                  </a:solidFill>
                </a:rPr>
                <a:t>Step 3</a:t>
              </a:r>
            </a:p>
          </p:txBody>
        </p:sp>
        <p:sp>
          <p:nvSpPr>
            <p:cNvPr id="27" name="_color1"/>
            <p:cNvSpPr>
              <a:spLocks noChangeArrowheads="1"/>
            </p:cNvSpPr>
            <p:nvPr/>
          </p:nvSpPr>
          <p:spPr bwMode="gray">
            <a:xfrm>
              <a:off x="6444369" y="2866390"/>
              <a:ext cx="2368733" cy="1639805"/>
            </a:xfrm>
            <a:prstGeom prst="chevron">
              <a:avLst>
                <a:gd name="adj" fmla="val 30294"/>
              </a:avLst>
            </a:prstGeom>
            <a:gradFill flip="none" rotWithShape="1">
              <a:gsLst>
                <a:gs pos="0">
                  <a:srgbClr val="0070C0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 algn="ctr">
              <a:noFill/>
              <a:miter lim="800000"/>
              <a:headEnd/>
              <a:tailEnd/>
            </a:ln>
            <a:effectLst/>
            <a:sp3d extrusionH="1016000" prstMaterial="flat">
              <a:bevelT w="190500" h="190500"/>
              <a:bevelB w="127000" h="127000"/>
              <a:extrusionClr>
                <a:schemeClr val="accent1">
                  <a:lumMod val="60000"/>
                  <a:lumOff val="40000"/>
                </a:schemeClr>
              </a:extrusionClr>
            </a:sp3d>
          </p:spPr>
          <p:txBody>
            <a:bodyPr lIns="0" tIns="0" rIns="0" bIns="0" anchor="ctr">
              <a:flatTx/>
            </a:bodyPr>
            <a:lstStyle/>
            <a:p>
              <a:pPr algn="ctr" defTabSz="801688" eaLnBrk="0" hangingPunct="0"/>
              <a:endParaRPr lang="de-DE" sz="2200" b="1" noProof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Arial" charset="0"/>
              </a:endParaRPr>
            </a:p>
          </p:txBody>
        </p:sp>
        <p:sp>
          <p:nvSpPr>
            <p:cNvPr id="28" name="Text Box 14"/>
            <p:cNvSpPr txBox="1">
              <a:spLocks noChangeArrowheads="1"/>
            </p:cNvSpPr>
            <p:nvPr/>
          </p:nvSpPr>
          <p:spPr bwMode="gray">
            <a:xfrm>
              <a:off x="7306048" y="3449652"/>
              <a:ext cx="918086" cy="458757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  <a:sp3d extrusionH="1016000" prstMaterial="flat">
              <a:bevelT w="190500" h="190500"/>
              <a:bevelB w="127000" h="127000"/>
              <a:extrusionClr>
                <a:schemeClr val="accent1">
                  <a:lumMod val="60000"/>
                  <a:lumOff val="40000"/>
                </a:schemeClr>
              </a:extrusionClr>
            </a:sp3d>
          </p:spPr>
          <p:txBody>
            <a:bodyPr lIns="0" tIns="0" rIns="0" bIns="0" anchor="ctr">
              <a:flatTx/>
            </a:bodyPr>
            <a:lstStyle>
              <a:defPPr>
                <a:defRPr lang="de-DE"/>
              </a:defPPr>
              <a:lvl1pPr algn="ctr" defTabSz="801688" eaLnBrk="0" hangingPunct="0">
                <a:defRPr b="1">
                  <a:solidFill>
                    <a:srgbClr val="000000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Arial" charset="0"/>
                </a:defRPr>
              </a:lvl1pPr>
            </a:lstStyle>
            <a:p>
              <a:r>
                <a:rPr lang="en-GB" sz="2200" dirty="0">
                  <a:solidFill>
                    <a:schemeClr val="bg1"/>
                  </a:solidFill>
                </a:rPr>
                <a:t>Step 4</a:t>
              </a:r>
            </a:p>
          </p:txBody>
        </p:sp>
      </p:grpSp>
      <p:pic>
        <p:nvPicPr>
          <p:cNvPr id="37" name="Picture 7"/>
          <p:cNvPicPr>
            <a:picLocks noChangeAspect="1" noChangeArrowheads="1"/>
          </p:cNvPicPr>
          <p:nvPr/>
        </p:nvPicPr>
        <p:blipFill rotWithShape="1">
          <a:blip r:embed="rId3" cstate="print"/>
          <a:srcRect l="12819"/>
          <a:stretch/>
        </p:blipFill>
        <p:spPr bwMode="gray">
          <a:xfrm>
            <a:off x="0" y="4401420"/>
            <a:ext cx="3300822" cy="441325"/>
          </a:xfrm>
          <a:prstGeom prst="rect">
            <a:avLst/>
          </a:prstGeom>
          <a:noFill/>
          <a:ln w="9525">
            <a:miter lim="800000"/>
            <a:headEnd/>
            <a:tailEnd/>
          </a:ln>
          <a:effectLst/>
        </p:spPr>
      </p:pic>
      <p:pic>
        <p:nvPicPr>
          <p:cNvPr id="38" name="Picture 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1594300" y="4401420"/>
            <a:ext cx="3786188" cy="441325"/>
          </a:xfrm>
          <a:prstGeom prst="rect">
            <a:avLst/>
          </a:prstGeom>
          <a:noFill/>
          <a:ln w="9525">
            <a:miter lim="800000"/>
            <a:headEnd/>
            <a:tailEnd/>
          </a:ln>
          <a:effectLst/>
        </p:spPr>
      </p:pic>
      <p:pic>
        <p:nvPicPr>
          <p:cNvPr id="39" name="Picture 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3545997" y="4401420"/>
            <a:ext cx="3786188" cy="441325"/>
          </a:xfrm>
          <a:prstGeom prst="rect">
            <a:avLst/>
          </a:prstGeom>
          <a:noFill/>
          <a:ln w="9525">
            <a:miter lim="800000"/>
            <a:headEnd/>
            <a:tailEnd/>
          </a:ln>
          <a:effectLst/>
        </p:spPr>
      </p:pic>
      <p:pic>
        <p:nvPicPr>
          <p:cNvPr id="40" name="Picture 7"/>
          <p:cNvPicPr>
            <a:picLocks noChangeAspect="1" noChangeArrowheads="1"/>
          </p:cNvPicPr>
          <p:nvPr/>
        </p:nvPicPr>
        <p:blipFill rotWithShape="1">
          <a:blip r:embed="rId3" cstate="print"/>
          <a:srcRect r="7430"/>
          <a:stretch/>
        </p:blipFill>
        <p:spPr bwMode="gray">
          <a:xfrm>
            <a:off x="5639116" y="4401420"/>
            <a:ext cx="3504884" cy="441325"/>
          </a:xfrm>
          <a:prstGeom prst="rect">
            <a:avLst/>
          </a:prstGeom>
          <a:noFill/>
          <a:ln w="9525"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303804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3D Arrow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 smtClean="0"/>
              <a:t>6 </a:t>
            </a:r>
            <a:r>
              <a:rPr lang="en-US" dirty="0"/>
              <a:t>Steps</a:t>
            </a:r>
          </a:p>
        </p:txBody>
      </p:sp>
      <p:grpSp>
        <p:nvGrpSpPr>
          <p:cNvPr id="16" name="Gruppieren 46"/>
          <p:cNvGrpSpPr/>
          <p:nvPr/>
        </p:nvGrpSpPr>
        <p:grpSpPr bwMode="gray">
          <a:xfrm>
            <a:off x="405694" y="2866390"/>
            <a:ext cx="8419220" cy="1639805"/>
            <a:chOff x="322566" y="2866390"/>
            <a:chExt cx="8497726" cy="1639805"/>
          </a:xfrm>
          <a:effectLst>
            <a:outerShdw blurRad="177800" dist="12700" dir="2700000" sy="-23000" kx="-800400" algn="bl" rotWithShape="0">
              <a:prstClr val="black">
                <a:alpha val="20000"/>
              </a:prstClr>
            </a:outerShdw>
          </a:effectLst>
          <a:scene3d>
            <a:camera prst="perspectiveBelow">
              <a:rot lat="900000" lon="0" rev="0"/>
            </a:camera>
            <a:lightRig rig="freezing" dir="t"/>
          </a:scene3d>
        </p:grpSpPr>
        <p:sp>
          <p:nvSpPr>
            <p:cNvPr id="23" name="_color1"/>
            <p:cNvSpPr>
              <a:spLocks noChangeArrowheads="1"/>
            </p:cNvSpPr>
            <p:nvPr/>
          </p:nvSpPr>
          <p:spPr bwMode="gray">
            <a:xfrm>
              <a:off x="322566" y="2866390"/>
              <a:ext cx="1691230" cy="1639805"/>
            </a:xfrm>
            <a:prstGeom prst="homePlate">
              <a:avLst>
                <a:gd name="adj" fmla="val 30359"/>
              </a:avLst>
            </a:prstGeom>
            <a:gradFill flip="none" rotWithShape="1">
              <a:gsLst>
                <a:gs pos="0">
                  <a:schemeClr val="bg1">
                    <a:lumMod val="50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6200000" scaled="1"/>
              <a:tileRect/>
            </a:gradFill>
            <a:ln w="12700" algn="ctr">
              <a:noFill/>
              <a:miter lim="800000"/>
              <a:headEnd/>
              <a:tailEnd/>
            </a:ln>
            <a:effectLst/>
            <a:sp3d extrusionH="1016000" prstMaterial="flat">
              <a:bevelT w="190500" h="190500"/>
              <a:bevelB w="127000" h="127000"/>
              <a:extrusionClr>
                <a:schemeClr val="accent1">
                  <a:lumMod val="60000"/>
                  <a:lumOff val="40000"/>
                </a:schemeClr>
              </a:extrusionClr>
            </a:sp3d>
          </p:spPr>
          <p:txBody>
            <a:bodyPr lIns="0" tIns="0" rIns="0" bIns="0" anchor="ctr">
              <a:flatTx/>
            </a:bodyPr>
            <a:lstStyle/>
            <a:p>
              <a:pPr algn="ctr" defTabSz="801688" eaLnBrk="0" hangingPunct="0"/>
              <a:endParaRPr lang="de-DE" b="1" noProof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Arial" charset="0"/>
              </a:endParaRPr>
            </a:p>
          </p:txBody>
        </p:sp>
        <p:sp>
          <p:nvSpPr>
            <p:cNvPr id="24" name="Text Box 12"/>
            <p:cNvSpPr txBox="1">
              <a:spLocks noChangeArrowheads="1"/>
            </p:cNvSpPr>
            <p:nvPr/>
          </p:nvSpPr>
          <p:spPr bwMode="gray">
            <a:xfrm>
              <a:off x="684379" y="3449652"/>
              <a:ext cx="765755" cy="458757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  <a:sp3d extrusionH="1016000" prstMaterial="flat">
              <a:bevelT w="190500" h="190500"/>
              <a:bevelB w="127000" h="127000"/>
              <a:extrusionClr>
                <a:schemeClr val="accent1">
                  <a:lumMod val="60000"/>
                  <a:lumOff val="40000"/>
                </a:schemeClr>
              </a:extrusionClr>
            </a:sp3d>
          </p:spPr>
          <p:txBody>
            <a:bodyPr lIns="0" tIns="0" rIns="0" bIns="0" anchor="ctr">
              <a:flatTx/>
            </a:bodyPr>
            <a:lstStyle>
              <a:defPPr>
                <a:defRPr lang="de-DE"/>
              </a:defPPr>
              <a:lvl1pPr algn="ctr" defTabSz="801688" eaLnBrk="0" hangingPunct="0">
                <a:defRPr sz="2200" b="1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Arial" charset="0"/>
                </a:defRPr>
              </a:lvl1pPr>
            </a:lstStyle>
            <a:p>
              <a:r>
                <a:rPr lang="en-GB" sz="1800" dirty="0"/>
                <a:t>Step 1</a:t>
              </a:r>
            </a:p>
          </p:txBody>
        </p:sp>
        <p:sp>
          <p:nvSpPr>
            <p:cNvPr id="25" name="_color1"/>
            <p:cNvSpPr>
              <a:spLocks noChangeArrowheads="1"/>
            </p:cNvSpPr>
            <p:nvPr/>
          </p:nvSpPr>
          <p:spPr bwMode="gray">
            <a:xfrm>
              <a:off x="1686158" y="2866390"/>
              <a:ext cx="1694727" cy="1639805"/>
            </a:xfrm>
            <a:prstGeom prst="chevron">
              <a:avLst>
                <a:gd name="adj" fmla="val 30315"/>
              </a:avLst>
            </a:prstGeom>
            <a:gradFill flip="none" rotWithShape="1">
              <a:gsLst>
                <a:gs pos="0">
                  <a:schemeClr val="bg1">
                    <a:lumMod val="50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6200000" scaled="1"/>
              <a:tileRect/>
            </a:gradFill>
            <a:ln w="12700" algn="ctr">
              <a:noFill/>
              <a:miter lim="800000"/>
              <a:headEnd/>
              <a:tailEnd/>
            </a:ln>
            <a:effectLst/>
            <a:sp3d extrusionH="1016000" prstMaterial="flat">
              <a:bevelT w="190500" h="190500"/>
              <a:bevelB w="127000" h="127000"/>
              <a:extrusionClr>
                <a:schemeClr val="accent1">
                  <a:lumMod val="60000"/>
                  <a:lumOff val="40000"/>
                </a:schemeClr>
              </a:extrusionClr>
            </a:sp3d>
          </p:spPr>
          <p:txBody>
            <a:bodyPr lIns="0" tIns="0" rIns="0" bIns="0" anchor="ctr">
              <a:flatTx/>
            </a:bodyPr>
            <a:lstStyle/>
            <a:p>
              <a:pPr algn="ctr" defTabSz="801688" eaLnBrk="0" hangingPunct="0"/>
              <a:endParaRPr lang="de-DE" b="1" noProof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Arial" charset="0"/>
              </a:endParaRPr>
            </a:p>
          </p:txBody>
        </p:sp>
        <p:sp>
          <p:nvSpPr>
            <p:cNvPr id="26" name="Text Box 13"/>
            <p:cNvSpPr txBox="1">
              <a:spLocks noChangeArrowheads="1"/>
            </p:cNvSpPr>
            <p:nvPr/>
          </p:nvSpPr>
          <p:spPr bwMode="gray">
            <a:xfrm>
              <a:off x="2305188" y="3449652"/>
              <a:ext cx="765755" cy="458757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  <a:sp3d extrusionH="1016000" prstMaterial="flat">
              <a:bevelT w="190500" h="190500"/>
              <a:bevelB w="127000" h="127000"/>
              <a:extrusionClr>
                <a:schemeClr val="accent1">
                  <a:lumMod val="60000"/>
                  <a:lumOff val="40000"/>
                </a:schemeClr>
              </a:extrusionClr>
            </a:sp3d>
          </p:spPr>
          <p:txBody>
            <a:bodyPr lIns="0" tIns="0" rIns="0" bIns="0" anchor="ctr">
              <a:flatTx/>
            </a:bodyPr>
            <a:lstStyle>
              <a:defPPr>
                <a:defRPr lang="de-DE"/>
              </a:defPPr>
              <a:lvl1pPr algn="ctr" defTabSz="801688" eaLnBrk="0" hangingPunct="0">
                <a:defRPr sz="2200" b="1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Arial" charset="0"/>
                </a:defRPr>
              </a:lvl1pPr>
            </a:lstStyle>
            <a:p>
              <a:r>
                <a:rPr lang="en-GB" sz="1800" dirty="0"/>
                <a:t>Step 2</a:t>
              </a:r>
            </a:p>
          </p:txBody>
        </p:sp>
        <p:sp>
          <p:nvSpPr>
            <p:cNvPr id="27" name="_color1"/>
            <p:cNvSpPr>
              <a:spLocks noChangeArrowheads="1"/>
            </p:cNvSpPr>
            <p:nvPr/>
          </p:nvSpPr>
          <p:spPr bwMode="gray">
            <a:xfrm>
              <a:off x="3049688" y="2866390"/>
              <a:ext cx="1694728" cy="1639805"/>
            </a:xfrm>
            <a:prstGeom prst="chevron">
              <a:avLst>
                <a:gd name="adj" fmla="val 30315"/>
              </a:avLst>
            </a:prstGeom>
            <a:gradFill flip="none" rotWithShape="1"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chemeClr val="tx2">
                    <a:lumMod val="40000"/>
                    <a:lumOff val="60000"/>
                  </a:schemeClr>
                </a:gs>
              </a:gsLst>
              <a:lin ang="16200000" scaled="1"/>
              <a:tileRect/>
            </a:gradFill>
            <a:ln w="12700" algn="ctr">
              <a:noFill/>
              <a:miter lim="800000"/>
              <a:headEnd/>
              <a:tailEnd/>
            </a:ln>
            <a:effectLst/>
            <a:sp3d extrusionH="1016000" prstMaterial="flat">
              <a:bevelT w="190500" h="190500"/>
              <a:bevelB w="127000" h="127000"/>
              <a:extrusionClr>
                <a:schemeClr val="accent1">
                  <a:lumMod val="60000"/>
                  <a:lumOff val="40000"/>
                </a:schemeClr>
              </a:extrusionClr>
            </a:sp3d>
          </p:spPr>
          <p:txBody>
            <a:bodyPr lIns="0" tIns="0" rIns="0" bIns="0" anchor="ctr">
              <a:flatTx/>
            </a:bodyPr>
            <a:lstStyle/>
            <a:p>
              <a:pPr algn="ctr" defTabSz="801688" eaLnBrk="0" hangingPunct="0"/>
              <a:endParaRPr lang="de-DE" b="1" noProof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Arial" charset="0"/>
              </a:endParaRPr>
            </a:p>
          </p:txBody>
        </p:sp>
        <p:sp>
          <p:nvSpPr>
            <p:cNvPr id="28" name="Text Box 13"/>
            <p:cNvSpPr txBox="1">
              <a:spLocks noChangeArrowheads="1"/>
            </p:cNvSpPr>
            <p:nvPr/>
          </p:nvSpPr>
          <p:spPr bwMode="gray">
            <a:xfrm>
              <a:off x="3661637" y="3449652"/>
              <a:ext cx="765755" cy="458757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  <a:sp3d extrusionH="1016000" prstMaterial="flat">
              <a:bevelT w="190500" h="190500"/>
              <a:bevelB w="127000" h="127000"/>
              <a:extrusionClr>
                <a:schemeClr val="accent1">
                  <a:lumMod val="60000"/>
                  <a:lumOff val="40000"/>
                </a:schemeClr>
              </a:extrusionClr>
            </a:sp3d>
          </p:spPr>
          <p:txBody>
            <a:bodyPr lIns="0" tIns="0" rIns="0" bIns="0" anchor="ctr">
              <a:flatTx/>
            </a:bodyPr>
            <a:lstStyle>
              <a:defPPr>
                <a:defRPr lang="de-DE"/>
              </a:defPPr>
              <a:lvl1pPr algn="ctr" defTabSz="801688" eaLnBrk="0" hangingPunct="0">
                <a:defRPr sz="2200" b="1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Arial" charset="0"/>
                </a:defRPr>
              </a:lvl1pPr>
            </a:lstStyle>
            <a:p>
              <a:r>
                <a:rPr lang="en-GB" sz="1800" dirty="0"/>
                <a:t>Step 3</a:t>
              </a:r>
            </a:p>
          </p:txBody>
        </p:sp>
        <p:sp>
          <p:nvSpPr>
            <p:cNvPr id="29" name="_color1"/>
            <p:cNvSpPr>
              <a:spLocks noChangeArrowheads="1"/>
            </p:cNvSpPr>
            <p:nvPr/>
          </p:nvSpPr>
          <p:spPr bwMode="gray">
            <a:xfrm>
              <a:off x="4413366" y="2866390"/>
              <a:ext cx="1693561" cy="1639805"/>
            </a:xfrm>
            <a:prstGeom prst="chevron">
              <a:avLst>
                <a:gd name="adj" fmla="val 30294"/>
              </a:avLst>
            </a:prstGeom>
            <a:gradFill flip="none" rotWithShape="1"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chemeClr val="tx2">
                    <a:lumMod val="40000"/>
                    <a:lumOff val="60000"/>
                  </a:schemeClr>
                </a:gs>
              </a:gsLst>
              <a:lin ang="16200000" scaled="1"/>
              <a:tileRect/>
            </a:gradFill>
            <a:ln w="12700" algn="ctr">
              <a:noFill/>
              <a:miter lim="800000"/>
              <a:headEnd/>
              <a:tailEnd/>
            </a:ln>
            <a:effectLst/>
            <a:sp3d extrusionH="1016000" prstMaterial="flat">
              <a:bevelT w="190500" h="190500"/>
              <a:bevelB w="127000" h="127000"/>
              <a:extrusionClr>
                <a:schemeClr val="accent1">
                  <a:lumMod val="60000"/>
                  <a:lumOff val="40000"/>
                </a:schemeClr>
              </a:extrusionClr>
            </a:sp3d>
          </p:spPr>
          <p:txBody>
            <a:bodyPr lIns="0" tIns="0" rIns="0" bIns="0" anchor="ctr">
              <a:flatTx/>
            </a:bodyPr>
            <a:lstStyle/>
            <a:p>
              <a:pPr algn="ctr" defTabSz="801688" eaLnBrk="0" hangingPunct="0"/>
              <a:endParaRPr lang="de-DE" b="1" noProof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Arial" charset="0"/>
              </a:endParaRPr>
            </a:p>
          </p:txBody>
        </p:sp>
        <p:sp>
          <p:nvSpPr>
            <p:cNvPr id="30" name="Text Box 14"/>
            <p:cNvSpPr txBox="1">
              <a:spLocks noChangeArrowheads="1"/>
            </p:cNvSpPr>
            <p:nvPr/>
          </p:nvSpPr>
          <p:spPr bwMode="gray">
            <a:xfrm>
              <a:off x="5089808" y="3449652"/>
              <a:ext cx="656400" cy="458757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  <a:sp3d extrusionH="1016000" prstMaterial="flat">
              <a:bevelT w="190500" h="190500"/>
              <a:bevelB w="127000" h="127000"/>
              <a:extrusionClr>
                <a:schemeClr val="accent1">
                  <a:lumMod val="60000"/>
                  <a:lumOff val="40000"/>
                </a:schemeClr>
              </a:extrusionClr>
            </a:sp3d>
          </p:spPr>
          <p:txBody>
            <a:bodyPr lIns="0" tIns="0" rIns="0" bIns="0" anchor="ctr">
              <a:flatTx/>
            </a:bodyPr>
            <a:lstStyle>
              <a:defPPr>
                <a:defRPr lang="de-DE"/>
              </a:defPPr>
              <a:lvl1pPr algn="ctr" defTabSz="801688" eaLnBrk="0" hangingPunct="0">
                <a:defRPr sz="2200" b="1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Arial" charset="0"/>
                </a:defRPr>
              </a:lvl1pPr>
            </a:lstStyle>
            <a:p>
              <a:r>
                <a:rPr lang="en-GB" sz="1800" dirty="0"/>
                <a:t>Step 4</a:t>
              </a:r>
            </a:p>
          </p:txBody>
        </p:sp>
        <p:sp>
          <p:nvSpPr>
            <p:cNvPr id="31" name="_color1"/>
            <p:cNvSpPr>
              <a:spLocks noChangeArrowheads="1"/>
            </p:cNvSpPr>
            <p:nvPr/>
          </p:nvSpPr>
          <p:spPr bwMode="gray">
            <a:xfrm>
              <a:off x="5765601" y="2866390"/>
              <a:ext cx="1693561" cy="1639805"/>
            </a:xfrm>
            <a:prstGeom prst="chevron">
              <a:avLst>
                <a:gd name="adj" fmla="val 30294"/>
              </a:avLst>
            </a:prstGeom>
            <a:gradFill flip="none" rotWithShape="1">
              <a:gsLst>
                <a:gs pos="0">
                  <a:srgbClr val="0070C0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 algn="ctr">
              <a:noFill/>
              <a:miter lim="800000"/>
              <a:headEnd/>
              <a:tailEnd/>
            </a:ln>
            <a:effectLst/>
            <a:sp3d extrusionH="1016000" prstMaterial="flat">
              <a:bevelT w="190500" h="190500"/>
              <a:bevelB w="127000" h="127000"/>
              <a:extrusionClr>
                <a:schemeClr val="accent1">
                  <a:lumMod val="60000"/>
                  <a:lumOff val="40000"/>
                </a:schemeClr>
              </a:extrusionClr>
            </a:sp3d>
          </p:spPr>
          <p:txBody>
            <a:bodyPr lIns="0" tIns="0" rIns="0" bIns="0" anchor="ctr">
              <a:flatTx/>
            </a:bodyPr>
            <a:lstStyle/>
            <a:p>
              <a:pPr algn="ctr" defTabSz="801688" eaLnBrk="0" hangingPunct="0"/>
              <a:endParaRPr lang="de-DE" b="1" noProof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Arial" charset="0"/>
              </a:endParaRPr>
            </a:p>
          </p:txBody>
        </p:sp>
        <p:sp>
          <p:nvSpPr>
            <p:cNvPr id="32" name="Text Box 14"/>
            <p:cNvSpPr txBox="1">
              <a:spLocks noChangeArrowheads="1"/>
            </p:cNvSpPr>
            <p:nvPr/>
          </p:nvSpPr>
          <p:spPr bwMode="gray">
            <a:xfrm>
              <a:off x="6429195" y="3449652"/>
              <a:ext cx="656400" cy="458757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  <a:sp3d extrusionH="1016000" prstMaterial="flat">
              <a:bevelT w="190500" h="190500"/>
              <a:bevelB w="127000" h="127000"/>
              <a:extrusionClr>
                <a:schemeClr val="accent1">
                  <a:lumMod val="60000"/>
                  <a:lumOff val="40000"/>
                </a:schemeClr>
              </a:extrusionClr>
            </a:sp3d>
          </p:spPr>
          <p:txBody>
            <a:bodyPr lIns="0" tIns="0" rIns="0" bIns="0" anchor="ctr">
              <a:flatTx/>
            </a:bodyPr>
            <a:lstStyle>
              <a:defPPr>
                <a:defRPr lang="de-DE"/>
              </a:defPPr>
              <a:lvl1pPr algn="ctr" defTabSz="801688" eaLnBrk="0" hangingPunct="0">
                <a:defRPr sz="2200" b="1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Arial" charset="0"/>
                </a:defRPr>
              </a:lvl1pPr>
            </a:lstStyle>
            <a:p>
              <a:r>
                <a:rPr lang="en-GB" sz="1800" dirty="0"/>
                <a:t>Step 5</a:t>
              </a:r>
            </a:p>
          </p:txBody>
        </p:sp>
        <p:sp>
          <p:nvSpPr>
            <p:cNvPr id="33" name="_color1"/>
            <p:cNvSpPr>
              <a:spLocks noChangeArrowheads="1"/>
            </p:cNvSpPr>
            <p:nvPr/>
          </p:nvSpPr>
          <p:spPr bwMode="gray">
            <a:xfrm>
              <a:off x="7126731" y="2866390"/>
              <a:ext cx="1693561" cy="1639805"/>
            </a:xfrm>
            <a:prstGeom prst="chevron">
              <a:avLst>
                <a:gd name="adj" fmla="val 30294"/>
              </a:avLst>
            </a:prstGeom>
            <a:gradFill flip="none" rotWithShape="1">
              <a:gsLst>
                <a:gs pos="0">
                  <a:srgbClr val="0070C0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 algn="ctr">
              <a:noFill/>
              <a:miter lim="800000"/>
              <a:headEnd/>
              <a:tailEnd/>
            </a:ln>
            <a:effectLst/>
            <a:sp3d extrusionH="1016000" prstMaterial="flat">
              <a:bevelT w="190500" h="190500"/>
              <a:bevelB w="127000" h="127000"/>
              <a:extrusionClr>
                <a:schemeClr val="accent1">
                  <a:lumMod val="60000"/>
                  <a:lumOff val="40000"/>
                </a:schemeClr>
              </a:extrusionClr>
            </a:sp3d>
          </p:spPr>
          <p:txBody>
            <a:bodyPr lIns="0" tIns="0" rIns="0" bIns="0" anchor="ctr">
              <a:flatTx/>
            </a:bodyPr>
            <a:lstStyle/>
            <a:p>
              <a:pPr algn="ctr" defTabSz="801688" eaLnBrk="0" hangingPunct="0"/>
              <a:endParaRPr lang="de-DE" b="1" noProof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Arial" charset="0"/>
              </a:endParaRPr>
            </a:p>
          </p:txBody>
        </p:sp>
        <p:sp>
          <p:nvSpPr>
            <p:cNvPr id="34" name="Text Box 14"/>
            <p:cNvSpPr txBox="1">
              <a:spLocks noChangeArrowheads="1"/>
            </p:cNvSpPr>
            <p:nvPr/>
          </p:nvSpPr>
          <p:spPr bwMode="gray">
            <a:xfrm>
              <a:off x="7745535" y="3449652"/>
              <a:ext cx="758681" cy="458757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  <a:sp3d extrusionH="1016000" prstMaterial="flat">
              <a:bevelT w="190500" h="190500"/>
              <a:bevelB w="127000" h="127000"/>
              <a:extrusionClr>
                <a:schemeClr val="accent1">
                  <a:lumMod val="60000"/>
                  <a:lumOff val="40000"/>
                </a:schemeClr>
              </a:extrusionClr>
            </a:sp3d>
          </p:spPr>
          <p:txBody>
            <a:bodyPr lIns="0" tIns="0" rIns="0" bIns="0" anchor="ctr">
              <a:flatTx/>
            </a:bodyPr>
            <a:lstStyle>
              <a:defPPr>
                <a:defRPr lang="de-DE"/>
              </a:defPPr>
              <a:lvl1pPr algn="ctr" defTabSz="801688" eaLnBrk="0" hangingPunct="0">
                <a:defRPr sz="2200" b="1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Arial" charset="0"/>
                </a:defRPr>
              </a:lvl1pPr>
            </a:lstStyle>
            <a:p>
              <a:r>
                <a:rPr lang="en-GB" sz="1800" dirty="0"/>
                <a:t>Step 6</a:t>
              </a:r>
            </a:p>
          </p:txBody>
        </p:sp>
      </p:grpSp>
      <p:pic>
        <p:nvPicPr>
          <p:cNvPr id="46" name="Picture 7"/>
          <p:cNvPicPr>
            <a:picLocks noChangeAspect="1" noChangeArrowheads="1"/>
          </p:cNvPicPr>
          <p:nvPr/>
        </p:nvPicPr>
        <p:blipFill rotWithShape="1">
          <a:blip r:embed="rId3" cstate="print"/>
          <a:srcRect l="11989"/>
          <a:stretch/>
        </p:blipFill>
        <p:spPr bwMode="gray">
          <a:xfrm>
            <a:off x="0" y="4410945"/>
            <a:ext cx="2529016" cy="441325"/>
          </a:xfrm>
          <a:prstGeom prst="rect">
            <a:avLst/>
          </a:prstGeom>
          <a:noFill/>
          <a:ln w="9525">
            <a:miter lim="800000"/>
            <a:headEnd/>
            <a:tailEnd/>
          </a:ln>
          <a:effectLst/>
        </p:spPr>
      </p:pic>
      <p:pic>
        <p:nvPicPr>
          <p:cNvPr id="47" name="Picture 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1018983" y="4410945"/>
            <a:ext cx="2873484" cy="441325"/>
          </a:xfrm>
          <a:prstGeom prst="rect">
            <a:avLst/>
          </a:prstGeom>
          <a:noFill/>
          <a:ln w="9525">
            <a:miter lim="800000"/>
            <a:headEnd/>
            <a:tailEnd/>
          </a:ln>
          <a:effectLst/>
        </p:spPr>
      </p:pic>
      <p:pic>
        <p:nvPicPr>
          <p:cNvPr id="48" name="Picture 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2319425" y="4410945"/>
            <a:ext cx="2873484" cy="441325"/>
          </a:xfrm>
          <a:prstGeom prst="rect">
            <a:avLst/>
          </a:prstGeom>
          <a:noFill/>
          <a:ln w="9525">
            <a:miter lim="800000"/>
            <a:headEnd/>
            <a:tailEnd/>
          </a:ln>
          <a:effectLst/>
        </p:spPr>
      </p:pic>
      <p:pic>
        <p:nvPicPr>
          <p:cNvPr id="49" name="Picture 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3658150" y="4410945"/>
            <a:ext cx="2873484" cy="441325"/>
          </a:xfrm>
          <a:prstGeom prst="rect">
            <a:avLst/>
          </a:prstGeom>
          <a:noFill/>
          <a:ln w="9525">
            <a:miter lim="800000"/>
            <a:headEnd/>
            <a:tailEnd/>
          </a:ln>
          <a:effectLst/>
        </p:spPr>
      </p:pic>
      <p:pic>
        <p:nvPicPr>
          <p:cNvPr id="50" name="Picture 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4996243" y="4410945"/>
            <a:ext cx="2873484" cy="441325"/>
          </a:xfrm>
          <a:prstGeom prst="rect">
            <a:avLst/>
          </a:prstGeom>
          <a:noFill/>
          <a:ln w="9525">
            <a:miter lim="800000"/>
            <a:headEnd/>
            <a:tailEnd/>
          </a:ln>
          <a:effectLst/>
        </p:spPr>
      </p:pic>
      <p:pic>
        <p:nvPicPr>
          <p:cNvPr id="51" name="Picture 7"/>
          <p:cNvPicPr>
            <a:picLocks noChangeAspect="1" noChangeArrowheads="1"/>
          </p:cNvPicPr>
          <p:nvPr/>
        </p:nvPicPr>
        <p:blipFill rotWithShape="1">
          <a:blip r:embed="rId3" cstate="print"/>
          <a:srcRect r="2671"/>
          <a:stretch/>
        </p:blipFill>
        <p:spPr bwMode="gray">
          <a:xfrm>
            <a:off x="6347260" y="4410945"/>
            <a:ext cx="2796740" cy="441325"/>
          </a:xfrm>
          <a:prstGeom prst="rect">
            <a:avLst/>
          </a:prstGeom>
          <a:noFill/>
          <a:ln w="9525"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303804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3"/>
          <p:cNvGrpSpPr/>
          <p:nvPr/>
        </p:nvGrpSpPr>
        <p:grpSpPr>
          <a:xfrm>
            <a:off x="323895" y="1556864"/>
            <a:ext cx="4086540" cy="504000"/>
            <a:chOff x="323895" y="1556864"/>
            <a:chExt cx="4086540" cy="504000"/>
          </a:xfrm>
        </p:grpSpPr>
        <p:sp>
          <p:nvSpPr>
            <p:cNvPr id="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5" y="1556864"/>
              <a:ext cx="3683360" cy="503911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Agenda Slides</a:t>
              </a:r>
            </a:p>
          </p:txBody>
        </p:sp>
        <p:sp>
          <p:nvSpPr>
            <p:cNvPr id="3" name="Rechteck 2"/>
            <p:cNvSpPr/>
            <p:nvPr/>
          </p:nvSpPr>
          <p:spPr>
            <a:xfrm>
              <a:off x="323895" y="1556953"/>
              <a:ext cx="324000" cy="503911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323895" y="2180757"/>
            <a:ext cx="4086181" cy="504000"/>
            <a:chOff x="323895" y="2180757"/>
            <a:chExt cx="4086181" cy="504000"/>
          </a:xfrm>
        </p:grpSpPr>
        <p:sp>
          <p:nvSpPr>
            <p:cNvPr id="5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2180757"/>
              <a:ext cx="3682998" cy="503999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16200000" scaled="0"/>
              <a:tileRect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chemeClr val="bg1"/>
                  </a:solidFill>
                </a:rPr>
                <a:t>Gantt Charts</a:t>
              </a:r>
            </a:p>
          </p:txBody>
        </p:sp>
        <p:sp>
          <p:nvSpPr>
            <p:cNvPr id="92" name="Rechteck 91"/>
            <p:cNvSpPr/>
            <p:nvPr/>
          </p:nvSpPr>
          <p:spPr>
            <a:xfrm>
              <a:off x="323895" y="2180758"/>
              <a:ext cx="324000" cy="503999"/>
            </a:xfrm>
            <a:prstGeom prst="rect">
              <a:avLst/>
            </a:pr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rgbClr val="0070C0"/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2</a:t>
              </a:r>
            </a:p>
          </p:txBody>
        </p:sp>
      </p:grpSp>
      <p:grpSp>
        <p:nvGrpSpPr>
          <p:cNvPr id="119" name="Gruppieren 118"/>
          <p:cNvGrpSpPr/>
          <p:nvPr/>
        </p:nvGrpSpPr>
        <p:grpSpPr>
          <a:xfrm>
            <a:off x="323895" y="2804650"/>
            <a:ext cx="4086181" cy="504000"/>
            <a:chOff x="323895" y="2804650"/>
            <a:chExt cx="4086181" cy="504000"/>
          </a:xfrm>
        </p:grpSpPr>
        <p:sp>
          <p:nvSpPr>
            <p:cNvPr id="93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2804650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Funnels 3D</a:t>
              </a:r>
            </a:p>
          </p:txBody>
        </p:sp>
        <p:sp>
          <p:nvSpPr>
            <p:cNvPr id="94" name="Rechteck 93"/>
            <p:cNvSpPr/>
            <p:nvPr/>
          </p:nvSpPr>
          <p:spPr>
            <a:xfrm>
              <a:off x="323895" y="2804651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3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0" name="Gruppieren 119"/>
          <p:cNvGrpSpPr/>
          <p:nvPr/>
        </p:nvGrpSpPr>
        <p:grpSpPr>
          <a:xfrm>
            <a:off x="323895" y="3428543"/>
            <a:ext cx="4086181" cy="504000"/>
            <a:chOff x="323895" y="3428543"/>
            <a:chExt cx="4086181" cy="504000"/>
          </a:xfrm>
        </p:grpSpPr>
        <p:sp>
          <p:nvSpPr>
            <p:cNvPr id="9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3428543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Pie / Donut Charts</a:t>
              </a:r>
            </a:p>
          </p:txBody>
        </p:sp>
        <p:sp>
          <p:nvSpPr>
            <p:cNvPr id="96" name="Rechteck 95"/>
            <p:cNvSpPr/>
            <p:nvPr/>
          </p:nvSpPr>
          <p:spPr>
            <a:xfrm>
              <a:off x="323895" y="3428544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4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1" name="Gruppieren 120"/>
          <p:cNvGrpSpPr/>
          <p:nvPr/>
        </p:nvGrpSpPr>
        <p:grpSpPr>
          <a:xfrm>
            <a:off x="323895" y="4052436"/>
            <a:ext cx="4086181" cy="504000"/>
            <a:chOff x="323895" y="4052436"/>
            <a:chExt cx="4086181" cy="504000"/>
          </a:xfrm>
        </p:grpSpPr>
        <p:sp>
          <p:nvSpPr>
            <p:cNvPr id="9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4052436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Overlapping Text Boxes</a:t>
              </a:r>
            </a:p>
          </p:txBody>
        </p:sp>
        <p:sp>
          <p:nvSpPr>
            <p:cNvPr id="98" name="Rechteck 97"/>
            <p:cNvSpPr/>
            <p:nvPr/>
          </p:nvSpPr>
          <p:spPr>
            <a:xfrm>
              <a:off x="323895" y="4052437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5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2" name="Gruppieren 121"/>
          <p:cNvGrpSpPr/>
          <p:nvPr/>
        </p:nvGrpSpPr>
        <p:grpSpPr>
          <a:xfrm>
            <a:off x="323895" y="4676329"/>
            <a:ext cx="4086181" cy="504000"/>
            <a:chOff x="323895" y="4676329"/>
            <a:chExt cx="4086181" cy="504000"/>
          </a:xfrm>
        </p:grpSpPr>
        <p:sp>
          <p:nvSpPr>
            <p:cNvPr id="9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4676329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Timelines Arrows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323895" y="4676330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6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3" name="Gruppieren 122"/>
          <p:cNvGrpSpPr/>
          <p:nvPr/>
        </p:nvGrpSpPr>
        <p:grpSpPr>
          <a:xfrm>
            <a:off x="323895" y="5300224"/>
            <a:ext cx="4086181" cy="504000"/>
            <a:chOff x="323895" y="5300224"/>
            <a:chExt cx="4086181" cy="504000"/>
          </a:xfrm>
        </p:grpSpPr>
        <p:sp>
          <p:nvSpPr>
            <p:cNvPr id="101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727078" y="5300224"/>
              <a:ext cx="3682998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Sphere with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Core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102" name="Rechteck 101"/>
            <p:cNvSpPr/>
            <p:nvPr/>
          </p:nvSpPr>
          <p:spPr>
            <a:xfrm>
              <a:off x="323895" y="5300225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7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4" name="Gruppieren 123"/>
          <p:cNvGrpSpPr/>
          <p:nvPr/>
        </p:nvGrpSpPr>
        <p:grpSpPr>
          <a:xfrm>
            <a:off x="4733970" y="1556862"/>
            <a:ext cx="4086181" cy="504000"/>
            <a:chOff x="4733970" y="1556862"/>
            <a:chExt cx="4086181" cy="504000"/>
          </a:xfrm>
        </p:grpSpPr>
        <p:sp>
          <p:nvSpPr>
            <p:cNvPr id="5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1556862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Step Process Chart</a:t>
              </a:r>
            </a:p>
          </p:txBody>
        </p:sp>
        <p:sp>
          <p:nvSpPr>
            <p:cNvPr id="58" name="Rechteck 57"/>
            <p:cNvSpPr/>
            <p:nvPr/>
          </p:nvSpPr>
          <p:spPr>
            <a:xfrm>
              <a:off x="4733970" y="1556863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8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5" name="Gruppieren 124"/>
          <p:cNvGrpSpPr/>
          <p:nvPr/>
        </p:nvGrpSpPr>
        <p:grpSpPr>
          <a:xfrm>
            <a:off x="4733970" y="2180756"/>
            <a:ext cx="4086181" cy="504000"/>
            <a:chOff x="4733970" y="2180756"/>
            <a:chExt cx="4086181" cy="504000"/>
          </a:xfrm>
        </p:grpSpPr>
        <p:sp>
          <p:nvSpPr>
            <p:cNvPr id="5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2180756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Curves and Trend Charts</a:t>
              </a:r>
            </a:p>
          </p:txBody>
        </p:sp>
        <p:sp>
          <p:nvSpPr>
            <p:cNvPr id="60" name="Rechteck 59"/>
            <p:cNvSpPr/>
            <p:nvPr/>
          </p:nvSpPr>
          <p:spPr>
            <a:xfrm>
              <a:off x="4733970" y="2180757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9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6" name="Gruppieren 125"/>
          <p:cNvGrpSpPr/>
          <p:nvPr/>
        </p:nvGrpSpPr>
        <p:grpSpPr>
          <a:xfrm>
            <a:off x="4733970" y="2804650"/>
            <a:ext cx="4086181" cy="504000"/>
            <a:chOff x="4733970" y="2804650"/>
            <a:chExt cx="4086181" cy="504000"/>
          </a:xfrm>
        </p:grpSpPr>
        <p:sp>
          <p:nvSpPr>
            <p:cNvPr id="61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2804650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3D Spheres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Fill </a:t>
              </a:r>
              <a:r>
                <a:rPr lang="en-US" sz="1600" b="1" noProof="1">
                  <a:solidFill>
                    <a:srgbClr val="5F5F5F"/>
                  </a:solidFill>
                </a:rPr>
                <a:t>L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evels</a:t>
              </a:r>
              <a:r>
                <a:rPr lang="en-US" sz="1600" b="1" noProof="1">
                  <a:solidFill>
                    <a:srgbClr val="5F5F5F"/>
                  </a:solidFill>
                </a:rPr>
                <a:t>	</a:t>
              </a:r>
            </a:p>
          </p:txBody>
        </p:sp>
        <p:sp>
          <p:nvSpPr>
            <p:cNvPr id="62" name="Rechteck 61"/>
            <p:cNvSpPr/>
            <p:nvPr/>
          </p:nvSpPr>
          <p:spPr>
            <a:xfrm>
              <a:off x="4733970" y="2804651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0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7" name="Gruppieren 126"/>
          <p:cNvGrpSpPr/>
          <p:nvPr/>
        </p:nvGrpSpPr>
        <p:grpSpPr>
          <a:xfrm>
            <a:off x="4733970" y="3428544"/>
            <a:ext cx="4086181" cy="504000"/>
            <a:chOff x="4733970" y="3428544"/>
            <a:chExt cx="4086181" cy="504000"/>
          </a:xfrm>
        </p:grpSpPr>
        <p:sp>
          <p:nvSpPr>
            <p:cNvPr id="63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3428544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Data-driven Diagrams	</a:t>
              </a:r>
            </a:p>
          </p:txBody>
        </p:sp>
        <p:sp>
          <p:nvSpPr>
            <p:cNvPr id="64" name="Rechteck 63"/>
            <p:cNvSpPr/>
            <p:nvPr/>
          </p:nvSpPr>
          <p:spPr>
            <a:xfrm>
              <a:off x="4733970" y="3428545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1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8" name="Gruppieren 127"/>
          <p:cNvGrpSpPr/>
          <p:nvPr/>
        </p:nvGrpSpPr>
        <p:grpSpPr>
          <a:xfrm>
            <a:off x="4733970" y="4052438"/>
            <a:ext cx="4086181" cy="504000"/>
            <a:chOff x="4733970" y="4052438"/>
            <a:chExt cx="4086181" cy="504000"/>
          </a:xfrm>
        </p:grpSpPr>
        <p:sp>
          <p:nvSpPr>
            <p:cNvPr id="65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4052438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Arrow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Process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66" name="Rechteck 65"/>
            <p:cNvSpPr/>
            <p:nvPr/>
          </p:nvSpPr>
          <p:spPr>
            <a:xfrm>
              <a:off x="4733970" y="4052439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2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29" name="Gruppieren 128"/>
          <p:cNvGrpSpPr/>
          <p:nvPr/>
        </p:nvGrpSpPr>
        <p:grpSpPr>
          <a:xfrm>
            <a:off x="4733970" y="4676332"/>
            <a:ext cx="4086181" cy="504000"/>
            <a:chOff x="4733970" y="4676332"/>
            <a:chExt cx="4086181" cy="504000"/>
          </a:xfrm>
        </p:grpSpPr>
        <p:sp>
          <p:nvSpPr>
            <p:cNvPr id="67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4676332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Circle </a:t>
              </a:r>
              <a:r>
                <a:rPr lang="en-US" sz="1600" b="1" noProof="1" smtClean="0">
                  <a:solidFill>
                    <a:srgbClr val="5F5F5F"/>
                  </a:solidFill>
                </a:rPr>
                <a:t>Diagram</a:t>
              </a:r>
              <a:endParaRPr lang="en-US" sz="1600" b="1" noProof="1">
                <a:solidFill>
                  <a:srgbClr val="5F5F5F"/>
                </a:solidFill>
              </a:endParaRPr>
            </a:p>
          </p:txBody>
        </p:sp>
        <p:sp>
          <p:nvSpPr>
            <p:cNvPr id="68" name="Rechteck 67"/>
            <p:cNvSpPr/>
            <p:nvPr/>
          </p:nvSpPr>
          <p:spPr>
            <a:xfrm>
              <a:off x="4733970" y="4676333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3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grpSp>
        <p:nvGrpSpPr>
          <p:cNvPr id="130" name="Gruppieren 129"/>
          <p:cNvGrpSpPr/>
          <p:nvPr/>
        </p:nvGrpSpPr>
        <p:grpSpPr>
          <a:xfrm>
            <a:off x="4733970" y="5300225"/>
            <a:ext cx="4086181" cy="504000"/>
            <a:chOff x="4733970" y="5300225"/>
            <a:chExt cx="4086181" cy="504000"/>
          </a:xfrm>
        </p:grpSpPr>
        <p:sp>
          <p:nvSpPr>
            <p:cNvPr id="69" name="Rectangle 4">
              <a:hlinkClick r:id="rId3" action="ppaction://hlinksldjump"/>
            </p:cNvPr>
            <p:cNvSpPr>
              <a:spLocks noChangeArrowheads="1"/>
            </p:cNvSpPr>
            <p:nvPr/>
          </p:nvSpPr>
          <p:spPr bwMode="gray">
            <a:xfrm>
              <a:off x="5149851" y="5300225"/>
              <a:ext cx="36703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 w="12700">
              <a:solidFill>
                <a:srgbClr val="DDDDDD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16000" tIns="36000" rIns="36000" bIns="36000" anchor="ctr"/>
            <a:lstStyle/>
            <a:p>
              <a:r>
                <a:rPr lang="en-US" sz="1600" b="1" noProof="1">
                  <a:solidFill>
                    <a:srgbClr val="5F5F5F"/>
                  </a:solidFill>
                </a:rPr>
                <a:t>3D Arrows</a:t>
              </a:r>
            </a:p>
          </p:txBody>
        </p:sp>
        <p:sp>
          <p:nvSpPr>
            <p:cNvPr id="70" name="Rechteck 69"/>
            <p:cNvSpPr/>
            <p:nvPr/>
          </p:nvSpPr>
          <p:spPr>
            <a:xfrm>
              <a:off x="4733970" y="5300226"/>
              <a:ext cx="324000" cy="50399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b="1" dirty="0" smtClean="0"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4</a:t>
              </a:r>
              <a:endParaRPr lang="en-US" b="1" dirty="0"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siness Starter Package</a:t>
            </a:r>
            <a:endParaRPr lang="en-US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laceholder for your own sub headline</a:t>
            </a:r>
          </a:p>
        </p:txBody>
      </p:sp>
    </p:spTree>
    <p:extLst>
      <p:ext uri="{BB962C8B-B14F-4D97-AF65-F5344CB8AC3E}">
        <p14:creationId xmlns:p14="http://schemas.microsoft.com/office/powerpoint/2010/main" val="2735877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noProof="1"/>
              <a:t>3D Arrow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dirty="0" smtClean="0"/>
              <a:t>5 </a:t>
            </a:r>
            <a:r>
              <a:rPr lang="en-US" dirty="0"/>
              <a:t>Steps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471487" y="1555750"/>
            <a:ext cx="1969307" cy="3497263"/>
            <a:chOff x="471487" y="1555750"/>
            <a:chExt cx="1969307" cy="3497263"/>
          </a:xfrm>
        </p:grpSpPr>
        <p:sp>
          <p:nvSpPr>
            <p:cNvPr id="16" name="Line 20"/>
            <p:cNvSpPr>
              <a:spLocks noChangeShapeType="1"/>
            </p:cNvSpPr>
            <p:nvPr/>
          </p:nvSpPr>
          <p:spPr bwMode="gray">
            <a:xfrm flipV="1">
              <a:off x="482547" y="1555750"/>
              <a:ext cx="0" cy="1482174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" name="Freeform 5"/>
            <p:cNvSpPr>
              <a:spLocks/>
            </p:cNvSpPr>
            <p:nvPr/>
          </p:nvSpPr>
          <p:spPr bwMode="gray">
            <a:xfrm>
              <a:off x="471487" y="4421862"/>
              <a:ext cx="1814513" cy="631151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889" y="0"/>
                </a:cxn>
                <a:cxn ang="0">
                  <a:pos x="1161" y="444"/>
                </a:cxn>
                <a:cxn ang="0">
                  <a:pos x="1" y="443"/>
                </a:cxn>
                <a:cxn ang="0">
                  <a:pos x="0" y="2"/>
                </a:cxn>
              </a:cxnLst>
              <a:rect l="0" t="0" r="r" b="b"/>
              <a:pathLst>
                <a:path w="1161" h="444">
                  <a:moveTo>
                    <a:pt x="0" y="2"/>
                  </a:moveTo>
                  <a:lnTo>
                    <a:pt x="889" y="0"/>
                  </a:lnTo>
                  <a:lnTo>
                    <a:pt x="1161" y="444"/>
                  </a:lnTo>
                  <a:lnTo>
                    <a:pt x="1" y="443"/>
                  </a:lnTo>
                  <a:lnTo>
                    <a:pt x="0" y="2"/>
                  </a:lnTo>
                  <a:close/>
                </a:path>
              </a:pathLst>
            </a:custGeom>
            <a:gradFill rotWithShape="1">
              <a:gsLst>
                <a:gs pos="0">
                  <a:srgbClr val="000000">
                    <a:alpha val="15000"/>
                  </a:srgbClr>
                </a:gs>
                <a:gs pos="100000">
                  <a:srgbClr val="000000">
                    <a:alpha val="0"/>
                  </a:srgbClr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8" name="AutoShape 41"/>
            <p:cNvSpPr>
              <a:spLocks noChangeArrowheads="1"/>
            </p:cNvSpPr>
            <p:nvPr/>
          </p:nvSpPr>
          <p:spPr bwMode="gray">
            <a:xfrm>
              <a:off x="511175" y="3001963"/>
              <a:ext cx="1892300" cy="1500187"/>
            </a:xfrm>
            <a:prstGeom prst="homePlate">
              <a:avLst>
                <a:gd name="adj" fmla="val 30139"/>
              </a:avLst>
            </a:prstGeom>
            <a:solidFill>
              <a:srgbClr val="C8C8C8"/>
            </a:solidFill>
            <a:ln w="19050" algn="ctr"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  <a:scene3d>
              <a:camera prst="legacyPerspectiveTopLeft">
                <a:rot lat="0" lon="20399999" rev="0"/>
              </a:camera>
              <a:lightRig rig="threePt" dir="l">
                <a:rot lat="0" lon="0" rev="2400000"/>
              </a:lightRig>
            </a:scene3d>
            <a:sp3d extrusionH="254000" prstMaterial="matte">
              <a:bevelT w="50800" h="50800"/>
              <a:bevelB w="50800" h="50800"/>
              <a:extrusionClr>
                <a:srgbClr val="C8C8C8"/>
              </a:extrusionClr>
            </a:sp3d>
          </p:spPr>
          <p:txBody>
            <a:bodyPr wrap="none" lIns="0" tIns="0" rIns="0" bIns="0" anchor="ctr">
              <a:flatTx/>
            </a:bodyPr>
            <a:lstStyle/>
            <a:p>
              <a:pPr algn="ctr"/>
              <a:r>
                <a:rPr lang="de-DE" sz="3200" b="1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1</a:t>
              </a:r>
            </a:p>
          </p:txBody>
        </p:sp>
        <p:sp>
          <p:nvSpPr>
            <p:cNvPr id="19" name="Text Box 18"/>
            <p:cNvSpPr txBox="1">
              <a:spLocks noChangeArrowheads="1"/>
            </p:cNvSpPr>
            <p:nvPr/>
          </p:nvSpPr>
          <p:spPr bwMode="gray">
            <a:xfrm>
              <a:off x="482547" y="1555750"/>
              <a:ext cx="1958247" cy="75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08000" tIns="0" rIns="0" bIns="0"/>
            <a:lstStyle/>
            <a:p>
              <a:pPr defTabSz="801688">
                <a:spcBef>
                  <a:spcPct val="20000"/>
                </a:spcBef>
              </a:pPr>
              <a:r>
                <a:rPr lang="en-GB" sz="1400" dirty="0" smtClean="0"/>
                <a:t>The text is meant only to demonstrate how your own text will look when you replace the placeholder text.   </a:t>
              </a:r>
              <a:endParaRPr lang="en-GB" sz="1400" dirty="0"/>
            </a:p>
          </p:txBody>
        </p:sp>
      </p:grpSp>
      <p:grpSp>
        <p:nvGrpSpPr>
          <p:cNvPr id="20" name="Gruppieren 19"/>
          <p:cNvGrpSpPr/>
          <p:nvPr/>
        </p:nvGrpSpPr>
        <p:grpSpPr bwMode="gray">
          <a:xfrm>
            <a:off x="2047877" y="2954338"/>
            <a:ext cx="2442951" cy="2847975"/>
            <a:chOff x="2047877" y="2954338"/>
            <a:chExt cx="2442951" cy="2847975"/>
          </a:xfrm>
        </p:grpSpPr>
        <p:sp>
          <p:nvSpPr>
            <p:cNvPr id="21" name="AutoShape 4"/>
            <p:cNvSpPr>
              <a:spLocks noChangeArrowheads="1"/>
            </p:cNvSpPr>
            <p:nvPr/>
          </p:nvSpPr>
          <p:spPr bwMode="gray">
            <a:xfrm flipV="1">
              <a:off x="2047877" y="4317078"/>
              <a:ext cx="1985962" cy="788313"/>
            </a:xfrm>
            <a:prstGeom prst="parallelogram">
              <a:avLst>
                <a:gd name="adj" fmla="val 76450"/>
              </a:avLst>
            </a:prstGeom>
            <a:gradFill flip="none" rotWithShape="1">
              <a:gsLst>
                <a:gs pos="0">
                  <a:srgbClr val="000000">
                    <a:alpha val="15000"/>
                  </a:srgbClr>
                </a:gs>
                <a:gs pos="100000">
                  <a:srgbClr val="000000">
                    <a:alpha val="0"/>
                  </a:srgb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2" name="AutoShape 42"/>
            <p:cNvSpPr>
              <a:spLocks noChangeArrowheads="1"/>
            </p:cNvSpPr>
            <p:nvPr/>
          </p:nvSpPr>
          <p:spPr bwMode="gray">
            <a:xfrm>
              <a:off x="2101850" y="2954338"/>
              <a:ext cx="1809750" cy="1428750"/>
            </a:xfrm>
            <a:prstGeom prst="chevron">
              <a:avLst>
                <a:gd name="adj" fmla="val 30160"/>
              </a:avLst>
            </a:prstGeom>
            <a:solidFill>
              <a:srgbClr val="C8C8C8"/>
            </a:solidFill>
            <a:ln w="19050" algn="ctr"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  <a:scene3d>
              <a:camera prst="legacyPerspectiveTopLeft">
                <a:rot lat="0" lon="20999999" rev="0"/>
              </a:camera>
              <a:lightRig rig="threePt" dir="l">
                <a:rot lat="0" lon="0" rev="2400000"/>
              </a:lightRig>
            </a:scene3d>
            <a:sp3d extrusionH="254000" prstMaterial="matte">
              <a:bevelT w="50800" h="50800"/>
              <a:bevelB w="50800" h="50800"/>
              <a:extrusionClr>
                <a:srgbClr val="C8C8C8"/>
              </a:extrusionClr>
            </a:sp3d>
          </p:spPr>
          <p:txBody>
            <a:bodyPr wrap="none" lIns="432000" tIns="0" rIns="72000" bIns="0" anchor="ctr">
              <a:flatTx/>
            </a:bodyPr>
            <a:lstStyle/>
            <a:p>
              <a:r>
                <a:rPr lang="de-DE" sz="3200" b="1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2</a:t>
              </a:r>
            </a:p>
          </p:txBody>
        </p:sp>
        <p:sp>
          <p:nvSpPr>
            <p:cNvPr id="23" name="Text Box 22"/>
            <p:cNvSpPr txBox="1">
              <a:spLocks noChangeArrowheads="1"/>
            </p:cNvSpPr>
            <p:nvPr/>
          </p:nvSpPr>
          <p:spPr bwMode="gray">
            <a:xfrm>
              <a:off x="2141328" y="4560888"/>
              <a:ext cx="2349500" cy="12414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08000" tIns="0" rIns="0" bIns="0" anchor="b" anchorCtr="0"/>
            <a:lstStyle/>
            <a:p>
              <a:pPr defTabSz="801688">
                <a:spcBef>
                  <a:spcPct val="20000"/>
                </a:spcBef>
              </a:pPr>
              <a:r>
                <a:rPr lang="en-GB" sz="1400" dirty="0"/>
                <a:t>The text is meant only to demonstrate how your own text will look when you replace the placeholder text.   </a:t>
              </a:r>
            </a:p>
          </p:txBody>
        </p:sp>
        <p:sp>
          <p:nvSpPr>
            <p:cNvPr id="24" name="Line 23"/>
            <p:cNvSpPr>
              <a:spLocks noChangeShapeType="1"/>
            </p:cNvSpPr>
            <p:nvPr/>
          </p:nvSpPr>
          <p:spPr bwMode="gray">
            <a:xfrm flipV="1">
              <a:off x="2141328" y="4426764"/>
              <a:ext cx="0" cy="1375549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25" name="Gruppieren 24"/>
          <p:cNvGrpSpPr/>
          <p:nvPr/>
        </p:nvGrpSpPr>
        <p:grpSpPr bwMode="gray">
          <a:xfrm>
            <a:off x="3671888" y="1555749"/>
            <a:ext cx="1971675" cy="3559168"/>
            <a:chOff x="3671888" y="1555749"/>
            <a:chExt cx="1971675" cy="3559168"/>
          </a:xfrm>
        </p:grpSpPr>
        <p:sp>
          <p:nvSpPr>
            <p:cNvPr id="26" name="AutoShape 4"/>
            <p:cNvSpPr>
              <a:spLocks noChangeArrowheads="1"/>
            </p:cNvSpPr>
            <p:nvPr/>
          </p:nvSpPr>
          <p:spPr bwMode="gray">
            <a:xfrm flipV="1">
              <a:off x="3671888" y="4326604"/>
              <a:ext cx="1971675" cy="788313"/>
            </a:xfrm>
            <a:prstGeom prst="parallelogram">
              <a:avLst>
                <a:gd name="adj" fmla="val 76450"/>
              </a:avLst>
            </a:prstGeom>
            <a:gradFill flip="none" rotWithShape="1">
              <a:gsLst>
                <a:gs pos="0">
                  <a:srgbClr val="000000">
                    <a:alpha val="15000"/>
                  </a:srgbClr>
                </a:gs>
                <a:gs pos="100000">
                  <a:srgbClr val="000000">
                    <a:alpha val="0"/>
                  </a:srgb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7" name="AutoShape 43"/>
            <p:cNvSpPr>
              <a:spLocks noChangeArrowheads="1"/>
            </p:cNvSpPr>
            <p:nvPr/>
          </p:nvSpPr>
          <p:spPr bwMode="gray">
            <a:xfrm>
              <a:off x="3673475" y="2941638"/>
              <a:ext cx="1798638" cy="1414463"/>
            </a:xfrm>
            <a:prstGeom prst="chevron">
              <a:avLst>
                <a:gd name="adj" fmla="val 30277"/>
              </a:avLst>
            </a:prstGeom>
            <a:solidFill>
              <a:srgbClr val="C8C8C8"/>
            </a:solidFill>
            <a:ln w="19050" algn="ctr"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  <a:scene3d>
              <a:camera prst="orthographicFront">
                <a:rot lat="600000" lon="0" rev="0"/>
              </a:camera>
              <a:lightRig rig="threePt" dir="t">
                <a:rot lat="0" lon="0" rev="2400000"/>
              </a:lightRig>
            </a:scene3d>
            <a:sp3d extrusionH="254000" prstMaterial="matte">
              <a:bevelT w="50800" h="50800"/>
              <a:bevelB w="50800" h="50800"/>
              <a:extrusionClr>
                <a:srgbClr val="C8C8C8"/>
              </a:extrusionClr>
            </a:sp3d>
          </p:spPr>
          <p:txBody>
            <a:bodyPr wrap="none" lIns="432000" tIns="0" rIns="72000" bIns="0" anchor="ctr">
              <a:flatTx/>
            </a:bodyPr>
            <a:lstStyle/>
            <a:p>
              <a:r>
                <a:rPr lang="de-DE" sz="3200" b="1" dirty="0" smtClean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3</a:t>
              </a:r>
              <a:endParaRPr lang="de-DE" sz="32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28" name="Line 21"/>
            <p:cNvSpPr>
              <a:spLocks noChangeShapeType="1"/>
            </p:cNvSpPr>
            <p:nvPr/>
          </p:nvSpPr>
          <p:spPr bwMode="gray">
            <a:xfrm flipV="1">
              <a:off x="3679125" y="1555749"/>
              <a:ext cx="0" cy="1368819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" name="Text Box 18"/>
            <p:cNvSpPr txBox="1">
              <a:spLocks noChangeArrowheads="1"/>
            </p:cNvSpPr>
            <p:nvPr/>
          </p:nvSpPr>
          <p:spPr bwMode="gray">
            <a:xfrm>
              <a:off x="3679125" y="1555750"/>
              <a:ext cx="1958247" cy="75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08000" tIns="0" rIns="0" bIns="0"/>
            <a:lstStyle/>
            <a:p>
              <a:pPr defTabSz="801688">
                <a:spcBef>
                  <a:spcPct val="20000"/>
                </a:spcBef>
              </a:pPr>
              <a:r>
                <a:rPr lang="en-GB" sz="1400" dirty="0" smtClean="0"/>
                <a:t>The text is meant only to demonstrate how your own text will look when you replace the placeholder text.   </a:t>
              </a:r>
              <a:endParaRPr lang="en-GB" sz="1400" dirty="0"/>
            </a:p>
          </p:txBody>
        </p:sp>
      </p:grpSp>
      <p:grpSp>
        <p:nvGrpSpPr>
          <p:cNvPr id="30" name="Gruppieren 29"/>
          <p:cNvGrpSpPr/>
          <p:nvPr/>
        </p:nvGrpSpPr>
        <p:grpSpPr bwMode="gray">
          <a:xfrm>
            <a:off x="5178425" y="2946400"/>
            <a:ext cx="2456181" cy="2855913"/>
            <a:chOff x="5178425" y="2946400"/>
            <a:chExt cx="2456181" cy="2855913"/>
          </a:xfrm>
        </p:grpSpPr>
        <p:sp>
          <p:nvSpPr>
            <p:cNvPr id="31" name="AutoShape 4"/>
            <p:cNvSpPr>
              <a:spLocks noChangeArrowheads="1"/>
            </p:cNvSpPr>
            <p:nvPr/>
          </p:nvSpPr>
          <p:spPr bwMode="gray">
            <a:xfrm flipV="1">
              <a:off x="5276850" y="4340891"/>
              <a:ext cx="2005013" cy="788313"/>
            </a:xfrm>
            <a:prstGeom prst="parallelogram">
              <a:avLst>
                <a:gd name="adj" fmla="val 76450"/>
              </a:avLst>
            </a:prstGeom>
            <a:gradFill flip="none" rotWithShape="1">
              <a:gsLst>
                <a:gs pos="0">
                  <a:srgbClr val="000000">
                    <a:alpha val="15000"/>
                  </a:srgbClr>
                </a:gs>
                <a:gs pos="100000">
                  <a:srgbClr val="000000">
                    <a:alpha val="0"/>
                  </a:srgb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32" name="_color1"/>
            <p:cNvSpPr>
              <a:spLocks noChangeArrowheads="1"/>
            </p:cNvSpPr>
            <p:nvPr/>
          </p:nvSpPr>
          <p:spPr bwMode="gray">
            <a:xfrm>
              <a:off x="5178425" y="2946400"/>
              <a:ext cx="1860550" cy="1463675"/>
            </a:xfrm>
            <a:prstGeom prst="chevron">
              <a:avLst>
                <a:gd name="adj" fmla="val 30266"/>
              </a:avLst>
            </a:prstGeom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chemeClr val="tx2">
                    <a:lumMod val="40000"/>
                    <a:lumOff val="60000"/>
                  </a:schemeClr>
                </a:gs>
              </a:gsLst>
              <a:lin ang="16200000" scaled="1"/>
            </a:gradFill>
            <a:ln w="19050" algn="ctr"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  <a:scene3d>
              <a:camera prst="legacyPerspectiveTopRight">
                <a:rot lat="0" lon="600000" rev="0"/>
              </a:camera>
              <a:lightRig rig="threePt" dir="l">
                <a:rot lat="0" lon="0" rev="2400000"/>
              </a:lightRig>
            </a:scene3d>
            <a:sp3d extrusionH="254000" prstMaterial="matte">
              <a:bevelT w="50800" h="50800"/>
              <a:bevelB w="50800" h="50800"/>
            </a:sp3d>
          </p:spPr>
          <p:txBody>
            <a:bodyPr wrap="none" lIns="432000" tIns="90000" rIns="72000" bIns="90000" anchor="ctr">
              <a:flatTx/>
            </a:bodyPr>
            <a:lstStyle/>
            <a:p>
              <a:r>
                <a:rPr lang="de-DE" sz="3200" b="1" dirty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4</a:t>
              </a:r>
            </a:p>
          </p:txBody>
        </p:sp>
        <p:sp>
          <p:nvSpPr>
            <p:cNvPr id="33" name="Text Box 22"/>
            <p:cNvSpPr txBox="1">
              <a:spLocks noChangeArrowheads="1"/>
            </p:cNvSpPr>
            <p:nvPr/>
          </p:nvSpPr>
          <p:spPr bwMode="gray">
            <a:xfrm>
              <a:off x="5285106" y="4560888"/>
              <a:ext cx="2349500" cy="12414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08000" tIns="0" rIns="0" bIns="0" anchor="b" anchorCtr="0"/>
            <a:lstStyle/>
            <a:p>
              <a:pPr defTabSz="801688">
                <a:spcBef>
                  <a:spcPct val="20000"/>
                </a:spcBef>
              </a:pPr>
              <a:r>
                <a:rPr lang="en-GB" sz="1400" dirty="0"/>
                <a:t>The text is meant only to demonstrate how your own text will look when you replace the placeholder text.   </a:t>
              </a:r>
            </a:p>
          </p:txBody>
        </p:sp>
        <p:sp>
          <p:nvSpPr>
            <p:cNvPr id="34" name="Line 23"/>
            <p:cNvSpPr>
              <a:spLocks noChangeShapeType="1"/>
            </p:cNvSpPr>
            <p:nvPr/>
          </p:nvSpPr>
          <p:spPr bwMode="gray">
            <a:xfrm flipV="1">
              <a:off x="5285106" y="4352846"/>
              <a:ext cx="0" cy="1449467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35" name="Gruppieren 34"/>
          <p:cNvGrpSpPr/>
          <p:nvPr/>
        </p:nvGrpSpPr>
        <p:grpSpPr bwMode="gray">
          <a:xfrm>
            <a:off x="6642100" y="1555750"/>
            <a:ext cx="2178842" cy="3682991"/>
            <a:chOff x="6642100" y="1555750"/>
            <a:chExt cx="2178842" cy="3682991"/>
          </a:xfrm>
        </p:grpSpPr>
        <p:sp>
          <p:nvSpPr>
            <p:cNvPr id="36" name="AutoShape 4"/>
            <p:cNvSpPr>
              <a:spLocks noChangeArrowheads="1"/>
            </p:cNvSpPr>
            <p:nvPr/>
          </p:nvSpPr>
          <p:spPr bwMode="gray">
            <a:xfrm flipV="1">
              <a:off x="6862763" y="4450428"/>
              <a:ext cx="1952625" cy="788313"/>
            </a:xfrm>
            <a:prstGeom prst="parallelogram">
              <a:avLst>
                <a:gd name="adj" fmla="val 76450"/>
              </a:avLst>
            </a:prstGeom>
            <a:gradFill flip="none" rotWithShape="1">
              <a:gsLst>
                <a:gs pos="0">
                  <a:srgbClr val="000000">
                    <a:alpha val="15000"/>
                  </a:srgbClr>
                </a:gs>
                <a:gs pos="100000">
                  <a:srgbClr val="000000">
                    <a:alpha val="0"/>
                  </a:srgb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37" name="_color1"/>
            <p:cNvSpPr>
              <a:spLocks noChangeArrowheads="1"/>
            </p:cNvSpPr>
            <p:nvPr/>
          </p:nvSpPr>
          <p:spPr bwMode="gray">
            <a:xfrm>
              <a:off x="6642100" y="2998788"/>
              <a:ext cx="1993900" cy="1570037"/>
            </a:xfrm>
            <a:prstGeom prst="chevron">
              <a:avLst>
                <a:gd name="adj" fmla="val 30238"/>
              </a:avLst>
            </a:prstGeom>
            <a:gradFill>
              <a:gsLst>
                <a:gs pos="0">
                  <a:srgbClr val="0070C0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16200000" scaled="1"/>
            </a:gradFill>
            <a:ln w="19050" algn="ctr">
              <a:noFill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  <a:scene3d>
              <a:camera prst="legacyPerspectiveTopRight">
                <a:rot lat="0" lon="1200000" rev="0"/>
              </a:camera>
              <a:lightRig rig="threePt" dir="l">
                <a:rot lat="0" lon="0" rev="2400000"/>
              </a:lightRig>
            </a:scene3d>
            <a:sp3d extrusionH="254000" prstMaterial="matte">
              <a:bevelT w="50800" h="50800"/>
              <a:bevelB w="50800" h="50800"/>
              <a:contourClr>
                <a:schemeClr val="accent1"/>
              </a:contourClr>
            </a:sp3d>
          </p:spPr>
          <p:txBody>
            <a:bodyPr wrap="none" lIns="432000" tIns="90000" rIns="72000" bIns="90000" anchor="ctr">
              <a:flatTx/>
            </a:bodyPr>
            <a:lstStyle/>
            <a:p>
              <a:r>
                <a:rPr lang="de-DE" sz="3200" b="1" dirty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5</a:t>
              </a:r>
            </a:p>
          </p:txBody>
        </p:sp>
        <p:sp>
          <p:nvSpPr>
            <p:cNvPr id="38" name="Line 21"/>
            <p:cNvSpPr>
              <a:spLocks noChangeShapeType="1"/>
            </p:cNvSpPr>
            <p:nvPr/>
          </p:nvSpPr>
          <p:spPr bwMode="gray">
            <a:xfrm flipV="1">
              <a:off x="6862695" y="1555750"/>
              <a:ext cx="0" cy="1376376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9" name="Text Box 18"/>
            <p:cNvSpPr txBox="1">
              <a:spLocks noChangeArrowheads="1"/>
            </p:cNvSpPr>
            <p:nvPr/>
          </p:nvSpPr>
          <p:spPr bwMode="gray">
            <a:xfrm>
              <a:off x="6862695" y="1555750"/>
              <a:ext cx="1958247" cy="75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08000" tIns="0" rIns="0" bIns="0"/>
            <a:lstStyle/>
            <a:p>
              <a:pPr defTabSz="801688">
                <a:spcBef>
                  <a:spcPct val="20000"/>
                </a:spcBef>
              </a:pPr>
              <a:r>
                <a:rPr lang="en-GB" sz="1400" dirty="0" smtClean="0"/>
                <a:t>The text is meant only </a:t>
              </a:r>
              <a:br>
                <a:rPr lang="en-GB" sz="1400" dirty="0" smtClean="0"/>
              </a:br>
              <a:r>
                <a:rPr lang="en-GB" sz="1400" dirty="0" smtClean="0"/>
                <a:t>to demonstrate how </a:t>
              </a:r>
              <a:br>
                <a:rPr lang="en-GB" sz="1400" dirty="0" smtClean="0"/>
              </a:br>
              <a:r>
                <a:rPr lang="en-GB" sz="1400" dirty="0" smtClean="0"/>
                <a:t>your own text will look when you replace the placeholder text.   </a:t>
              </a:r>
              <a:endParaRPr lang="en-GB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2303804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Group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3019525"/>
              </p:ext>
            </p:extLst>
          </p:nvPr>
        </p:nvGraphicFramePr>
        <p:xfrm>
          <a:off x="324643" y="1555751"/>
          <a:ext cx="8495510" cy="3887788"/>
        </p:xfrm>
        <a:graphic>
          <a:graphicData uri="http://schemas.openxmlformats.org/drawingml/2006/table">
            <a:tbl>
              <a:tblPr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2547860"/>
                <a:gridCol w="991275"/>
                <a:gridCol w="991275"/>
                <a:gridCol w="991275"/>
                <a:gridCol w="991275"/>
                <a:gridCol w="991275"/>
                <a:gridCol w="991275"/>
              </a:tblGrid>
              <a:tr h="3525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charset="0"/>
                        </a:rPr>
                        <a:t>Tasks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bg1">
                            <a:lumMod val="85000"/>
                          </a:schemeClr>
                        </a:gs>
                        <a:gs pos="100000">
                          <a:schemeClr val="bg1">
                            <a:lumMod val="50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Jan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charset="0"/>
                        </a:rPr>
                        <a:t>Feb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bg1">
                            <a:lumMod val="85000"/>
                          </a:schemeClr>
                        </a:gs>
                        <a:gs pos="100000">
                          <a:schemeClr val="bg1">
                            <a:lumMod val="50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Mar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charset="0"/>
                        </a:rPr>
                        <a:t>Apr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bg1">
                            <a:lumMod val="85000"/>
                          </a:schemeClr>
                        </a:gs>
                        <a:gs pos="100000">
                          <a:schemeClr val="bg1">
                            <a:lumMod val="50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May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charset="0"/>
                        </a:rPr>
                        <a:t>Jun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bg1">
                            <a:lumMod val="85000"/>
                          </a:schemeClr>
                        </a:gs>
                        <a:gs pos="100000">
                          <a:schemeClr val="bg1">
                            <a:lumMod val="50000"/>
                          </a:schemeClr>
                        </a:gs>
                      </a:gsLst>
                      <a:lin ang="5400000" scaled="1"/>
                    </a:gradFill>
                  </a:tcPr>
                </a:tc>
              </a:tr>
              <a:tr h="353524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Placeholder description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16D9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16D9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16D9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3524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4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Placeholder task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16D9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16D9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16D9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3524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Placeholder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16D9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16D9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16D9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3524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4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Placeholder task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16D9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16D9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16D9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3524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Placeholder description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3524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4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Placeholder task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3524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Placeholder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3524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4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Placeholder task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3524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Placeholder description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3524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4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Placeholder task</a:t>
                      </a: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3F3F3F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0000" marR="18000" marT="18000" marB="180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ntt Charts - 6 Months (10 rows)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ask </a:t>
            </a:r>
            <a:r>
              <a:rPr lang="en-US" dirty="0" smtClean="0"/>
              <a:t>management</a:t>
            </a:r>
            <a:endParaRPr lang="en-US" dirty="0"/>
          </a:p>
        </p:txBody>
      </p:sp>
      <p:sp>
        <p:nvSpPr>
          <p:cNvPr id="55" name="Rectangle 105"/>
          <p:cNvSpPr>
            <a:spLocks noChangeArrowheads="1"/>
          </p:cNvSpPr>
          <p:nvPr/>
        </p:nvSpPr>
        <p:spPr bwMode="auto">
          <a:xfrm>
            <a:off x="2865438" y="1916113"/>
            <a:ext cx="2981325" cy="269875"/>
          </a:xfrm>
          <a:prstGeom prst="rect">
            <a:avLst/>
          </a:prstGeom>
          <a:solidFill>
            <a:srgbClr val="0070C0">
              <a:alpha val="75000"/>
            </a:srgb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>
              <a:spcBef>
                <a:spcPct val="50000"/>
              </a:spcBef>
              <a:defRPr/>
            </a:pP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56" name="Rectangle 106"/>
          <p:cNvSpPr>
            <a:spLocks noChangeArrowheads="1"/>
          </p:cNvSpPr>
          <p:nvPr/>
        </p:nvSpPr>
        <p:spPr bwMode="auto">
          <a:xfrm>
            <a:off x="2865438" y="2274570"/>
            <a:ext cx="1987550" cy="269875"/>
          </a:xfrm>
          <a:prstGeom prst="rect">
            <a:avLst/>
          </a:prstGeom>
          <a:solidFill>
            <a:schemeClr val="tx1">
              <a:lumMod val="65000"/>
              <a:lumOff val="35000"/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>
              <a:spcBef>
                <a:spcPct val="50000"/>
              </a:spcBef>
              <a:defRPr/>
            </a:pP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57" name="Rectangle 107"/>
          <p:cNvSpPr>
            <a:spLocks noChangeArrowheads="1"/>
          </p:cNvSpPr>
          <p:nvPr/>
        </p:nvSpPr>
        <p:spPr bwMode="auto">
          <a:xfrm>
            <a:off x="2865438" y="2626995"/>
            <a:ext cx="993775" cy="269875"/>
          </a:xfrm>
          <a:prstGeom prst="rect">
            <a:avLst/>
          </a:prstGeom>
          <a:solidFill>
            <a:srgbClr val="0070C0">
              <a:alpha val="75000"/>
            </a:srgb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>
              <a:spcBef>
                <a:spcPct val="50000"/>
              </a:spcBef>
              <a:defRPr/>
            </a:pP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58" name="Rectangle 108"/>
          <p:cNvSpPr>
            <a:spLocks noChangeArrowheads="1"/>
          </p:cNvSpPr>
          <p:nvPr/>
        </p:nvSpPr>
        <p:spPr bwMode="auto">
          <a:xfrm>
            <a:off x="3835400" y="2987040"/>
            <a:ext cx="3998913" cy="269875"/>
          </a:xfrm>
          <a:prstGeom prst="rect">
            <a:avLst/>
          </a:prstGeom>
          <a:solidFill>
            <a:schemeClr val="tx1">
              <a:lumMod val="65000"/>
              <a:lumOff val="35000"/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>
              <a:spcBef>
                <a:spcPct val="50000"/>
              </a:spcBef>
              <a:defRPr/>
            </a:pP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60" name="Rectangle 109"/>
          <p:cNvSpPr>
            <a:spLocks noChangeArrowheads="1"/>
          </p:cNvSpPr>
          <p:nvPr/>
        </p:nvSpPr>
        <p:spPr bwMode="auto">
          <a:xfrm>
            <a:off x="2865438" y="3347085"/>
            <a:ext cx="1471612" cy="269875"/>
          </a:xfrm>
          <a:prstGeom prst="rect">
            <a:avLst/>
          </a:prstGeom>
          <a:solidFill>
            <a:schemeClr val="tx2">
              <a:lumMod val="40000"/>
              <a:lumOff val="60000"/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>
              <a:spcBef>
                <a:spcPct val="50000"/>
              </a:spcBef>
              <a:defRPr/>
            </a:pP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61" name="Rectangle 110"/>
          <p:cNvSpPr>
            <a:spLocks noChangeArrowheads="1"/>
          </p:cNvSpPr>
          <p:nvPr/>
        </p:nvSpPr>
        <p:spPr bwMode="auto">
          <a:xfrm>
            <a:off x="2865438" y="4057968"/>
            <a:ext cx="993775" cy="269875"/>
          </a:xfrm>
          <a:prstGeom prst="rect">
            <a:avLst/>
          </a:prstGeom>
          <a:solidFill>
            <a:schemeClr val="tx2">
              <a:lumMod val="40000"/>
              <a:lumOff val="60000"/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>
              <a:spcBef>
                <a:spcPct val="50000"/>
              </a:spcBef>
              <a:defRPr/>
            </a:pP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62" name="Rectangle 111"/>
          <p:cNvSpPr>
            <a:spLocks noChangeArrowheads="1"/>
          </p:cNvSpPr>
          <p:nvPr/>
        </p:nvSpPr>
        <p:spPr bwMode="auto">
          <a:xfrm>
            <a:off x="5843589" y="4410393"/>
            <a:ext cx="2976562" cy="269875"/>
          </a:xfrm>
          <a:prstGeom prst="rect">
            <a:avLst/>
          </a:prstGeom>
          <a:solidFill>
            <a:schemeClr val="accent1">
              <a:lumMod val="75000"/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>
              <a:spcBef>
                <a:spcPct val="50000"/>
              </a:spcBef>
              <a:defRPr/>
            </a:pP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64" name="Rectangle 112"/>
          <p:cNvSpPr>
            <a:spLocks noChangeArrowheads="1"/>
          </p:cNvSpPr>
          <p:nvPr/>
        </p:nvSpPr>
        <p:spPr bwMode="auto">
          <a:xfrm>
            <a:off x="3860800" y="5130483"/>
            <a:ext cx="2976563" cy="269875"/>
          </a:xfrm>
          <a:prstGeom prst="rect">
            <a:avLst/>
          </a:prstGeom>
          <a:solidFill>
            <a:srgbClr val="FFC000">
              <a:alpha val="75000"/>
            </a:srgb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>
              <a:spcBef>
                <a:spcPct val="50000"/>
              </a:spcBef>
              <a:defRPr/>
            </a:pP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65" name="Rectangle 113"/>
          <p:cNvSpPr>
            <a:spLocks noChangeArrowheads="1"/>
          </p:cNvSpPr>
          <p:nvPr/>
        </p:nvSpPr>
        <p:spPr bwMode="auto">
          <a:xfrm>
            <a:off x="2865438" y="4770438"/>
            <a:ext cx="1993900" cy="269875"/>
          </a:xfrm>
          <a:prstGeom prst="rect">
            <a:avLst/>
          </a:prstGeom>
          <a:solidFill>
            <a:schemeClr val="tx1">
              <a:lumMod val="65000"/>
              <a:lumOff val="35000"/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>
              <a:spcBef>
                <a:spcPct val="50000"/>
              </a:spcBef>
              <a:defRPr/>
            </a:pP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66" name="Rectangle 114"/>
          <p:cNvSpPr>
            <a:spLocks noChangeArrowheads="1"/>
          </p:cNvSpPr>
          <p:nvPr/>
        </p:nvSpPr>
        <p:spPr bwMode="auto">
          <a:xfrm>
            <a:off x="2865438" y="3705543"/>
            <a:ext cx="5954712" cy="269875"/>
          </a:xfrm>
          <a:prstGeom prst="rect">
            <a:avLst/>
          </a:prstGeom>
          <a:solidFill>
            <a:srgbClr val="2A79D0">
              <a:alpha val="75000"/>
            </a:srgb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>
              <a:spcBef>
                <a:spcPct val="50000"/>
              </a:spcBef>
              <a:defRPr/>
            </a:pP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80" name="Rectangle 127"/>
          <p:cNvSpPr>
            <a:spLocks noChangeArrowheads="1"/>
          </p:cNvSpPr>
          <p:nvPr/>
        </p:nvSpPr>
        <p:spPr bwMode="auto">
          <a:xfrm>
            <a:off x="5846763" y="1916113"/>
            <a:ext cx="2973387" cy="269875"/>
          </a:xfrm>
          <a:prstGeom prst="rect">
            <a:avLst/>
          </a:prstGeom>
          <a:solidFill>
            <a:srgbClr val="FFC000">
              <a:alpha val="75000"/>
            </a:srgb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>
              <a:spcBef>
                <a:spcPct val="50000"/>
              </a:spcBef>
              <a:defRPr/>
            </a:pP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81" name="Rectangle 128"/>
          <p:cNvSpPr>
            <a:spLocks noChangeArrowheads="1"/>
          </p:cNvSpPr>
          <p:nvPr/>
        </p:nvSpPr>
        <p:spPr bwMode="auto">
          <a:xfrm>
            <a:off x="4849813" y="2274570"/>
            <a:ext cx="1987550" cy="269875"/>
          </a:xfrm>
          <a:prstGeom prst="rect">
            <a:avLst/>
          </a:prstGeom>
          <a:solidFill>
            <a:schemeClr val="tx2">
              <a:lumMod val="40000"/>
              <a:lumOff val="60000"/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>
              <a:spcBef>
                <a:spcPct val="50000"/>
              </a:spcBef>
              <a:defRPr/>
            </a:pP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82" name="Rectangle 129"/>
          <p:cNvSpPr>
            <a:spLocks noChangeArrowheads="1"/>
          </p:cNvSpPr>
          <p:nvPr/>
        </p:nvSpPr>
        <p:spPr bwMode="auto">
          <a:xfrm>
            <a:off x="6832600" y="2274570"/>
            <a:ext cx="1987550" cy="269875"/>
          </a:xfrm>
          <a:prstGeom prst="rect">
            <a:avLst/>
          </a:prstGeom>
          <a:solidFill>
            <a:srgbClr val="0070C0">
              <a:alpha val="75000"/>
            </a:srgb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>
              <a:spcBef>
                <a:spcPct val="50000"/>
              </a:spcBef>
              <a:defRPr/>
            </a:pP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83" name="Rectangle 130"/>
          <p:cNvSpPr>
            <a:spLocks noChangeArrowheads="1"/>
          </p:cNvSpPr>
          <p:nvPr/>
        </p:nvSpPr>
        <p:spPr bwMode="auto">
          <a:xfrm>
            <a:off x="3851275" y="2626995"/>
            <a:ext cx="1995488" cy="269875"/>
          </a:xfrm>
          <a:prstGeom prst="rect">
            <a:avLst/>
          </a:prstGeom>
          <a:solidFill>
            <a:srgbClr val="FFC000">
              <a:alpha val="75000"/>
            </a:srgb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>
              <a:spcBef>
                <a:spcPct val="50000"/>
              </a:spcBef>
              <a:defRPr/>
            </a:pP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90" name="Rectangle 131"/>
          <p:cNvSpPr>
            <a:spLocks noChangeArrowheads="1"/>
          </p:cNvSpPr>
          <p:nvPr/>
        </p:nvSpPr>
        <p:spPr bwMode="auto">
          <a:xfrm>
            <a:off x="5846763" y="2626995"/>
            <a:ext cx="2973387" cy="269875"/>
          </a:xfrm>
          <a:prstGeom prst="rect">
            <a:avLst/>
          </a:prstGeom>
          <a:solidFill>
            <a:schemeClr val="tx2">
              <a:lumMod val="40000"/>
              <a:lumOff val="60000"/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>
              <a:spcBef>
                <a:spcPct val="50000"/>
              </a:spcBef>
              <a:defRPr/>
            </a:pP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91" name="Rectangle 132"/>
          <p:cNvSpPr>
            <a:spLocks noChangeArrowheads="1"/>
          </p:cNvSpPr>
          <p:nvPr/>
        </p:nvSpPr>
        <p:spPr bwMode="auto">
          <a:xfrm>
            <a:off x="4337050" y="3347085"/>
            <a:ext cx="2503488" cy="269875"/>
          </a:xfrm>
          <a:prstGeom prst="rect">
            <a:avLst/>
          </a:prstGeom>
          <a:solidFill>
            <a:srgbClr val="2A79D0">
              <a:alpha val="75000"/>
            </a:srgb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>
              <a:spcBef>
                <a:spcPct val="50000"/>
              </a:spcBef>
              <a:defRPr/>
            </a:pP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92" name="Rectangle 133"/>
          <p:cNvSpPr>
            <a:spLocks noChangeArrowheads="1"/>
          </p:cNvSpPr>
          <p:nvPr/>
        </p:nvSpPr>
        <p:spPr bwMode="auto">
          <a:xfrm>
            <a:off x="6840539" y="3347085"/>
            <a:ext cx="1979612" cy="269875"/>
          </a:xfrm>
          <a:prstGeom prst="rect">
            <a:avLst/>
          </a:prstGeom>
          <a:solidFill>
            <a:schemeClr val="tx1">
              <a:lumMod val="65000"/>
              <a:lumOff val="35000"/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>
              <a:spcBef>
                <a:spcPct val="50000"/>
              </a:spcBef>
              <a:defRPr/>
            </a:pP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93" name="Rectangle 134"/>
          <p:cNvSpPr>
            <a:spLocks noChangeArrowheads="1"/>
          </p:cNvSpPr>
          <p:nvPr/>
        </p:nvSpPr>
        <p:spPr bwMode="auto">
          <a:xfrm>
            <a:off x="3860800" y="4057968"/>
            <a:ext cx="993775" cy="269875"/>
          </a:xfrm>
          <a:prstGeom prst="rect">
            <a:avLst/>
          </a:prstGeom>
          <a:solidFill>
            <a:srgbClr val="2A79D0">
              <a:alpha val="75000"/>
            </a:srgb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>
              <a:spcBef>
                <a:spcPct val="50000"/>
              </a:spcBef>
              <a:defRPr/>
            </a:pP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94" name="Rectangle 135"/>
          <p:cNvSpPr>
            <a:spLocks noChangeArrowheads="1"/>
          </p:cNvSpPr>
          <p:nvPr/>
        </p:nvSpPr>
        <p:spPr bwMode="auto">
          <a:xfrm>
            <a:off x="4849813" y="4057968"/>
            <a:ext cx="993775" cy="269875"/>
          </a:xfrm>
          <a:prstGeom prst="rect">
            <a:avLst/>
          </a:prstGeom>
          <a:solidFill>
            <a:schemeClr val="tx1">
              <a:lumMod val="65000"/>
              <a:lumOff val="35000"/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>
              <a:spcBef>
                <a:spcPct val="50000"/>
              </a:spcBef>
              <a:defRPr/>
            </a:pP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95" name="Rectangle 136"/>
          <p:cNvSpPr>
            <a:spLocks noChangeArrowheads="1"/>
          </p:cNvSpPr>
          <p:nvPr/>
        </p:nvSpPr>
        <p:spPr bwMode="auto">
          <a:xfrm>
            <a:off x="5843588" y="4057968"/>
            <a:ext cx="993775" cy="269875"/>
          </a:xfrm>
          <a:prstGeom prst="rect">
            <a:avLst/>
          </a:prstGeom>
          <a:solidFill>
            <a:schemeClr val="accent1">
              <a:lumMod val="75000"/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>
              <a:spcBef>
                <a:spcPct val="50000"/>
              </a:spcBef>
              <a:defRPr/>
            </a:pP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96" name="Rectangle 137"/>
          <p:cNvSpPr>
            <a:spLocks noChangeArrowheads="1"/>
          </p:cNvSpPr>
          <p:nvPr/>
        </p:nvSpPr>
        <p:spPr bwMode="auto">
          <a:xfrm>
            <a:off x="6838950" y="4057968"/>
            <a:ext cx="993775" cy="269875"/>
          </a:xfrm>
          <a:prstGeom prst="rect">
            <a:avLst/>
          </a:prstGeom>
          <a:solidFill>
            <a:srgbClr val="FFC000">
              <a:alpha val="75000"/>
            </a:srgb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>
              <a:spcBef>
                <a:spcPct val="50000"/>
              </a:spcBef>
              <a:defRPr/>
            </a:pP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97" name="Rectangle 138"/>
          <p:cNvSpPr>
            <a:spLocks noChangeArrowheads="1"/>
          </p:cNvSpPr>
          <p:nvPr/>
        </p:nvSpPr>
        <p:spPr bwMode="auto">
          <a:xfrm>
            <a:off x="7831139" y="4057968"/>
            <a:ext cx="989011" cy="269875"/>
          </a:xfrm>
          <a:prstGeom prst="rect">
            <a:avLst/>
          </a:prstGeom>
          <a:solidFill>
            <a:schemeClr val="accent1">
              <a:lumMod val="75000"/>
              <a:alpha val="75000"/>
            </a:schemeClr>
          </a:solidFill>
          <a:ln w="12700">
            <a:solidFill>
              <a:srgbClr val="FFFFFF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174625" indent="-174625">
              <a:spcBef>
                <a:spcPct val="50000"/>
              </a:spcBef>
              <a:defRPr/>
            </a:pPr>
            <a:endParaRPr lang="de-DE" sz="1400" b="1">
              <a:solidFill>
                <a:schemeClr val="bg1"/>
              </a:solidFill>
            </a:endParaRPr>
          </a:p>
        </p:txBody>
      </p:sp>
      <p:grpSp>
        <p:nvGrpSpPr>
          <p:cNvPr id="9" name="Gruppieren 8"/>
          <p:cNvGrpSpPr/>
          <p:nvPr/>
        </p:nvGrpSpPr>
        <p:grpSpPr>
          <a:xfrm>
            <a:off x="429337" y="5699125"/>
            <a:ext cx="3503400" cy="466560"/>
            <a:chOff x="429337" y="5699125"/>
            <a:chExt cx="3503400" cy="466560"/>
          </a:xfrm>
        </p:grpSpPr>
        <p:sp>
          <p:nvSpPr>
            <p:cNvPr id="99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429337" y="5985685"/>
              <a:ext cx="180000" cy="180000"/>
            </a:xfrm>
            <a:prstGeom prst="roundRect">
              <a:avLst/>
            </a:prstGeom>
            <a:solidFill>
              <a:schemeClr val="tx2">
                <a:lumMod val="60000"/>
                <a:lumOff val="40000"/>
                <a:alpha val="75000"/>
              </a:schemeClr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wrap="none" anchor="ctr"/>
            <a:lstStyle/>
            <a:p>
              <a:pPr marL="174625" indent="-174625" algn="ctr">
                <a:spcBef>
                  <a:spcPct val="50000"/>
                </a:spcBef>
              </a:pPr>
              <a:endParaRPr lang="de-DE" sz="1400">
                <a:solidFill>
                  <a:schemeClr val="bg1"/>
                </a:solidFill>
              </a:endParaRPr>
            </a:p>
          </p:txBody>
        </p:sp>
        <p:sp>
          <p:nvSpPr>
            <p:cNvPr id="100" name="Text Box 184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724701" y="5719813"/>
              <a:ext cx="718145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GB" sz="1000" noProof="1"/>
                <a:t> </a:t>
              </a:r>
              <a:r>
                <a:rPr lang="de-DE" sz="1000" dirty="0" smtClean="0"/>
                <a:t>Description 1</a:t>
              </a:r>
              <a:endParaRPr lang="de-DE" sz="1000" noProof="1"/>
            </a:p>
          </p:txBody>
        </p:sp>
        <p:sp>
          <p:nvSpPr>
            <p:cNvPr id="101" name="Text Box 185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724701" y="6008267"/>
              <a:ext cx="718145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GB" sz="1000" noProof="1"/>
                <a:t> </a:t>
              </a:r>
              <a:r>
                <a:rPr lang="de-DE" sz="1000" dirty="0"/>
                <a:t>Description 1</a:t>
              </a:r>
              <a:endParaRPr lang="de-DE" sz="1000" noProof="1"/>
            </a:p>
          </p:txBody>
        </p:sp>
        <p:sp>
          <p:nvSpPr>
            <p:cNvPr id="102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429337" y="5699125"/>
              <a:ext cx="180000" cy="180000"/>
            </a:xfrm>
            <a:prstGeom prst="roundRect">
              <a:avLst/>
            </a:prstGeom>
            <a:solidFill>
              <a:srgbClr val="0070C0">
                <a:alpha val="75000"/>
              </a:srgbClr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wrap="none" tIns="0" rIns="0" bIns="0" anchor="ctr"/>
            <a:lstStyle/>
            <a:p>
              <a:pPr marL="174625" indent="-174625" algn="ctr">
                <a:spcBef>
                  <a:spcPct val="50000"/>
                </a:spcBef>
              </a:pPr>
              <a:endParaRPr lang="de-DE" sz="1400">
                <a:solidFill>
                  <a:schemeClr val="bg1"/>
                </a:solidFill>
              </a:endParaRPr>
            </a:p>
          </p:txBody>
        </p:sp>
        <p:sp>
          <p:nvSpPr>
            <p:cNvPr id="107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677225" y="5985685"/>
              <a:ext cx="180000" cy="180000"/>
            </a:xfrm>
            <a:prstGeom prst="roundRect">
              <a:avLst/>
            </a:prstGeom>
            <a:solidFill>
              <a:schemeClr val="tx1">
                <a:lumMod val="50000"/>
                <a:lumOff val="50000"/>
                <a:alpha val="75000"/>
              </a:schemeClr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wrap="none" anchor="ctr"/>
            <a:lstStyle/>
            <a:p>
              <a:pPr marL="174625" indent="-174625" algn="ctr">
                <a:spcBef>
                  <a:spcPct val="50000"/>
                </a:spcBef>
              </a:pPr>
              <a:endParaRPr lang="de-DE" sz="1400">
                <a:solidFill>
                  <a:schemeClr val="bg1"/>
                </a:solidFill>
              </a:endParaRPr>
            </a:p>
          </p:txBody>
        </p:sp>
        <p:sp>
          <p:nvSpPr>
            <p:cNvPr id="108" name="Text Box 184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1972589" y="5719813"/>
              <a:ext cx="718145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GB" sz="1000" noProof="1"/>
                <a:t> </a:t>
              </a:r>
              <a:r>
                <a:rPr lang="de-DE" sz="1000" dirty="0" smtClean="0"/>
                <a:t>Description 1</a:t>
              </a:r>
              <a:endParaRPr lang="de-DE" sz="1000" noProof="1"/>
            </a:p>
          </p:txBody>
        </p:sp>
        <p:sp>
          <p:nvSpPr>
            <p:cNvPr id="109" name="Text Box 185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1972589" y="6008267"/>
              <a:ext cx="718145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GB" sz="1000" noProof="1"/>
                <a:t> </a:t>
              </a:r>
              <a:r>
                <a:rPr lang="de-DE" sz="1000" dirty="0"/>
                <a:t>Description 1</a:t>
              </a:r>
              <a:endParaRPr lang="de-DE" sz="1000" noProof="1"/>
            </a:p>
          </p:txBody>
        </p:sp>
        <p:sp>
          <p:nvSpPr>
            <p:cNvPr id="110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677225" y="5699125"/>
              <a:ext cx="180000" cy="18000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  <a:alpha val="75000"/>
              </a:schemeClr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wrap="none" tIns="0" rIns="0" bIns="0" anchor="ctr"/>
            <a:lstStyle/>
            <a:p>
              <a:pPr marL="174625" indent="-174625" algn="ctr">
                <a:spcBef>
                  <a:spcPct val="50000"/>
                </a:spcBef>
              </a:pPr>
              <a:endParaRPr lang="de-DE" sz="1400">
                <a:solidFill>
                  <a:schemeClr val="bg1"/>
                </a:solidFill>
              </a:endParaRPr>
            </a:p>
          </p:txBody>
        </p:sp>
        <p:sp>
          <p:nvSpPr>
            <p:cNvPr id="111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2919228" y="5985685"/>
              <a:ext cx="180000" cy="180000"/>
            </a:xfrm>
            <a:prstGeom prst="roundRect">
              <a:avLst/>
            </a:prstGeom>
            <a:solidFill>
              <a:srgbClr val="FFC000">
                <a:alpha val="75000"/>
              </a:srgbClr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wrap="none" anchor="ctr"/>
            <a:lstStyle/>
            <a:p>
              <a:pPr marL="174625" indent="-174625" algn="ctr">
                <a:spcBef>
                  <a:spcPct val="50000"/>
                </a:spcBef>
              </a:pPr>
              <a:endParaRPr lang="de-DE" sz="1400">
                <a:solidFill>
                  <a:schemeClr val="bg1"/>
                </a:solidFill>
              </a:endParaRPr>
            </a:p>
          </p:txBody>
        </p:sp>
        <p:sp>
          <p:nvSpPr>
            <p:cNvPr id="112" name="Text Box 184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3214592" y="5719813"/>
              <a:ext cx="718145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GB" sz="1000" noProof="1"/>
                <a:t> </a:t>
              </a:r>
              <a:r>
                <a:rPr lang="de-DE" sz="1000" dirty="0" smtClean="0"/>
                <a:t>Description 1</a:t>
              </a:r>
              <a:endParaRPr lang="de-DE" sz="1000" noProof="1"/>
            </a:p>
          </p:txBody>
        </p:sp>
        <p:sp>
          <p:nvSpPr>
            <p:cNvPr id="113" name="Text Box 185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3214592" y="6008267"/>
              <a:ext cx="718145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GB" sz="1000" noProof="1"/>
                <a:t> </a:t>
              </a:r>
              <a:r>
                <a:rPr lang="de-DE" sz="1000" dirty="0"/>
                <a:t>Description 1</a:t>
              </a:r>
              <a:endParaRPr lang="de-DE" sz="1000" noProof="1"/>
            </a:p>
          </p:txBody>
        </p:sp>
        <p:sp>
          <p:nvSpPr>
            <p:cNvPr id="114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2919228" y="5699125"/>
              <a:ext cx="180000" cy="180000"/>
            </a:xfrm>
            <a:prstGeom prst="roundRect">
              <a:avLst/>
            </a:prstGeom>
            <a:solidFill>
              <a:schemeClr val="tx1">
                <a:lumMod val="75000"/>
                <a:lumOff val="25000"/>
                <a:alpha val="75000"/>
              </a:schemeClr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wrap="none" tIns="0" rIns="0" bIns="0" anchor="ctr"/>
            <a:lstStyle/>
            <a:p>
              <a:pPr marL="174625" indent="-174625" algn="ctr">
                <a:spcBef>
                  <a:spcPct val="50000"/>
                </a:spcBef>
              </a:pPr>
              <a:endParaRPr lang="de-DE" sz="14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0451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U06VUIUG4L.fXgLuQq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TX2I5lFUWQp1j6hEGJw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r8tXlBJUUqNqiZ0I49kQ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87izk5wZEaI8uX52B.6p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RrtJ3DyPkaPTXz_h8rX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zKWwx0rh06WHTbH37BIP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Pha5Sjq.kKF5pImzvzT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wswJbTuKUmrwmZCZSKjY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wswJbTuKUmrwmZCZSKjY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k5WLrqjPUeoGn4hnzSh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oxoXHmk2zVrj4istk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wswJbTuKUmrwmZCZSKj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GFp919uZkepnr.n5TxR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GFp919uZkepnr.n5TxRX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wswJbTuKUmrwmZCZSKj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wswJbTuKUmrwmZCZSKj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5gH9kVU0kuHdBfCqVWhdQ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106</Words>
  <Application>Microsoft Office PowerPoint</Application>
  <PresentationFormat>Bildschirmpräsentation (4:3)</PresentationFormat>
  <Paragraphs>1428</Paragraphs>
  <Slides>80</Slides>
  <Notes>79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80</vt:i4>
      </vt:variant>
    </vt:vector>
  </HeadingPairs>
  <TitlesOfParts>
    <vt:vector size="81" baseType="lpstr">
      <vt:lpstr>Larissa</vt:lpstr>
      <vt:lpstr>Business Starter Package</vt:lpstr>
      <vt:lpstr>PowerPoint-Präsentation</vt:lpstr>
      <vt:lpstr>Business Starter Package</vt:lpstr>
      <vt:lpstr>Agenda - 3 Items</vt:lpstr>
      <vt:lpstr>Agenda - 4 Items</vt:lpstr>
      <vt:lpstr>Agenda - 5 Items</vt:lpstr>
      <vt:lpstr>Agenda - 6 Items</vt:lpstr>
      <vt:lpstr>Business Starter Package</vt:lpstr>
      <vt:lpstr>Gantt Charts - 6 Months (10 rows)</vt:lpstr>
      <vt:lpstr>Gantt Charts - 6 Months (10 rows + period)</vt:lpstr>
      <vt:lpstr>Gantt Charts - 6 Months (15 rows)</vt:lpstr>
      <vt:lpstr>Gantt Charts - 6 Months (15 rows + period)</vt:lpstr>
      <vt:lpstr>Business Starter Package</vt:lpstr>
      <vt:lpstr>Funnels - 3D </vt:lpstr>
      <vt:lpstr>Funnels - 3D </vt:lpstr>
      <vt:lpstr>Funnels - 3D </vt:lpstr>
      <vt:lpstr>Funnels - 3D </vt:lpstr>
      <vt:lpstr>Business Starter Package</vt:lpstr>
      <vt:lpstr>Pie Chart 2D</vt:lpstr>
      <vt:lpstr>Pie Chart 2D</vt:lpstr>
      <vt:lpstr>Pie Chart 3D</vt:lpstr>
      <vt:lpstr>Pie Chart 3D</vt:lpstr>
      <vt:lpstr>Donut Chart 2D</vt:lpstr>
      <vt:lpstr>Donut Charts 2D</vt:lpstr>
      <vt:lpstr>Donut Chart</vt:lpstr>
      <vt:lpstr>Donut Chart 3D</vt:lpstr>
      <vt:lpstr>Business Starter Package</vt:lpstr>
      <vt:lpstr>Overlapping Text Boxes</vt:lpstr>
      <vt:lpstr>Overlapping Text Boxes</vt:lpstr>
      <vt:lpstr>Overlapping Text Boxes</vt:lpstr>
      <vt:lpstr>Overlapping Text Boxes</vt:lpstr>
      <vt:lpstr>Business Starter Package</vt:lpstr>
      <vt:lpstr>Timelines - Arrows</vt:lpstr>
      <vt:lpstr>Timelines - Arrows</vt:lpstr>
      <vt:lpstr>Timelines - Arrows</vt:lpstr>
      <vt:lpstr>Timelines - Arrows</vt:lpstr>
      <vt:lpstr>Business Starter Package</vt:lpstr>
      <vt:lpstr>Sphere with Core</vt:lpstr>
      <vt:lpstr>Sphere with Core</vt:lpstr>
      <vt:lpstr>Sphere with Core</vt:lpstr>
      <vt:lpstr>Sphere with Core</vt:lpstr>
      <vt:lpstr>Business Starter Package</vt:lpstr>
      <vt:lpstr>Step Process Chart</vt:lpstr>
      <vt:lpstr>Step Process Chart</vt:lpstr>
      <vt:lpstr>Step Process Chart</vt:lpstr>
      <vt:lpstr>Step Process Chart</vt:lpstr>
      <vt:lpstr>Business Starter Package</vt:lpstr>
      <vt:lpstr>Curves and Trend Charts</vt:lpstr>
      <vt:lpstr>Curves and Trend Charts</vt:lpstr>
      <vt:lpstr>Curves and Trend Charts</vt:lpstr>
      <vt:lpstr>Curves and Trend Charts</vt:lpstr>
      <vt:lpstr>Business Starter Package</vt:lpstr>
      <vt:lpstr>3D Spheres - Fill Levels</vt:lpstr>
      <vt:lpstr>3D Spheres - Fill Levels</vt:lpstr>
      <vt:lpstr>3D Spheres - Fill Levels</vt:lpstr>
      <vt:lpstr>3D Spheres - Fill Levels</vt:lpstr>
      <vt:lpstr>Business Starter Package</vt:lpstr>
      <vt:lpstr>Data-driven Diagrams</vt:lpstr>
      <vt:lpstr>Data-driven Diagrams</vt:lpstr>
      <vt:lpstr>Data-driven Diagrams</vt:lpstr>
      <vt:lpstr>Data-driven Diagrams</vt:lpstr>
      <vt:lpstr>Data-driven Diagrams</vt:lpstr>
      <vt:lpstr>Data-driven Diagrams</vt:lpstr>
      <vt:lpstr>Data-driven Diagrams</vt:lpstr>
      <vt:lpstr>Data-driven Diagrams</vt:lpstr>
      <vt:lpstr>Business Starter Package</vt:lpstr>
      <vt:lpstr>Arrow Process</vt:lpstr>
      <vt:lpstr>Arrow Process</vt:lpstr>
      <vt:lpstr>Arrow Process</vt:lpstr>
      <vt:lpstr>Arrow Process</vt:lpstr>
      <vt:lpstr>Business Starter Package</vt:lpstr>
      <vt:lpstr>Circle Diagram - Arrows</vt:lpstr>
      <vt:lpstr>Circle Diagram - Arrows</vt:lpstr>
      <vt:lpstr>Circle Diagram - Arrows</vt:lpstr>
      <vt:lpstr>Circle Diagram - Arrows</vt:lpstr>
      <vt:lpstr>Business Starter Package</vt:lpstr>
      <vt:lpstr>3D Arrows</vt:lpstr>
      <vt:lpstr>3D Arrows</vt:lpstr>
      <vt:lpstr>3D Arrows</vt:lpstr>
      <vt:lpstr>3D Arrows</vt:lpstr>
    </vt:vector>
  </TitlesOfParts>
  <Manager/>
  <Company/>
  <LinksUpToDate>false</LinksUpToDate>
  <SharedDoc>false</SharedDoc>
  <HyperlinkBase>www.presentationload.com</HyperlinkBase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siness Starter Package</dc:title>
  <dc:creator/>
  <dc:description>Professional PowerPoint templates for download</dc:description>
  <cp:lastModifiedBy/>
  <cp:revision>1</cp:revision>
  <dcterms:created xsi:type="dcterms:W3CDTF">2012-03-21T18:15:32Z</dcterms:created>
  <dcterms:modified xsi:type="dcterms:W3CDTF">2012-03-23T14:34:23Z</dcterms:modified>
</cp:coreProperties>
</file>